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drawings/drawing4.xml" ContentType="application/vnd.openxmlformats-officedocument.drawingml.chartshapes+xml"/>
  <Override PartName="/ppt/theme/themeOverride7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5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sldIdLst>
    <p:sldId id="256" r:id="rId2"/>
    <p:sldId id="1764" r:id="rId3"/>
    <p:sldId id="280" r:id="rId4"/>
    <p:sldId id="258" r:id="rId5"/>
    <p:sldId id="1744" r:id="rId6"/>
    <p:sldId id="288" r:id="rId7"/>
    <p:sldId id="1750" r:id="rId8"/>
    <p:sldId id="1766" r:id="rId9"/>
    <p:sldId id="1771" r:id="rId10"/>
    <p:sldId id="1751" r:id="rId11"/>
    <p:sldId id="1769" r:id="rId12"/>
    <p:sldId id="1745" r:id="rId13"/>
    <p:sldId id="1743" r:id="rId14"/>
    <p:sldId id="1753" r:id="rId15"/>
    <p:sldId id="1752" r:id="rId16"/>
    <p:sldId id="1759" r:id="rId17"/>
    <p:sldId id="1748" r:id="rId18"/>
    <p:sldId id="1761" r:id="rId19"/>
    <p:sldId id="1762" r:id="rId20"/>
    <p:sldId id="1765" r:id="rId21"/>
    <p:sldId id="261" r:id="rId22"/>
    <p:sldId id="1772" r:id="rId23"/>
    <p:sldId id="1776" r:id="rId24"/>
    <p:sldId id="1777" r:id="rId25"/>
    <p:sldId id="1779" r:id="rId26"/>
    <p:sldId id="1778" r:id="rId27"/>
    <p:sldId id="1780" r:id="rId28"/>
    <p:sldId id="1774" r:id="rId29"/>
    <p:sldId id="1775" r:id="rId30"/>
    <p:sldId id="1781" r:id="rId31"/>
    <p:sldId id="1782" r:id="rId32"/>
    <p:sldId id="1783" r:id="rId33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4A0"/>
    <a:srgbClr val="EF65A5"/>
    <a:srgbClr val="00A49F"/>
    <a:srgbClr val="3A239D"/>
    <a:srgbClr val="525BE9"/>
    <a:srgbClr val="5051E1"/>
    <a:srgbClr val="4007A4"/>
    <a:srgbClr val="4B28C2"/>
    <a:srgbClr val="873FA8"/>
    <a:srgbClr val="7937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8" autoAdjust="0"/>
    <p:restoredTop sz="96517" autoAdjust="0"/>
  </p:normalViewPr>
  <p:slideViewPr>
    <p:cSldViewPr snapToGrid="0">
      <p:cViewPr varScale="1">
        <p:scale>
          <a:sx n="112" d="100"/>
          <a:sy n="112" d="100"/>
        </p:scale>
        <p:origin x="24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15-18-&#20013;&#31867;_v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ppt&#25968;&#25454;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ppt&#25968;&#25454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H:\360MoveData\Users\zhh\Desktop\20&#22799;&#35013;&#32467;&#26500;&#27719;&#25253;ppt\15-18-&#20013;&#31867;_v1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H:\360MoveData\Users\zhh\Desktop\20&#22799;&#35013;&#32467;&#26500;&#27719;&#25253;ppt\15-18-&#20013;&#31867;_v1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H:\360MoveData\Users\zhh\Desktop\20&#22799;&#35013;&#32467;&#26500;&#27719;&#25253;ppt\15-18-&#20013;&#31867;_v1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15-18-&#20013;&#31867;_v1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15-18-&#20013;&#31867;_v1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男</a:t>
            </a:r>
            <a:r>
              <a:rPr lang="en-US" altLang="zh-CN" b="1"/>
              <a:t>T</a:t>
            </a:r>
            <a:r>
              <a:rPr lang="zh-CN" altLang="en-US" b="1"/>
              <a:t>影响因素分解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4456036745406818E-2"/>
          <c:y val="0.12946777486147565"/>
          <c:w val="0.88498840769903764"/>
          <c:h val="0.7575772820064158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结果!$F$16:$J$16</c:f>
              <c:strCache>
                <c:ptCount val="5"/>
                <c:pt idx="0">
                  <c:v>业态</c:v>
                </c:pt>
                <c:pt idx="1">
                  <c:v>行政级别</c:v>
                </c:pt>
                <c:pt idx="2">
                  <c:v>城市级别</c:v>
                </c:pt>
                <c:pt idx="3">
                  <c:v>面积段</c:v>
                </c:pt>
                <c:pt idx="4">
                  <c:v>南中北</c:v>
                </c:pt>
              </c:strCache>
            </c:strRef>
          </c:cat>
          <c:val>
            <c:numRef>
              <c:f>结果!$F$18:$J$18</c:f>
              <c:numCache>
                <c:formatCode>0%</c:formatCode>
                <c:ptCount val="5"/>
                <c:pt idx="0">
                  <c:v>0.2</c:v>
                </c:pt>
                <c:pt idx="1">
                  <c:v>0.27707905691362167</c:v>
                </c:pt>
                <c:pt idx="2">
                  <c:v>0.15200955105184755</c:v>
                </c:pt>
                <c:pt idx="3">
                  <c:v>0.10594493292765093</c:v>
                </c:pt>
                <c:pt idx="4">
                  <c:v>0.19636994786386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7B-4191-A281-1DDBB80C4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022031"/>
        <c:axId val="11639023"/>
      </c:barChart>
      <c:catAx>
        <c:axId val="1610220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sz="1400" b="1"/>
                  <a:t>渠道影响因素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1639023"/>
        <c:crosses val="autoZero"/>
        <c:auto val="1"/>
        <c:lblAlgn val="ctr"/>
        <c:lblOffset val="100"/>
        <c:noMultiLvlLbl val="0"/>
      </c:catAx>
      <c:valAx>
        <c:axId val="11639023"/>
        <c:scaling>
          <c:orientation val="minMax"/>
        </c:scaling>
        <c:delete val="0"/>
        <c:axPos val="l"/>
        <c:title>
          <c:tx>
            <c:rich>
              <a:bodyPr rot="0" spcFirstLastPara="1" vertOverflow="ellipsis" vert="wordArtVertRtl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zh-CN" altLang="en-US" sz="1400" b="1"/>
                  <a:t>影响因素占比</a:t>
                </a:r>
              </a:p>
            </c:rich>
          </c:tx>
          <c:layout>
            <c:manualLayout>
              <c:xMode val="edge"/>
              <c:yMode val="edge"/>
              <c:x val="6.5091874278938436E-2"/>
              <c:y val="0.389320515401898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wordArtVertRtl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610220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1"/>
              <a:t>中类预测占比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3.874104887832417E-2"/>
          <c:y val="0.12792540587460963"/>
          <c:w val="0.94742247313425443"/>
          <c:h val="0.73850922010138431"/>
        </c:manualLayout>
      </c:layout>
      <c:lineChart>
        <c:grouping val="standard"/>
        <c:varyColors val="0"/>
        <c:ser>
          <c:idx val="0"/>
          <c:order val="0"/>
          <c:tx>
            <c:strRef>
              <c:f>Sheet1!$F$28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29:$B$47</c:f>
              <c:strCache>
                <c:ptCount val="19"/>
                <c:pt idx="0">
                  <c:v>男-背心</c:v>
                </c:pt>
                <c:pt idx="1">
                  <c:v>男-短袖T恤</c:v>
                </c:pt>
                <c:pt idx="2">
                  <c:v>男-短袖衬衫</c:v>
                </c:pt>
                <c:pt idx="3">
                  <c:v>男-牛仔长裤</c:v>
                </c:pt>
                <c:pt idx="4">
                  <c:v>男-牛仔中裤</c:v>
                </c:pt>
                <c:pt idx="5">
                  <c:v>男-休闲短裤</c:v>
                </c:pt>
                <c:pt idx="6">
                  <c:v>男-休闲长裤</c:v>
                </c:pt>
                <c:pt idx="7">
                  <c:v>男-休闲中裤</c:v>
                </c:pt>
                <c:pt idx="8">
                  <c:v>女-短袖T恤</c:v>
                </c:pt>
                <c:pt idx="9">
                  <c:v>女-短袖衬衫</c:v>
                </c:pt>
                <c:pt idx="10">
                  <c:v>女-连衣裙</c:v>
                </c:pt>
                <c:pt idx="11">
                  <c:v>女-毛衫</c:v>
                </c:pt>
                <c:pt idx="12">
                  <c:v>女-牛仔短裤</c:v>
                </c:pt>
                <c:pt idx="13">
                  <c:v>女-牛仔长裤</c:v>
                </c:pt>
                <c:pt idx="14">
                  <c:v>女-牛仔中裤</c:v>
                </c:pt>
                <c:pt idx="15">
                  <c:v>女-裙子</c:v>
                </c:pt>
                <c:pt idx="16">
                  <c:v>女-休闲短裤</c:v>
                </c:pt>
                <c:pt idx="17">
                  <c:v>女-休闲长裤</c:v>
                </c:pt>
                <c:pt idx="18">
                  <c:v>女-休闲中裤</c:v>
                </c:pt>
              </c:strCache>
            </c:strRef>
          </c:cat>
          <c:val>
            <c:numRef>
              <c:f>Sheet1!$F$29:$F$47</c:f>
              <c:numCache>
                <c:formatCode>General</c:formatCode>
                <c:ptCount val="19"/>
                <c:pt idx="0">
                  <c:v>1.5574431872305615E-3</c:v>
                </c:pt>
                <c:pt idx="1">
                  <c:v>0.24689874775923062</c:v>
                </c:pt>
                <c:pt idx="2">
                  <c:v>9.6236373353800073E-2</c:v>
                </c:pt>
                <c:pt idx="3">
                  <c:v>8.9553239978328508E-2</c:v>
                </c:pt>
                <c:pt idx="4">
                  <c:v>3.8598220833125696E-2</c:v>
                </c:pt>
                <c:pt idx="5">
                  <c:v>2.9786817032230592E-3</c:v>
                </c:pt>
                <c:pt idx="6">
                  <c:v>9.0140845664996236E-2</c:v>
                </c:pt>
                <c:pt idx="7">
                  <c:v>0.10328086745465083</c:v>
                </c:pt>
                <c:pt idx="8">
                  <c:v>0.11573037540560721</c:v>
                </c:pt>
                <c:pt idx="9">
                  <c:v>3.1749415115376212E-2</c:v>
                </c:pt>
                <c:pt idx="10">
                  <c:v>4.178934054863747E-2</c:v>
                </c:pt>
                <c:pt idx="11">
                  <c:v>5.1856371174290776E-4</c:v>
                </c:pt>
                <c:pt idx="12">
                  <c:v>2.1554739950133215E-2</c:v>
                </c:pt>
                <c:pt idx="13">
                  <c:v>3.3354427498529911E-2</c:v>
                </c:pt>
                <c:pt idx="14">
                  <c:v>2.1613544249809089E-2</c:v>
                </c:pt>
                <c:pt idx="15">
                  <c:v>2.5976097903293782E-3</c:v>
                </c:pt>
                <c:pt idx="16">
                  <c:v>1.8606220392482612E-2</c:v>
                </c:pt>
                <c:pt idx="17">
                  <c:v>2.1838526484485792E-2</c:v>
                </c:pt>
                <c:pt idx="18">
                  <c:v>2.14028169182805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860-4B26-ABF2-E027C7991D87}"/>
            </c:ext>
          </c:extLst>
        </c:ser>
        <c:ser>
          <c:idx val="2"/>
          <c:order val="1"/>
          <c:tx>
            <c:strRef>
              <c:f>Sheet1!$I$28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29:$B$47</c:f>
              <c:strCache>
                <c:ptCount val="19"/>
                <c:pt idx="0">
                  <c:v>男-背心</c:v>
                </c:pt>
                <c:pt idx="1">
                  <c:v>男-短袖T恤</c:v>
                </c:pt>
                <c:pt idx="2">
                  <c:v>男-短袖衬衫</c:v>
                </c:pt>
                <c:pt idx="3">
                  <c:v>男-牛仔长裤</c:v>
                </c:pt>
                <c:pt idx="4">
                  <c:v>男-牛仔中裤</c:v>
                </c:pt>
                <c:pt idx="5">
                  <c:v>男-休闲短裤</c:v>
                </c:pt>
                <c:pt idx="6">
                  <c:v>男-休闲长裤</c:v>
                </c:pt>
                <c:pt idx="7">
                  <c:v>男-休闲中裤</c:v>
                </c:pt>
                <c:pt idx="8">
                  <c:v>女-短袖T恤</c:v>
                </c:pt>
                <c:pt idx="9">
                  <c:v>女-短袖衬衫</c:v>
                </c:pt>
                <c:pt idx="10">
                  <c:v>女-连衣裙</c:v>
                </c:pt>
                <c:pt idx="11">
                  <c:v>女-毛衫</c:v>
                </c:pt>
                <c:pt idx="12">
                  <c:v>女-牛仔短裤</c:v>
                </c:pt>
                <c:pt idx="13">
                  <c:v>女-牛仔长裤</c:v>
                </c:pt>
                <c:pt idx="14">
                  <c:v>女-牛仔中裤</c:v>
                </c:pt>
                <c:pt idx="15">
                  <c:v>女-裙子</c:v>
                </c:pt>
                <c:pt idx="16">
                  <c:v>女-休闲短裤</c:v>
                </c:pt>
                <c:pt idx="17">
                  <c:v>女-休闲长裤</c:v>
                </c:pt>
                <c:pt idx="18">
                  <c:v>女-休闲中裤</c:v>
                </c:pt>
              </c:strCache>
            </c:strRef>
          </c:cat>
          <c:val>
            <c:numRef>
              <c:f>Sheet1!$I$29:$I$47</c:f>
              <c:numCache>
                <c:formatCode>General</c:formatCode>
                <c:ptCount val="19"/>
                <c:pt idx="0">
                  <c:v>2.0762041467614245E-3</c:v>
                </c:pt>
                <c:pt idx="1">
                  <c:v>0.28726625900775982</c:v>
                </c:pt>
                <c:pt idx="2">
                  <c:v>2.7210860781169424E-2</c:v>
                </c:pt>
                <c:pt idx="3">
                  <c:v>6.2226663613733989E-2</c:v>
                </c:pt>
                <c:pt idx="4">
                  <c:v>2.8095065409999849E-2</c:v>
                </c:pt>
                <c:pt idx="5">
                  <c:v>3.0710695603257173E-3</c:v>
                </c:pt>
                <c:pt idx="6">
                  <c:v>0.16858574889104178</c:v>
                </c:pt>
                <c:pt idx="7">
                  <c:v>5.5140651459206137E-2</c:v>
                </c:pt>
                <c:pt idx="8">
                  <c:v>0.12486346821658434</c:v>
                </c:pt>
                <c:pt idx="9">
                  <c:v>3.7556273298012248E-2</c:v>
                </c:pt>
                <c:pt idx="10">
                  <c:v>4.2123731699865559E-2</c:v>
                </c:pt>
                <c:pt idx="11">
                  <c:v>4.15537505525382E-3</c:v>
                </c:pt>
                <c:pt idx="12">
                  <c:v>2.7467511932912188E-2</c:v>
                </c:pt>
                <c:pt idx="13">
                  <c:v>2.7818533646607361E-2</c:v>
                </c:pt>
                <c:pt idx="14">
                  <c:v>2.242686923207959E-2</c:v>
                </c:pt>
                <c:pt idx="15">
                  <c:v>2.4869992775126776E-2</c:v>
                </c:pt>
                <c:pt idx="16">
                  <c:v>2.1870651547010594E-2</c:v>
                </c:pt>
                <c:pt idx="17">
                  <c:v>2.0615028604327061E-2</c:v>
                </c:pt>
                <c:pt idx="18">
                  <c:v>1.2560041122222216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1860-4B26-ABF2-E027C7991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1630032"/>
        <c:axId val="1793120048"/>
      </c:lineChart>
      <c:catAx>
        <c:axId val="171163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93120048"/>
        <c:crosses val="autoZero"/>
        <c:auto val="1"/>
        <c:lblAlgn val="ctr"/>
        <c:lblOffset val="100"/>
        <c:noMultiLvlLbl val="0"/>
      </c:catAx>
      <c:valAx>
        <c:axId val="179312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1163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1"/>
              <a:t>中类预测占比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2175652732844309E-2"/>
          <c:y val="0.15256761173474623"/>
          <c:w val="0.94742247313425443"/>
          <c:h val="0.73280258601076875"/>
        </c:manualLayout>
      </c:layout>
      <c:lineChart>
        <c:grouping val="standard"/>
        <c:varyColors val="0"/>
        <c:ser>
          <c:idx val="0"/>
          <c:order val="0"/>
          <c:tx>
            <c:strRef>
              <c:f>Sheet1!$F$28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29:$B$47</c:f>
              <c:strCache>
                <c:ptCount val="19"/>
                <c:pt idx="0">
                  <c:v>男-背心</c:v>
                </c:pt>
                <c:pt idx="1">
                  <c:v>男-短袖T恤</c:v>
                </c:pt>
                <c:pt idx="2">
                  <c:v>男-短袖衬衫</c:v>
                </c:pt>
                <c:pt idx="3">
                  <c:v>男-牛仔长裤</c:v>
                </c:pt>
                <c:pt idx="4">
                  <c:v>男-牛仔中裤</c:v>
                </c:pt>
                <c:pt idx="5">
                  <c:v>男-休闲短裤</c:v>
                </c:pt>
                <c:pt idx="6">
                  <c:v>男-休闲长裤</c:v>
                </c:pt>
                <c:pt idx="7">
                  <c:v>男-休闲中裤</c:v>
                </c:pt>
                <c:pt idx="8">
                  <c:v>女-短袖T恤</c:v>
                </c:pt>
                <c:pt idx="9">
                  <c:v>女-短袖衬衫</c:v>
                </c:pt>
                <c:pt idx="10">
                  <c:v>女-连衣裙</c:v>
                </c:pt>
                <c:pt idx="11">
                  <c:v>女-毛衫</c:v>
                </c:pt>
                <c:pt idx="12">
                  <c:v>女-牛仔短裤</c:v>
                </c:pt>
                <c:pt idx="13">
                  <c:v>女-牛仔长裤</c:v>
                </c:pt>
                <c:pt idx="14">
                  <c:v>女-牛仔中裤</c:v>
                </c:pt>
                <c:pt idx="15">
                  <c:v>女-裙子</c:v>
                </c:pt>
                <c:pt idx="16">
                  <c:v>女-休闲短裤</c:v>
                </c:pt>
                <c:pt idx="17">
                  <c:v>女-休闲长裤</c:v>
                </c:pt>
                <c:pt idx="18">
                  <c:v>女-休闲中裤</c:v>
                </c:pt>
              </c:strCache>
            </c:strRef>
          </c:cat>
          <c:val>
            <c:numRef>
              <c:f>Sheet1!$F$29:$F$47</c:f>
              <c:numCache>
                <c:formatCode>General</c:formatCode>
                <c:ptCount val="19"/>
                <c:pt idx="0">
                  <c:v>1.5574431872305615E-3</c:v>
                </c:pt>
                <c:pt idx="1">
                  <c:v>0.24689874775923062</c:v>
                </c:pt>
                <c:pt idx="2">
                  <c:v>9.6236373353800073E-2</c:v>
                </c:pt>
                <c:pt idx="3">
                  <c:v>8.9553239978328508E-2</c:v>
                </c:pt>
                <c:pt idx="4">
                  <c:v>3.8598220833125696E-2</c:v>
                </c:pt>
                <c:pt idx="5">
                  <c:v>2.9786817032230592E-3</c:v>
                </c:pt>
                <c:pt idx="6">
                  <c:v>9.0140845664996236E-2</c:v>
                </c:pt>
                <c:pt idx="7">
                  <c:v>0.10328086745465083</c:v>
                </c:pt>
                <c:pt idx="8">
                  <c:v>0.11573037540560721</c:v>
                </c:pt>
                <c:pt idx="9">
                  <c:v>3.1749415115376212E-2</c:v>
                </c:pt>
                <c:pt idx="10">
                  <c:v>4.178934054863747E-2</c:v>
                </c:pt>
                <c:pt idx="11">
                  <c:v>5.1856371174290776E-4</c:v>
                </c:pt>
                <c:pt idx="12">
                  <c:v>2.1554739950133215E-2</c:v>
                </c:pt>
                <c:pt idx="13">
                  <c:v>3.3354427498529911E-2</c:v>
                </c:pt>
                <c:pt idx="14">
                  <c:v>2.1613544249809089E-2</c:v>
                </c:pt>
                <c:pt idx="15">
                  <c:v>2.5976097903293782E-3</c:v>
                </c:pt>
                <c:pt idx="16">
                  <c:v>1.8606220392482612E-2</c:v>
                </c:pt>
                <c:pt idx="17">
                  <c:v>2.1838526484485792E-2</c:v>
                </c:pt>
                <c:pt idx="18">
                  <c:v>2.14028169182805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CD1-469A-AE76-ABC3EC4B586E}"/>
            </c:ext>
          </c:extLst>
        </c:ser>
        <c:ser>
          <c:idx val="2"/>
          <c:order val="1"/>
          <c:tx>
            <c:strRef>
              <c:f>Sheet1!$I$28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29:$B$47</c:f>
              <c:strCache>
                <c:ptCount val="19"/>
                <c:pt idx="0">
                  <c:v>男-背心</c:v>
                </c:pt>
                <c:pt idx="1">
                  <c:v>男-短袖T恤</c:v>
                </c:pt>
                <c:pt idx="2">
                  <c:v>男-短袖衬衫</c:v>
                </c:pt>
                <c:pt idx="3">
                  <c:v>男-牛仔长裤</c:v>
                </c:pt>
                <c:pt idx="4">
                  <c:v>男-牛仔中裤</c:v>
                </c:pt>
                <c:pt idx="5">
                  <c:v>男-休闲短裤</c:v>
                </c:pt>
                <c:pt idx="6">
                  <c:v>男-休闲长裤</c:v>
                </c:pt>
                <c:pt idx="7">
                  <c:v>男-休闲中裤</c:v>
                </c:pt>
                <c:pt idx="8">
                  <c:v>女-短袖T恤</c:v>
                </c:pt>
                <c:pt idx="9">
                  <c:v>女-短袖衬衫</c:v>
                </c:pt>
                <c:pt idx="10">
                  <c:v>女-连衣裙</c:v>
                </c:pt>
                <c:pt idx="11">
                  <c:v>女-毛衫</c:v>
                </c:pt>
                <c:pt idx="12">
                  <c:v>女-牛仔短裤</c:v>
                </c:pt>
                <c:pt idx="13">
                  <c:v>女-牛仔长裤</c:v>
                </c:pt>
                <c:pt idx="14">
                  <c:v>女-牛仔中裤</c:v>
                </c:pt>
                <c:pt idx="15">
                  <c:v>女-裙子</c:v>
                </c:pt>
                <c:pt idx="16">
                  <c:v>女-休闲短裤</c:v>
                </c:pt>
                <c:pt idx="17">
                  <c:v>女-休闲长裤</c:v>
                </c:pt>
                <c:pt idx="18">
                  <c:v>女-休闲中裤</c:v>
                </c:pt>
              </c:strCache>
            </c:strRef>
          </c:cat>
          <c:val>
            <c:numRef>
              <c:f>Sheet1!$I$29:$I$47</c:f>
              <c:numCache>
                <c:formatCode>General</c:formatCode>
                <c:ptCount val="19"/>
                <c:pt idx="0">
                  <c:v>2.4525726570408823E-3</c:v>
                </c:pt>
                <c:pt idx="1">
                  <c:v>0.28733788269815835</c:v>
                </c:pt>
                <c:pt idx="2">
                  <c:v>2.1326852016298296E-2</c:v>
                </c:pt>
                <c:pt idx="3">
                  <c:v>4.7206987776080768E-2</c:v>
                </c:pt>
                <c:pt idx="4">
                  <c:v>3.3604950367102149E-2</c:v>
                </c:pt>
                <c:pt idx="5">
                  <c:v>2.2311630236079372E-3</c:v>
                </c:pt>
                <c:pt idx="6">
                  <c:v>0.15732421673551394</c:v>
                </c:pt>
                <c:pt idx="7">
                  <c:v>5.1298204642598398E-2</c:v>
                </c:pt>
                <c:pt idx="8">
                  <c:v>0.15285401632692885</c:v>
                </c:pt>
                <c:pt idx="9">
                  <c:v>3.9492516531070526E-2</c:v>
                </c:pt>
                <c:pt idx="10">
                  <c:v>4.3780431672824638E-2</c:v>
                </c:pt>
                <c:pt idx="11">
                  <c:v>5.3098652136942598E-3</c:v>
                </c:pt>
                <c:pt idx="12">
                  <c:v>3.5413793853600738E-2</c:v>
                </c:pt>
                <c:pt idx="13">
                  <c:v>2.0277899577580121E-2</c:v>
                </c:pt>
                <c:pt idx="14">
                  <c:v>2.6731760005220359E-2</c:v>
                </c:pt>
                <c:pt idx="15">
                  <c:v>2.7922283244801793E-2</c:v>
                </c:pt>
                <c:pt idx="16">
                  <c:v>2.1756370984214624E-2</c:v>
                </c:pt>
                <c:pt idx="17">
                  <c:v>1.4763059701186852E-2</c:v>
                </c:pt>
                <c:pt idx="18">
                  <c:v>8.9151729724764196E-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CD1-469A-AE76-ABC3EC4B58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1630032"/>
        <c:axId val="1793120048"/>
      </c:lineChart>
      <c:catAx>
        <c:axId val="171163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93120048"/>
        <c:crosses val="autoZero"/>
        <c:auto val="1"/>
        <c:lblAlgn val="ctr"/>
        <c:lblOffset val="100"/>
        <c:noMultiLvlLbl val="0"/>
      </c:catAx>
      <c:valAx>
        <c:axId val="179312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1163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南中北!$C$8</c:f>
          <c:strCache>
            <c:ptCount val="1"/>
            <c:pt idx="0">
              <c:v>南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4456798188292734E-2"/>
          <c:y val="9.59094829977956E-2"/>
          <c:w val="0.94079542157960239"/>
          <c:h val="0.72324231525246474"/>
        </c:manualLayout>
      </c:layout>
      <c:lineChart>
        <c:grouping val="standard"/>
        <c:varyColors val="0"/>
        <c:ser>
          <c:idx val="2"/>
          <c:order val="0"/>
          <c:tx>
            <c:strRef>
              <c:f>南中北!$B$5:$C$5</c:f>
              <c:strCache>
                <c:ptCount val="2"/>
                <c:pt idx="0">
                  <c:v>2015</c:v>
                </c:pt>
                <c:pt idx="1">
                  <c:v>南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南中北!$D$5:$T$5</c:f>
              <c:numCache>
                <c:formatCode>0%</c:formatCode>
                <c:ptCount val="17"/>
                <c:pt idx="0">
                  <c:v>3.0152134677474081E-6</c:v>
                </c:pt>
                <c:pt idx="1">
                  <c:v>0</c:v>
                </c:pt>
                <c:pt idx="2">
                  <c:v>1.6413154819048728E-5</c:v>
                </c:pt>
                <c:pt idx="3">
                  <c:v>1.9446624673546544E-2</c:v>
                </c:pt>
                <c:pt idx="4">
                  <c:v>0.2483084889007568</c:v>
                </c:pt>
                <c:pt idx="5">
                  <c:v>0.42857494405977303</c:v>
                </c:pt>
                <c:pt idx="6">
                  <c:v>0.2472480689093495</c:v>
                </c:pt>
                <c:pt idx="7">
                  <c:v>4.2338745144638291E-2</c:v>
                </c:pt>
                <c:pt idx="8">
                  <c:v>1.0880473584701438E-2</c:v>
                </c:pt>
                <c:pt idx="9">
                  <c:v>2.4635457893068253E-3</c:v>
                </c:pt>
                <c:pt idx="10">
                  <c:v>5.0876990622305234E-5</c:v>
                </c:pt>
                <c:pt idx="11">
                  <c:v>4.101123380907426E-4</c:v>
                </c:pt>
                <c:pt idx="12">
                  <c:v>3.8686217320030253E-5</c:v>
                </c:pt>
                <c:pt idx="13">
                  <c:v>1.0541608521396615E-4</c:v>
                </c:pt>
                <c:pt idx="14">
                  <c:v>0</c:v>
                </c:pt>
                <c:pt idx="15">
                  <c:v>5.7792493683431468E-5</c:v>
                </c:pt>
                <c:pt idx="16">
                  <c:v>5.6796444710243819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A55-40F7-980A-977885EF9EE5}"/>
            </c:ext>
          </c:extLst>
        </c:ser>
        <c:ser>
          <c:idx val="3"/>
          <c:order val="1"/>
          <c:tx>
            <c:strRef>
              <c:f>南中北!$B$6:$C$6</c:f>
              <c:strCache>
                <c:ptCount val="2"/>
                <c:pt idx="0">
                  <c:v>2016</c:v>
                </c:pt>
                <c:pt idx="1">
                  <c:v>南</c:v>
                </c:pt>
              </c:strCache>
            </c:strRef>
          </c:tx>
          <c:spPr>
            <a:ln w="28575" cap="rnd">
              <a:solidFill>
                <a:schemeClr val="accent2">
                  <a:tint val="77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南中北!$D$6:$T$6</c:f>
              <c:numCache>
                <c:formatCode>0%</c:formatCode>
                <c:ptCount val="17"/>
                <c:pt idx="0">
                  <c:v>0</c:v>
                </c:pt>
                <c:pt idx="1">
                  <c:v>1.116841327311514E-3</c:v>
                </c:pt>
                <c:pt idx="2">
                  <c:v>2.1160836385065345E-3</c:v>
                </c:pt>
                <c:pt idx="3">
                  <c:v>2.4155880936638976E-2</c:v>
                </c:pt>
                <c:pt idx="4">
                  <c:v>0.29527836669930518</c:v>
                </c:pt>
                <c:pt idx="5">
                  <c:v>0.39120932680645337</c:v>
                </c:pt>
                <c:pt idx="6">
                  <c:v>0.22596940238053329</c:v>
                </c:pt>
                <c:pt idx="7">
                  <c:v>4.40941363414687E-2</c:v>
                </c:pt>
                <c:pt idx="8">
                  <c:v>1.2386369289846554E-2</c:v>
                </c:pt>
                <c:pt idx="9">
                  <c:v>3.3704465546466099E-3</c:v>
                </c:pt>
                <c:pt idx="10">
                  <c:v>3.5589972155384447E-5</c:v>
                </c:pt>
                <c:pt idx="11">
                  <c:v>0</c:v>
                </c:pt>
                <c:pt idx="12">
                  <c:v>3.1420067387816411E-5</c:v>
                </c:pt>
                <c:pt idx="13">
                  <c:v>0</c:v>
                </c:pt>
                <c:pt idx="14">
                  <c:v>1.0253399737508819E-4</c:v>
                </c:pt>
                <c:pt idx="15">
                  <c:v>0</c:v>
                </c:pt>
                <c:pt idx="16">
                  <c:v>1.3360198837091995E-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A55-40F7-980A-977885EF9EE5}"/>
            </c:ext>
          </c:extLst>
        </c:ser>
        <c:ser>
          <c:idx val="0"/>
          <c:order val="2"/>
          <c:tx>
            <c:strRef>
              <c:f>南中北!$B$7:$C$7</c:f>
              <c:strCache>
                <c:ptCount val="2"/>
                <c:pt idx="0">
                  <c:v>2017</c:v>
                </c:pt>
                <c:pt idx="1">
                  <c:v>南</c:v>
                </c:pt>
              </c:strCache>
            </c:strRef>
          </c:tx>
          <c:spPr>
            <a:ln w="28575" cap="rnd">
              <a:solidFill>
                <a:schemeClr val="accent2">
                  <a:shade val="53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7:$T$7</c:f>
              <c:numCache>
                <c:formatCode>0%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9.1484687688330272E-6</c:v>
                </c:pt>
                <c:pt idx="3">
                  <c:v>1.9040037571568132E-2</c:v>
                </c:pt>
                <c:pt idx="4">
                  <c:v>0.1950713697887177</c:v>
                </c:pt>
                <c:pt idx="5">
                  <c:v>0.45733106046913374</c:v>
                </c:pt>
                <c:pt idx="6">
                  <c:v>0.23478082449112256</c:v>
                </c:pt>
                <c:pt idx="7">
                  <c:v>7.382835601804813E-2</c:v>
                </c:pt>
                <c:pt idx="8">
                  <c:v>1.704900579660976E-2</c:v>
                </c:pt>
                <c:pt idx="9">
                  <c:v>1.4993015786335985E-3</c:v>
                </c:pt>
                <c:pt idx="10">
                  <c:v>7.3972454668798967E-4</c:v>
                </c:pt>
                <c:pt idx="11">
                  <c:v>0</c:v>
                </c:pt>
                <c:pt idx="12">
                  <c:v>1.1326748958853147E-4</c:v>
                </c:pt>
                <c:pt idx="13">
                  <c:v>3.7551332665336237E-5</c:v>
                </c:pt>
                <c:pt idx="14">
                  <c:v>2.8679063458659896E-4</c:v>
                </c:pt>
                <c:pt idx="15">
                  <c:v>1.771168195986192E-4</c:v>
                </c:pt>
                <c:pt idx="16">
                  <c:v>3.6444994270452109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6A55-40F7-980A-977885EF9EE5}"/>
            </c:ext>
          </c:extLst>
        </c:ser>
        <c:ser>
          <c:idx val="1"/>
          <c:order val="3"/>
          <c:tx>
            <c:strRef>
              <c:f>南中北!$B$8:$C$8</c:f>
              <c:strCache>
                <c:ptCount val="2"/>
                <c:pt idx="0">
                  <c:v>2018</c:v>
                </c:pt>
                <c:pt idx="1">
                  <c:v>南</c:v>
                </c:pt>
              </c:strCache>
            </c:strRef>
          </c:tx>
          <c:spPr>
            <a:ln w="28575" cap="rnd">
              <a:solidFill>
                <a:schemeClr val="accent2">
                  <a:shade val="76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8:$T$8</c:f>
              <c:numCache>
                <c:formatCode>0%</c:formatCode>
                <c:ptCount val="17"/>
                <c:pt idx="0">
                  <c:v>8.3919976387170666E-5</c:v>
                </c:pt>
                <c:pt idx="1">
                  <c:v>5.6442676686876136E-5</c:v>
                </c:pt>
                <c:pt idx="2">
                  <c:v>4.258317979596352E-5</c:v>
                </c:pt>
                <c:pt idx="3">
                  <c:v>2.0219117432635821E-2</c:v>
                </c:pt>
                <c:pt idx="4">
                  <c:v>0.16046693501380788</c:v>
                </c:pt>
                <c:pt idx="5">
                  <c:v>0.36053926500072969</c:v>
                </c:pt>
                <c:pt idx="6">
                  <c:v>0.32560361317922765</c:v>
                </c:pt>
                <c:pt idx="7">
                  <c:v>0.10025499410401387</c:v>
                </c:pt>
                <c:pt idx="8">
                  <c:v>2.6321165539491681E-2</c:v>
                </c:pt>
                <c:pt idx="9">
                  <c:v>2.0208350198258609E-3</c:v>
                </c:pt>
                <c:pt idx="10">
                  <c:v>3.1371417872721574E-4</c:v>
                </c:pt>
                <c:pt idx="11">
                  <c:v>2.7157647429721076E-4</c:v>
                </c:pt>
                <c:pt idx="12">
                  <c:v>3.2929728615641693E-3</c:v>
                </c:pt>
                <c:pt idx="13">
                  <c:v>4.1338692231062286E-4</c:v>
                </c:pt>
                <c:pt idx="14">
                  <c:v>9.7172868524437588E-5</c:v>
                </c:pt>
                <c:pt idx="15">
                  <c:v>0</c:v>
                </c:pt>
                <c:pt idx="16">
                  <c:v>2.3055719738174002E-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6A55-40F7-980A-977885EF9EE5}"/>
            </c:ext>
          </c:extLst>
        </c:ser>
        <c:ser>
          <c:idx val="4"/>
          <c:order val="4"/>
          <c:tx>
            <c:strRef>
              <c:f>南中北!$B$18:$C$18</c:f>
              <c:strCache>
                <c:ptCount val="2"/>
                <c:pt idx="0">
                  <c:v>2019y</c:v>
                </c:pt>
                <c:pt idx="1">
                  <c:v>南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南中北!$D$18:$T$18</c:f>
              <c:numCache>
                <c:formatCode>0%</c:formatCode>
                <c:ptCount val="17"/>
                <c:pt idx="0">
                  <c:v>1.6783995277434133E-4</c:v>
                </c:pt>
                <c:pt idx="1">
                  <c:v>1.1288535337375227E-4</c:v>
                </c:pt>
                <c:pt idx="2">
                  <c:v>7.6017890823094016E-5</c:v>
                </c:pt>
                <c:pt idx="3">
                  <c:v>2.139819729370351E-2</c:v>
                </c:pt>
                <c:pt idx="4">
                  <c:v>0.12586250023889806</c:v>
                </c:pt>
                <c:pt idx="5">
                  <c:v>0.26374746953232564</c:v>
                </c:pt>
                <c:pt idx="6">
                  <c:v>0.41642640186733271</c:v>
                </c:pt>
                <c:pt idx="7">
                  <c:v>0.1266816321899796</c:v>
                </c:pt>
                <c:pt idx="8">
                  <c:v>3.5593325282373606E-2</c:v>
                </c:pt>
                <c:pt idx="9">
                  <c:v>2.5423684610181236E-3</c:v>
                </c:pt>
                <c:pt idx="10">
                  <c:v>-1.122961892335582E-4</c:v>
                </c:pt>
                <c:pt idx="11">
                  <c:v>5.4315294859442153E-4</c:v>
                </c:pt>
                <c:pt idx="12">
                  <c:v>6.4726782335398072E-3</c:v>
                </c:pt>
                <c:pt idx="13">
                  <c:v>7.8922251195590943E-4</c:v>
                </c:pt>
                <c:pt idx="14">
                  <c:v>-9.2444897537723788E-5</c:v>
                </c:pt>
                <c:pt idx="15">
                  <c:v>-1.771168195986192E-4</c:v>
                </c:pt>
                <c:pt idx="16">
                  <c:v>-3.1833850322817311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6A55-40F7-980A-977885EF9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7831343"/>
        <c:axId val="316411743"/>
      </c:lineChart>
      <c:catAx>
        <c:axId val="4978313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6411743"/>
        <c:crosses val="autoZero"/>
        <c:auto val="1"/>
        <c:lblAlgn val="ctr"/>
        <c:lblOffset val="100"/>
        <c:noMultiLvlLbl val="0"/>
      </c:catAx>
      <c:valAx>
        <c:axId val="316411743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7831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南中北!$C$12</c:f>
          <c:strCache>
            <c:ptCount val="1"/>
            <c:pt idx="0">
              <c:v>中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3.2701586569472606E-2"/>
          <c:y val="3.313547843836058E-2"/>
          <c:w val="0.95286178722405179"/>
          <c:h val="0.81933851758966125"/>
        </c:manualLayout>
      </c:layout>
      <c:lineChart>
        <c:grouping val="standard"/>
        <c:varyColors val="0"/>
        <c:ser>
          <c:idx val="2"/>
          <c:order val="0"/>
          <c:tx>
            <c:strRef>
              <c:f>南中北!$B$9:$C$9</c:f>
              <c:strCache>
                <c:ptCount val="2"/>
                <c:pt idx="0">
                  <c:v>2015</c:v>
                </c:pt>
                <c:pt idx="1">
                  <c:v>中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南中北!$D$9:$T$9</c:f>
              <c:numCache>
                <c:formatCode>0%</c:formatCode>
                <c:ptCount val="17"/>
                <c:pt idx="0">
                  <c:v>1.5730687722996532E-3</c:v>
                </c:pt>
                <c:pt idx="1">
                  <c:v>3.5899698597406784E-4</c:v>
                </c:pt>
                <c:pt idx="2">
                  <c:v>5.047128543546402E-3</c:v>
                </c:pt>
                <c:pt idx="3">
                  <c:v>0.17051331363835548</c:v>
                </c:pt>
                <c:pt idx="4">
                  <c:v>0.4679213875280317</c:v>
                </c:pt>
                <c:pt idx="5">
                  <c:v>0.26934168476826942</c:v>
                </c:pt>
                <c:pt idx="6">
                  <c:v>6.8033109886627183E-2</c:v>
                </c:pt>
                <c:pt idx="7">
                  <c:v>1.1784505214816048E-2</c:v>
                </c:pt>
                <c:pt idx="8">
                  <c:v>9.9824466014113242E-4</c:v>
                </c:pt>
                <c:pt idx="9">
                  <c:v>2.5944146655399714E-3</c:v>
                </c:pt>
                <c:pt idx="10">
                  <c:v>4.1746519929678454E-4</c:v>
                </c:pt>
                <c:pt idx="11">
                  <c:v>9.4498432234068242E-4</c:v>
                </c:pt>
                <c:pt idx="12">
                  <c:v>3.2043599542470831E-4</c:v>
                </c:pt>
                <c:pt idx="13">
                  <c:v>6.5293218285378271E-5</c:v>
                </c:pt>
                <c:pt idx="14">
                  <c:v>3.0164854494830001E-5</c:v>
                </c:pt>
                <c:pt idx="15">
                  <c:v>1.5574753321490735E-5</c:v>
                </c:pt>
                <c:pt idx="16">
                  <c:v>4.0226993235063976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82E-4440-8C88-FEA3EA8CAE73}"/>
            </c:ext>
          </c:extLst>
        </c:ser>
        <c:ser>
          <c:idx val="3"/>
          <c:order val="1"/>
          <c:tx>
            <c:strRef>
              <c:f>南中北!$B$10:$C$10</c:f>
              <c:strCache>
                <c:ptCount val="2"/>
                <c:pt idx="0">
                  <c:v>2016</c:v>
                </c:pt>
                <c:pt idx="1">
                  <c:v>中</c:v>
                </c:pt>
              </c:strCache>
            </c:strRef>
          </c:tx>
          <c:spPr>
            <a:ln w="28575" cap="rnd">
              <a:solidFill>
                <a:schemeClr val="accent2">
                  <a:tint val="77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南中北!$D$10:$T$10</c:f>
              <c:numCache>
                <c:formatCode>0%</c:formatCode>
                <c:ptCount val="17"/>
                <c:pt idx="0">
                  <c:v>0</c:v>
                </c:pt>
                <c:pt idx="1">
                  <c:v>1.0388466590720165E-3</c:v>
                </c:pt>
                <c:pt idx="2">
                  <c:v>8.6988726728952533E-3</c:v>
                </c:pt>
                <c:pt idx="3">
                  <c:v>0.1925313151843672</c:v>
                </c:pt>
                <c:pt idx="4">
                  <c:v>0.48975811682043541</c:v>
                </c:pt>
                <c:pt idx="5">
                  <c:v>0.24771017685075006</c:v>
                </c:pt>
                <c:pt idx="6">
                  <c:v>5.0914341982740904E-2</c:v>
                </c:pt>
                <c:pt idx="7">
                  <c:v>6.7957450311530478E-3</c:v>
                </c:pt>
                <c:pt idx="8">
                  <c:v>9.0437197583335168E-4</c:v>
                </c:pt>
                <c:pt idx="9">
                  <c:v>6.3775442715896253E-4</c:v>
                </c:pt>
                <c:pt idx="10">
                  <c:v>6.385327033398019E-4</c:v>
                </c:pt>
                <c:pt idx="11">
                  <c:v>1.8151447840089266E-4</c:v>
                </c:pt>
                <c:pt idx="12">
                  <c:v>1.1872851524721263E-5</c:v>
                </c:pt>
                <c:pt idx="13">
                  <c:v>4.9525160683631905E-5</c:v>
                </c:pt>
                <c:pt idx="14">
                  <c:v>7.3233229488352985E-5</c:v>
                </c:pt>
                <c:pt idx="15">
                  <c:v>0</c:v>
                </c:pt>
                <c:pt idx="16">
                  <c:v>5.5779972156335951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82E-4440-8C88-FEA3EA8CAE73}"/>
            </c:ext>
          </c:extLst>
        </c:ser>
        <c:ser>
          <c:idx val="0"/>
          <c:order val="2"/>
          <c:tx>
            <c:strRef>
              <c:f>南中北!$B$11:$C$11</c:f>
              <c:strCache>
                <c:ptCount val="2"/>
                <c:pt idx="0">
                  <c:v>2017</c:v>
                </c:pt>
                <c:pt idx="1">
                  <c:v>中</c:v>
                </c:pt>
              </c:strCache>
            </c:strRef>
          </c:tx>
          <c:spPr>
            <a:ln w="28575" cap="rnd">
              <a:solidFill>
                <a:schemeClr val="accent2">
                  <a:shade val="53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11:$T$11</c:f>
              <c:numCache>
                <c:formatCode>0%</c:formatCode>
                <c:ptCount val="17"/>
                <c:pt idx="0">
                  <c:v>5.9562201944701884E-5</c:v>
                </c:pt>
                <c:pt idx="1">
                  <c:v>1.4390132717537522E-3</c:v>
                </c:pt>
                <c:pt idx="2">
                  <c:v>1.5583574824552455E-2</c:v>
                </c:pt>
                <c:pt idx="3">
                  <c:v>0.17065220920492224</c:v>
                </c:pt>
                <c:pt idx="4">
                  <c:v>0.33084462421472582</c:v>
                </c:pt>
                <c:pt idx="5">
                  <c:v>0.32421870560799826</c:v>
                </c:pt>
                <c:pt idx="6">
                  <c:v>0.12208851576334263</c:v>
                </c:pt>
                <c:pt idx="7">
                  <c:v>2.6927746892854931E-2</c:v>
                </c:pt>
                <c:pt idx="8">
                  <c:v>5.4113664031931741E-3</c:v>
                </c:pt>
                <c:pt idx="9">
                  <c:v>1.2266547121667318E-3</c:v>
                </c:pt>
                <c:pt idx="10">
                  <c:v>1.0693159072467113E-3</c:v>
                </c:pt>
                <c:pt idx="11">
                  <c:v>1.2751687296090375E-4</c:v>
                </c:pt>
                <c:pt idx="12">
                  <c:v>4.6113495678695928E-5</c:v>
                </c:pt>
                <c:pt idx="13">
                  <c:v>5.599799705826514E-5</c:v>
                </c:pt>
                <c:pt idx="14">
                  <c:v>7.3490672305206721E-5</c:v>
                </c:pt>
                <c:pt idx="15">
                  <c:v>4.7571502164460272E-5</c:v>
                </c:pt>
                <c:pt idx="16">
                  <c:v>1.2802045513101606E-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82E-4440-8C88-FEA3EA8CAE73}"/>
            </c:ext>
          </c:extLst>
        </c:ser>
        <c:ser>
          <c:idx val="1"/>
          <c:order val="3"/>
          <c:tx>
            <c:strRef>
              <c:f>南中北!$B$12:$C$12</c:f>
              <c:strCache>
                <c:ptCount val="2"/>
                <c:pt idx="0">
                  <c:v>2018</c:v>
                </c:pt>
                <c:pt idx="1">
                  <c:v>中</c:v>
                </c:pt>
              </c:strCache>
            </c:strRef>
          </c:tx>
          <c:spPr>
            <a:ln w="28575" cap="rnd">
              <a:solidFill>
                <a:schemeClr val="accent2">
                  <a:shade val="76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12:$T$12</c:f>
              <c:numCache>
                <c:formatCode>0%</c:formatCode>
                <c:ptCount val="17"/>
                <c:pt idx="0">
                  <c:v>9.1573662581117502E-4</c:v>
                </c:pt>
                <c:pt idx="1">
                  <c:v>1.9475057018024592E-5</c:v>
                </c:pt>
                <c:pt idx="2">
                  <c:v>8.3115657570656046E-3</c:v>
                </c:pt>
                <c:pt idx="3">
                  <c:v>7.659242015214815E-2</c:v>
                </c:pt>
                <c:pt idx="4">
                  <c:v>0.35120726945533193</c:v>
                </c:pt>
                <c:pt idx="5">
                  <c:v>0.36926022735376901</c:v>
                </c:pt>
                <c:pt idx="6">
                  <c:v>0.14316984717792944</c:v>
                </c:pt>
                <c:pt idx="7">
                  <c:v>3.5919416387790566E-2</c:v>
                </c:pt>
                <c:pt idx="8">
                  <c:v>1.0611363608436982E-2</c:v>
                </c:pt>
                <c:pt idx="9">
                  <c:v>2.3324861593466907E-3</c:v>
                </c:pt>
                <c:pt idx="10">
                  <c:v>7.1953539540696877E-4</c:v>
                </c:pt>
                <c:pt idx="11">
                  <c:v>3.3513360435797148E-4</c:v>
                </c:pt>
                <c:pt idx="12">
                  <c:v>8.8621931984791361E-5</c:v>
                </c:pt>
                <c:pt idx="13">
                  <c:v>3.75975690188647E-5</c:v>
                </c:pt>
                <c:pt idx="14">
                  <c:v>1.5127181718077668E-4</c:v>
                </c:pt>
                <c:pt idx="15">
                  <c:v>2.5859546867964948E-4</c:v>
                </c:pt>
                <c:pt idx="16">
                  <c:v>6.943647872338746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F82E-4440-8C88-FEA3EA8CAE73}"/>
            </c:ext>
          </c:extLst>
        </c:ser>
        <c:ser>
          <c:idx val="4"/>
          <c:order val="4"/>
          <c:tx>
            <c:strRef>
              <c:f>南中北!$B$21:$C$21</c:f>
              <c:strCache>
                <c:ptCount val="2"/>
                <c:pt idx="0">
                  <c:v>2019y</c:v>
                </c:pt>
                <c:pt idx="1">
                  <c:v>中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南中北!$D$21:$T$21</c:f>
              <c:numCache>
                <c:formatCode>0%</c:formatCode>
                <c:ptCount val="17"/>
                <c:pt idx="0">
                  <c:v>1.7719110496776482E-3</c:v>
                </c:pt>
                <c:pt idx="1">
                  <c:v>-1.400063157717703E-3</c:v>
                </c:pt>
                <c:pt idx="2">
                  <c:v>1.039556689578754E-3</c:v>
                </c:pt>
                <c:pt idx="3">
                  <c:v>-1.7467368900625946E-2</c:v>
                </c:pt>
                <c:pt idx="4">
                  <c:v>0.37156991469593803</c:v>
                </c:pt>
                <c:pt idx="5">
                  <c:v>0.41430174909953976</c:v>
                </c:pt>
                <c:pt idx="6">
                  <c:v>0.16425117859251626</c:v>
                </c:pt>
                <c:pt idx="7">
                  <c:v>4.4911085882726201E-2</c:v>
                </c:pt>
                <c:pt idx="8">
                  <c:v>1.5811360813680789E-2</c:v>
                </c:pt>
                <c:pt idx="9">
                  <c:v>3.4383176065266498E-3</c:v>
                </c:pt>
                <c:pt idx="10">
                  <c:v>3.6975488356722624E-4</c:v>
                </c:pt>
                <c:pt idx="11">
                  <c:v>5.4275033575503927E-4</c:v>
                </c:pt>
                <c:pt idx="12">
                  <c:v>1.311303682908868E-4</c:v>
                </c:pt>
                <c:pt idx="13">
                  <c:v>1.9197140979464261E-5</c:v>
                </c:pt>
                <c:pt idx="14">
                  <c:v>2.2905296205634663E-4</c:v>
                </c:pt>
                <c:pt idx="15">
                  <c:v>4.6961943519483867E-4</c:v>
                </c:pt>
                <c:pt idx="16">
                  <c:v>1.0852502315758863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F82E-4440-8C88-FEA3EA8CA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7831343"/>
        <c:axId val="316411743"/>
      </c:lineChart>
      <c:catAx>
        <c:axId val="4978313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6411743"/>
        <c:crosses val="autoZero"/>
        <c:auto val="1"/>
        <c:lblAlgn val="ctr"/>
        <c:lblOffset val="100"/>
        <c:noMultiLvlLbl val="0"/>
      </c:catAx>
      <c:valAx>
        <c:axId val="316411743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7831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南中北!$C$16</c:f>
          <c:strCache>
            <c:ptCount val="1"/>
            <c:pt idx="0">
              <c:v>北</c:v>
            </c:pt>
          </c:strCache>
        </c:strRef>
      </c:tx>
      <c:layout>
        <c:manualLayout>
          <c:xMode val="edge"/>
          <c:yMode val="edge"/>
          <c:x val="0.48933333333333334"/>
          <c:y val="4.3272490621454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3277609174745053E-2"/>
          <c:y val="5.4890961367813962E-2"/>
          <c:w val="0.94465607297277698"/>
          <c:h val="0.79897924529617259"/>
        </c:manualLayout>
      </c:layout>
      <c:lineChart>
        <c:grouping val="standard"/>
        <c:varyColors val="0"/>
        <c:ser>
          <c:idx val="2"/>
          <c:order val="0"/>
          <c:tx>
            <c:strRef>
              <c:f>南中北!$B$13:$C$13</c:f>
              <c:strCache>
                <c:ptCount val="2"/>
                <c:pt idx="0">
                  <c:v>2015</c:v>
                </c:pt>
                <c:pt idx="1">
                  <c:v>北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南中北!$D$13:$T$13</c:f>
              <c:numCache>
                <c:formatCode>0%</c:formatCode>
                <c:ptCount val="17"/>
                <c:pt idx="0">
                  <c:v>7.4893881078241494E-4</c:v>
                </c:pt>
                <c:pt idx="1">
                  <c:v>0</c:v>
                </c:pt>
                <c:pt idx="2">
                  <c:v>7.0014063599499283E-3</c:v>
                </c:pt>
                <c:pt idx="3">
                  <c:v>0.17413296914637622</c:v>
                </c:pt>
                <c:pt idx="4">
                  <c:v>0.4753603998439429</c:v>
                </c:pt>
                <c:pt idx="5">
                  <c:v>0.24948535190948959</c:v>
                </c:pt>
                <c:pt idx="6">
                  <c:v>7.5962035868785499E-2</c:v>
                </c:pt>
                <c:pt idx="7">
                  <c:v>1.4102142648245492E-2</c:v>
                </c:pt>
                <c:pt idx="8">
                  <c:v>1.7379689610033146E-3</c:v>
                </c:pt>
                <c:pt idx="9">
                  <c:v>6.0694647520085027E-4</c:v>
                </c:pt>
                <c:pt idx="10">
                  <c:v>2.6794194338375442E-4</c:v>
                </c:pt>
                <c:pt idx="11">
                  <c:v>1.1864655102275729E-4</c:v>
                </c:pt>
                <c:pt idx="12">
                  <c:v>2.710540718778502E-4</c:v>
                </c:pt>
                <c:pt idx="13">
                  <c:v>8.4564190984490916E-5</c:v>
                </c:pt>
                <c:pt idx="14">
                  <c:v>7.558026342804087E-6</c:v>
                </c:pt>
                <c:pt idx="15">
                  <c:v>2.7590277878465835E-5</c:v>
                </c:pt>
                <c:pt idx="16">
                  <c:v>8.4484914733694674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2AC-435D-82A6-BB4C6C817F66}"/>
            </c:ext>
          </c:extLst>
        </c:ser>
        <c:ser>
          <c:idx val="3"/>
          <c:order val="1"/>
          <c:tx>
            <c:strRef>
              <c:f>南中北!$B$14:$C$14</c:f>
              <c:strCache>
                <c:ptCount val="2"/>
                <c:pt idx="0">
                  <c:v>2016</c:v>
                </c:pt>
                <c:pt idx="1">
                  <c:v>北</c:v>
                </c:pt>
              </c:strCache>
            </c:strRef>
          </c:tx>
          <c:spPr>
            <a:ln w="28575" cap="rnd">
              <a:solidFill>
                <a:schemeClr val="accent2">
                  <a:tint val="77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南中北!$D$14:$T$14</c:f>
              <c:numCache>
                <c:formatCode>0%</c:formatCode>
                <c:ptCount val="17"/>
                <c:pt idx="0">
                  <c:v>1.3065647268861961E-3</c:v>
                </c:pt>
                <c:pt idx="1">
                  <c:v>7.6205307508083651E-6</c:v>
                </c:pt>
                <c:pt idx="2">
                  <c:v>9.649271412475631E-3</c:v>
                </c:pt>
                <c:pt idx="3">
                  <c:v>0.22385284153951049</c:v>
                </c:pt>
                <c:pt idx="4">
                  <c:v>0.50018962852811522</c:v>
                </c:pt>
                <c:pt idx="5">
                  <c:v>0.19558537958172656</c:v>
                </c:pt>
                <c:pt idx="6">
                  <c:v>5.5194017210514611E-2</c:v>
                </c:pt>
                <c:pt idx="7">
                  <c:v>1.0881541479789382E-2</c:v>
                </c:pt>
                <c:pt idx="8">
                  <c:v>2.0570857150507623E-3</c:v>
                </c:pt>
                <c:pt idx="9">
                  <c:v>7.094696337880212E-4</c:v>
                </c:pt>
                <c:pt idx="10">
                  <c:v>1.867925520440946E-4</c:v>
                </c:pt>
                <c:pt idx="11">
                  <c:v>3.1847176519358804E-4</c:v>
                </c:pt>
                <c:pt idx="12">
                  <c:v>2.3709635752320501E-6</c:v>
                </c:pt>
                <c:pt idx="13">
                  <c:v>1.0627230432255713E-6</c:v>
                </c:pt>
                <c:pt idx="14">
                  <c:v>2.1864103324576094E-5</c:v>
                </c:pt>
                <c:pt idx="15">
                  <c:v>0</c:v>
                </c:pt>
                <c:pt idx="16">
                  <c:v>3.6017534211641649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2AC-435D-82A6-BB4C6C817F66}"/>
            </c:ext>
          </c:extLst>
        </c:ser>
        <c:ser>
          <c:idx val="0"/>
          <c:order val="2"/>
          <c:tx>
            <c:strRef>
              <c:f>南中北!$B$15:$C$15</c:f>
              <c:strCache>
                <c:ptCount val="2"/>
                <c:pt idx="0">
                  <c:v>2017</c:v>
                </c:pt>
                <c:pt idx="1">
                  <c:v>北</c:v>
                </c:pt>
              </c:strCache>
            </c:strRef>
          </c:tx>
          <c:spPr>
            <a:ln w="28575" cap="rnd">
              <a:solidFill>
                <a:schemeClr val="accent2">
                  <a:shade val="53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15:$T$15</c:f>
              <c:numCache>
                <c:formatCode>0%</c:formatCode>
                <c:ptCount val="17"/>
                <c:pt idx="0">
                  <c:v>8.700539638300252E-4</c:v>
                </c:pt>
                <c:pt idx="1">
                  <c:v>2.2610736942970096E-4</c:v>
                </c:pt>
                <c:pt idx="2">
                  <c:v>7.548724987703751E-3</c:v>
                </c:pt>
                <c:pt idx="3">
                  <c:v>0.12329041808853174</c:v>
                </c:pt>
                <c:pt idx="4">
                  <c:v>0.39575826227969013</c:v>
                </c:pt>
                <c:pt idx="5">
                  <c:v>0.3034670343985153</c:v>
                </c:pt>
                <c:pt idx="6">
                  <c:v>0.12485954819341108</c:v>
                </c:pt>
                <c:pt idx="7">
                  <c:v>3.2816934631228881E-2</c:v>
                </c:pt>
                <c:pt idx="8">
                  <c:v>8.5110326493977369E-3</c:v>
                </c:pt>
                <c:pt idx="9">
                  <c:v>1.6206617243359177E-3</c:v>
                </c:pt>
                <c:pt idx="10">
                  <c:v>2.7214356828942E-4</c:v>
                </c:pt>
                <c:pt idx="11">
                  <c:v>5.1081216394846432E-4</c:v>
                </c:pt>
                <c:pt idx="12">
                  <c:v>9.0031612308850967E-5</c:v>
                </c:pt>
                <c:pt idx="13">
                  <c:v>2.2267206939396912E-5</c:v>
                </c:pt>
                <c:pt idx="14">
                  <c:v>1.9339123524206796E-5</c:v>
                </c:pt>
                <c:pt idx="15">
                  <c:v>4.0527005278899978E-5</c:v>
                </c:pt>
                <c:pt idx="16">
                  <c:v>7.6101033636582853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2AC-435D-82A6-BB4C6C817F66}"/>
            </c:ext>
          </c:extLst>
        </c:ser>
        <c:ser>
          <c:idx val="1"/>
          <c:order val="3"/>
          <c:tx>
            <c:strRef>
              <c:f>南中北!$B$16:$C$16</c:f>
              <c:strCache>
                <c:ptCount val="2"/>
                <c:pt idx="0">
                  <c:v>2018</c:v>
                </c:pt>
                <c:pt idx="1">
                  <c:v>北</c:v>
                </c:pt>
              </c:strCache>
            </c:strRef>
          </c:tx>
          <c:spPr>
            <a:ln w="28575" cap="rnd">
              <a:solidFill>
                <a:schemeClr val="accent2">
                  <a:shade val="76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南中北!$D$4:$T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南中北!$D$16:$T$16</c:f>
              <c:numCache>
                <c:formatCode>0%</c:formatCode>
                <c:ptCount val="17"/>
                <c:pt idx="0">
                  <c:v>5.8362045210713125E-8</c:v>
                </c:pt>
                <c:pt idx="1">
                  <c:v>1.6888516832850112E-5</c:v>
                </c:pt>
                <c:pt idx="2">
                  <c:v>6.6447000127550305E-3</c:v>
                </c:pt>
                <c:pt idx="3">
                  <c:v>9.9057910522202058E-2</c:v>
                </c:pt>
                <c:pt idx="4">
                  <c:v>0.4192406003544627</c:v>
                </c:pt>
                <c:pt idx="5">
                  <c:v>0.31614832169491275</c:v>
                </c:pt>
                <c:pt idx="6">
                  <c:v>0.12321805343016143</c:v>
                </c:pt>
                <c:pt idx="7">
                  <c:v>2.671652560182303E-2</c:v>
                </c:pt>
                <c:pt idx="8">
                  <c:v>4.9628528691836532E-3</c:v>
                </c:pt>
                <c:pt idx="9">
                  <c:v>1.2507922513131078E-3</c:v>
                </c:pt>
                <c:pt idx="10">
                  <c:v>1.9256909421297944E-3</c:v>
                </c:pt>
                <c:pt idx="11">
                  <c:v>7.8644071797377832E-5</c:v>
                </c:pt>
                <c:pt idx="12">
                  <c:v>6.9367363917337884E-4</c:v>
                </c:pt>
                <c:pt idx="13">
                  <c:v>0</c:v>
                </c:pt>
                <c:pt idx="14">
                  <c:v>1.1745361598656017E-5</c:v>
                </c:pt>
                <c:pt idx="15">
                  <c:v>2.8816259822789608E-7</c:v>
                </c:pt>
                <c:pt idx="16">
                  <c:v>3.3254207010687581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2AC-435D-82A6-BB4C6C817F66}"/>
            </c:ext>
          </c:extLst>
        </c:ser>
        <c:ser>
          <c:idx val="4"/>
          <c:order val="4"/>
          <c:tx>
            <c:strRef>
              <c:f>南中北!$B$24:$C$24</c:f>
              <c:strCache>
                <c:ptCount val="2"/>
                <c:pt idx="0">
                  <c:v>2019y</c:v>
                </c:pt>
                <c:pt idx="1">
                  <c:v>北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南中北!$D$24:$T$24</c:f>
              <c:numCache>
                <c:formatCode>0%</c:formatCode>
                <c:ptCount val="17"/>
                <c:pt idx="0">
                  <c:v>-8.6993723973960381E-4</c:v>
                </c:pt>
                <c:pt idx="1">
                  <c:v>-1.9233033576400075E-4</c:v>
                </c:pt>
                <c:pt idx="2">
                  <c:v>5.7406750378063099E-3</c:v>
                </c:pt>
                <c:pt idx="3">
                  <c:v>7.482540295587238E-2</c:v>
                </c:pt>
                <c:pt idx="4">
                  <c:v>0.44272293842923527</c:v>
                </c:pt>
                <c:pt idx="5">
                  <c:v>0.3288296089913102</c:v>
                </c:pt>
                <c:pt idx="6">
                  <c:v>0.12157655866691178</c:v>
                </c:pt>
                <c:pt idx="7">
                  <c:v>2.061611657241718E-2</c:v>
                </c:pt>
                <c:pt idx="8">
                  <c:v>1.4146730889695695E-3</c:v>
                </c:pt>
                <c:pt idx="9">
                  <c:v>8.8092277829029801E-4</c:v>
                </c:pt>
                <c:pt idx="10">
                  <c:v>3.5792383159701686E-3</c:v>
                </c:pt>
                <c:pt idx="11">
                  <c:v>-3.5352402035370865E-4</c:v>
                </c:pt>
                <c:pt idx="12">
                  <c:v>1.2973156660379067E-3</c:v>
                </c:pt>
                <c:pt idx="13">
                  <c:v>-2.2267206939396912E-5</c:v>
                </c:pt>
                <c:pt idx="14">
                  <c:v>4.1515996731052381E-6</c:v>
                </c:pt>
                <c:pt idx="15">
                  <c:v>-3.9950680082444186E-5</c:v>
                </c:pt>
                <c:pt idx="16">
                  <c:v>-9.5926196152076924E-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92AC-435D-82A6-BB4C6C817F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7831343"/>
        <c:axId val="316411743"/>
      </c:lineChart>
      <c:catAx>
        <c:axId val="4978313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6411743"/>
        <c:crosses val="autoZero"/>
        <c:auto val="1"/>
        <c:lblAlgn val="ctr"/>
        <c:lblOffset val="100"/>
        <c:noMultiLvlLbl val="0"/>
      </c:catAx>
      <c:valAx>
        <c:axId val="316411743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7831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/>
              <a:t>渠道规模变化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609492563429571"/>
          <c:y val="0.18039370078740158"/>
          <c:w val="0.85334951881014875"/>
          <c:h val="0.665562846310877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pt-数据'!$E$17</c:f>
              <c:strCache>
                <c:ptCount val="1"/>
                <c:pt idx="0">
                  <c:v>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ppt-数据'!$D$18:$D$20</c:f>
              <c:strCache>
                <c:ptCount val="3"/>
                <c:pt idx="0">
                  <c:v>南</c:v>
                </c:pt>
                <c:pt idx="1">
                  <c:v>中</c:v>
                </c:pt>
                <c:pt idx="2">
                  <c:v>北</c:v>
                </c:pt>
              </c:strCache>
            </c:strRef>
          </c:cat>
          <c:val>
            <c:numRef>
              <c:f>'ppt-数据'!$E$18:$E$20</c:f>
              <c:numCache>
                <c:formatCode>0.00%</c:formatCode>
                <c:ptCount val="3"/>
                <c:pt idx="0">
                  <c:v>5.1331323148681128E-2</c:v>
                </c:pt>
                <c:pt idx="1">
                  <c:v>8.3182970458446581E-2</c:v>
                </c:pt>
                <c:pt idx="2">
                  <c:v>0.11138299802456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C-43FB-A4AA-ABAE9E7C18DA}"/>
            </c:ext>
          </c:extLst>
        </c:ser>
        <c:ser>
          <c:idx val="1"/>
          <c:order val="1"/>
          <c:tx>
            <c:strRef>
              <c:f>'ppt-数据'!$F$17</c:f>
              <c:strCache>
                <c:ptCount val="1"/>
                <c:pt idx="0">
                  <c:v>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ppt-数据'!$D$18:$D$20</c:f>
              <c:strCache>
                <c:ptCount val="3"/>
                <c:pt idx="0">
                  <c:v>南</c:v>
                </c:pt>
                <c:pt idx="1">
                  <c:v>中</c:v>
                </c:pt>
                <c:pt idx="2">
                  <c:v>北</c:v>
                </c:pt>
              </c:strCache>
            </c:strRef>
          </c:cat>
          <c:val>
            <c:numRef>
              <c:f>'ppt-数据'!$F$18:$F$20</c:f>
              <c:numCache>
                <c:formatCode>0.00%</c:formatCode>
                <c:ptCount val="3"/>
                <c:pt idx="0">
                  <c:v>5.3562486894442908E-2</c:v>
                </c:pt>
                <c:pt idx="1">
                  <c:v>8.2949823224398908E-2</c:v>
                </c:pt>
                <c:pt idx="2">
                  <c:v>0.1039342528461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BC-43FB-A4AA-ABAE9E7C18DA}"/>
            </c:ext>
          </c:extLst>
        </c:ser>
        <c:ser>
          <c:idx val="2"/>
          <c:order val="2"/>
          <c:tx>
            <c:strRef>
              <c:f>'ppt-数据'!$G$17</c:f>
              <c:strCache>
                <c:ptCount val="1"/>
                <c:pt idx="0">
                  <c:v>17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ppt-数据'!$D$18:$D$20</c:f>
              <c:strCache>
                <c:ptCount val="3"/>
                <c:pt idx="0">
                  <c:v>南</c:v>
                </c:pt>
                <c:pt idx="1">
                  <c:v>中</c:v>
                </c:pt>
                <c:pt idx="2">
                  <c:v>北</c:v>
                </c:pt>
              </c:strCache>
            </c:strRef>
          </c:cat>
          <c:val>
            <c:numRef>
              <c:f>'ppt-数据'!$G$18:$G$20</c:f>
              <c:numCache>
                <c:formatCode>0.00%</c:formatCode>
                <c:ptCount val="3"/>
                <c:pt idx="0">
                  <c:v>6.4274593954617584E-2</c:v>
                </c:pt>
                <c:pt idx="1">
                  <c:v>8.4435609549081803E-2</c:v>
                </c:pt>
                <c:pt idx="2">
                  <c:v>0.10961367138144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BC-43FB-A4AA-ABAE9E7C18DA}"/>
            </c:ext>
          </c:extLst>
        </c:ser>
        <c:ser>
          <c:idx val="3"/>
          <c:order val="3"/>
          <c:tx>
            <c:strRef>
              <c:f>'ppt-数据'!$H$17</c:f>
              <c:strCache>
                <c:ptCount val="1"/>
                <c:pt idx="0">
                  <c:v>18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ppt-数据'!$D$18:$D$20</c:f>
              <c:strCache>
                <c:ptCount val="3"/>
                <c:pt idx="0">
                  <c:v>南</c:v>
                </c:pt>
                <c:pt idx="1">
                  <c:v>中</c:v>
                </c:pt>
                <c:pt idx="2">
                  <c:v>北</c:v>
                </c:pt>
              </c:strCache>
            </c:strRef>
          </c:cat>
          <c:val>
            <c:numRef>
              <c:f>'ppt-数据'!$H$18:$H$20</c:f>
              <c:numCache>
                <c:formatCode>0.00%</c:formatCode>
                <c:ptCount val="3"/>
                <c:pt idx="0">
                  <c:v>6.6911152616243585E-2</c:v>
                </c:pt>
                <c:pt idx="1">
                  <c:v>8.7845287576665529E-2</c:v>
                </c:pt>
                <c:pt idx="2">
                  <c:v>0.11130639900656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6BC-43FB-A4AA-ABAE9E7C18DA}"/>
            </c:ext>
          </c:extLst>
        </c:ser>
        <c:ser>
          <c:idx val="4"/>
          <c:order val="4"/>
          <c:tx>
            <c:strRef>
              <c:f>'ppt-数据'!$I$17</c:f>
              <c:strCache>
                <c:ptCount val="1"/>
                <c:pt idx="0">
                  <c:v>1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ppt-数据'!$D$18:$D$20</c:f>
              <c:strCache>
                <c:ptCount val="3"/>
                <c:pt idx="0">
                  <c:v>南</c:v>
                </c:pt>
                <c:pt idx="1">
                  <c:v>中</c:v>
                </c:pt>
                <c:pt idx="2">
                  <c:v>北</c:v>
                </c:pt>
              </c:strCache>
            </c:strRef>
          </c:cat>
          <c:val>
            <c:numRef>
              <c:f>'ppt-数据'!$I$18:$I$20</c:f>
              <c:numCache>
                <c:formatCode>0.00%</c:formatCode>
                <c:ptCount val="3"/>
                <c:pt idx="0">
                  <c:v>7.2442418020468385E-2</c:v>
                </c:pt>
                <c:pt idx="1">
                  <c:v>8.5405715806145532E-2</c:v>
                </c:pt>
                <c:pt idx="2">
                  <c:v>0.11135464080262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BC-43FB-A4AA-ABAE9E7C18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87694575"/>
        <c:axId val="1392534207"/>
      </c:barChart>
      <c:catAx>
        <c:axId val="1387694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392534207"/>
        <c:crosses val="autoZero"/>
        <c:auto val="1"/>
        <c:lblAlgn val="ctr"/>
        <c:lblOffset val="100"/>
        <c:noMultiLvlLbl val="0"/>
      </c:catAx>
      <c:valAx>
        <c:axId val="1392534207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3876945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800" b="1"/>
              <a:t>男短袖</a:t>
            </a:r>
            <a:r>
              <a:rPr lang="en-US" altLang="zh-CN" sz="1800" b="1"/>
              <a:t>T</a:t>
            </a:r>
            <a:r>
              <a:rPr lang="zh-CN" altLang="en-US" sz="1800" b="1"/>
              <a:t>恤</a:t>
            </a:r>
            <a:endParaRPr lang="en-US" altLang="zh-CN" sz="18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1012377209775887E-2"/>
          <c:y val="0.14095841002244672"/>
          <c:w val="0.87877663991442501"/>
          <c:h val="0.84126189897765191"/>
        </c:manualLayout>
      </c:layout>
      <c:lineChart>
        <c:grouping val="standard"/>
        <c:varyColors val="0"/>
        <c:ser>
          <c:idx val="0"/>
          <c:order val="0"/>
          <c:tx>
            <c:strRef>
              <c:f>行政级别!$BA$8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Dot"/>
              <a:round/>
            </a:ln>
            <a:effectLst/>
          </c:spPr>
          <c:marker>
            <c:symbol val="none"/>
          </c:marker>
          <c:cat>
            <c:strRef>
              <c:f>行政级别!$BB$4:$BR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行政级别!$BB$8:$BR$8</c:f>
              <c:numCache>
                <c:formatCode>0.00%</c:formatCode>
                <c:ptCount val="17"/>
                <c:pt idx="0">
                  <c:v>3.2620429724580812E-4</c:v>
                </c:pt>
                <c:pt idx="1">
                  <c:v>2.6669075647480615E-5</c:v>
                </c:pt>
                <c:pt idx="2">
                  <c:v>5.7163630481528041E-3</c:v>
                </c:pt>
                <c:pt idx="3">
                  <c:v>7.3755175286585317E-2</c:v>
                </c:pt>
                <c:pt idx="4">
                  <c:v>0.33810350911830905</c:v>
                </c:pt>
                <c:pt idx="5">
                  <c:v>0.34397218335323182</c:v>
                </c:pt>
                <c:pt idx="6">
                  <c:v>0.1755158910686869</c:v>
                </c:pt>
                <c:pt idx="7">
                  <c:v>4.6374774572062342E-2</c:v>
                </c:pt>
                <c:pt idx="8">
                  <c:v>1.1670799534122461E-2</c:v>
                </c:pt>
                <c:pt idx="9">
                  <c:v>1.7872594806842134E-3</c:v>
                </c:pt>
                <c:pt idx="10">
                  <c:v>1.1577500910586577E-3</c:v>
                </c:pt>
                <c:pt idx="11">
                  <c:v>2.0818046287875489E-4</c:v>
                </c:pt>
                <c:pt idx="12">
                  <c:v>1.0763478005991333E-3</c:v>
                </c:pt>
                <c:pt idx="13">
                  <c:v>1.0576328892884432E-4</c:v>
                </c:pt>
                <c:pt idx="14">
                  <c:v>7.7811722746913591E-5</c:v>
                </c:pt>
                <c:pt idx="15">
                  <c:v>8.6896475637699856E-5</c:v>
                </c:pt>
                <c:pt idx="16">
                  <c:v>3.8421323421744285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C7B5-4A81-80D9-9BD7CF19A5FF}"/>
            </c:ext>
          </c:extLst>
        </c:ser>
        <c:ser>
          <c:idx val="1"/>
          <c:order val="1"/>
          <c:tx>
            <c:strRef>
              <c:f>行政级别!$BA$9</c:f>
              <c:strCache>
                <c:ptCount val="1"/>
                <c:pt idx="0">
                  <c:v>2018测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行政级别!$BB$4:$BR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行政级别!$BB$9:$BR$9</c:f>
              <c:numCache>
                <c:formatCode>0.00%</c:formatCode>
                <c:ptCount val="17"/>
                <c:pt idx="0">
                  <c:v>1.2823453102209386E-3</c:v>
                </c:pt>
                <c:pt idx="1">
                  <c:v>1.0698268767457483E-3</c:v>
                </c:pt>
                <c:pt idx="2">
                  <c:v>1.1263593687642584E-2</c:v>
                </c:pt>
                <c:pt idx="3">
                  <c:v>0.14580495029967797</c:v>
                </c:pt>
                <c:pt idx="4">
                  <c:v>0.35443445425348447</c:v>
                </c:pt>
                <c:pt idx="5">
                  <c:v>0.30769909514108307</c:v>
                </c:pt>
                <c:pt idx="6">
                  <c:v>0.13041609530823042</c:v>
                </c:pt>
                <c:pt idx="7">
                  <c:v>3.7623285887624966E-2</c:v>
                </c:pt>
                <c:pt idx="8">
                  <c:v>9.8767107570242457E-3</c:v>
                </c:pt>
                <c:pt idx="9">
                  <c:v>1.0233991715098911E-3</c:v>
                </c:pt>
                <c:pt idx="10">
                  <c:v>1.0002654781851906E-3</c:v>
                </c:pt>
                <c:pt idx="11">
                  <c:v>6.2061007372405318E-4</c:v>
                </c:pt>
                <c:pt idx="12">
                  <c:v>2.8071716033500611E-4</c:v>
                </c:pt>
                <c:pt idx="13">
                  <c:v>7.8655218377498442E-5</c:v>
                </c:pt>
                <c:pt idx="14">
                  <c:v>1.3723507931521768E-4</c:v>
                </c:pt>
                <c:pt idx="15">
                  <c:v>4.7524970601069488E-5</c:v>
                </c:pt>
                <c:pt idx="16">
                  <c:v>9.8179824668502699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7B5-4A81-80D9-9BD7CF19A5FF}"/>
            </c:ext>
          </c:extLst>
        </c:ser>
        <c:ser>
          <c:idx val="2"/>
          <c:order val="2"/>
          <c:tx>
            <c:strRef>
              <c:f>行政级别!$BA$10</c:f>
              <c:strCache>
                <c:ptCount val="1"/>
                <c:pt idx="0">
                  <c:v>2019测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行政级别!$BB$4:$BR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行政级别!$BB$10:$BR$10</c:f>
              <c:numCache>
                <c:formatCode>0.00%</c:formatCode>
                <c:ptCount val="17"/>
                <c:pt idx="0">
                  <c:v>4.3692522554452913E-4</c:v>
                </c:pt>
                <c:pt idx="1">
                  <c:v>7.2254611545565883E-4</c:v>
                </c:pt>
                <c:pt idx="2">
                  <c:v>8.0633708570734264E-3</c:v>
                </c:pt>
                <c:pt idx="3">
                  <c:v>3.8676542324393694E-2</c:v>
                </c:pt>
                <c:pt idx="4">
                  <c:v>0.22128053407889739</c:v>
                </c:pt>
                <c:pt idx="5">
                  <c:v>0.43606037520210061</c:v>
                </c:pt>
                <c:pt idx="6">
                  <c:v>0.2371725890763437</c:v>
                </c:pt>
                <c:pt idx="7">
                  <c:v>7.0512691278227818E-2</c:v>
                </c:pt>
                <c:pt idx="8">
                  <c:v>1.7557114361362109E-2</c:v>
                </c:pt>
                <c:pt idx="9">
                  <c:v>2.0564096905758269E-3</c:v>
                </c:pt>
                <c:pt idx="10">
                  <c:v>1.5510733228672395E-3</c:v>
                </c:pt>
                <c:pt idx="11">
                  <c:v>2.6366669350454168E-4</c:v>
                </c:pt>
                <c:pt idx="12">
                  <c:v>1.1645818295956251E-3</c:v>
                </c:pt>
                <c:pt idx="13">
                  <c:v>1.2365661849379948E-4</c:v>
                </c:pt>
                <c:pt idx="14">
                  <c:v>1.4630383310942061E-4</c:v>
                </c:pt>
                <c:pt idx="15">
                  <c:v>1.5720993010976588E-4</c:v>
                </c:pt>
                <c:pt idx="16">
                  <c:v>1.2198460709074618E-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7B5-4A81-80D9-9BD7CF19A5FF}"/>
            </c:ext>
          </c:extLst>
        </c:ser>
        <c:ser>
          <c:idx val="3"/>
          <c:order val="3"/>
          <c:tx>
            <c:strRef>
              <c:f>行政级别!$BA$11</c:f>
              <c:strCache>
                <c:ptCount val="1"/>
                <c:pt idx="0">
                  <c:v>2020测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行政级别!$BB$4:$BR$4</c:f>
              <c:strCache>
                <c:ptCount val="17"/>
                <c:pt idx="0">
                  <c:v>0-0.05</c:v>
                </c:pt>
                <c:pt idx="1">
                  <c:v>0.05-0.1</c:v>
                </c:pt>
                <c:pt idx="2">
                  <c:v>0.1-0.15</c:v>
                </c:pt>
                <c:pt idx="3">
                  <c:v>0.15-0.2</c:v>
                </c:pt>
                <c:pt idx="4">
                  <c:v>0.2-0.25</c:v>
                </c:pt>
                <c:pt idx="5">
                  <c:v>0.25-0.3</c:v>
                </c:pt>
                <c:pt idx="6">
                  <c:v>0.3-0.35</c:v>
                </c:pt>
                <c:pt idx="7">
                  <c:v>0.35-0.4</c:v>
                </c:pt>
                <c:pt idx="8">
                  <c:v>0.4-0.45</c:v>
                </c:pt>
                <c:pt idx="9">
                  <c:v>0.45-0.5</c:v>
                </c:pt>
                <c:pt idx="10">
                  <c:v>0.5-0.55</c:v>
                </c:pt>
                <c:pt idx="11">
                  <c:v>0.55-0.6</c:v>
                </c:pt>
                <c:pt idx="12">
                  <c:v>0.6-0.65</c:v>
                </c:pt>
                <c:pt idx="13">
                  <c:v>0.65-0.7</c:v>
                </c:pt>
                <c:pt idx="14">
                  <c:v>0.7-0.75</c:v>
                </c:pt>
                <c:pt idx="15">
                  <c:v>0.75-0.8</c:v>
                </c:pt>
                <c:pt idx="16">
                  <c:v>0.8-1</c:v>
                </c:pt>
              </c:strCache>
            </c:strRef>
          </c:cat>
          <c:val>
            <c:numRef>
              <c:f>行政级别!$BB$11:$BR$11</c:f>
              <c:numCache>
                <c:formatCode>0.00%</c:formatCode>
                <c:ptCount val="17"/>
                <c:pt idx="0">
                  <c:v>6.6049645060072611E-4</c:v>
                </c:pt>
                <c:pt idx="1">
                  <c:v>5.8089917736425377E-4</c:v>
                </c:pt>
                <c:pt idx="2">
                  <c:v>1.0359297600286236E-2</c:v>
                </c:pt>
                <c:pt idx="3">
                  <c:v>1.9068463646759112E-2</c:v>
                </c:pt>
                <c:pt idx="4">
                  <c:v>0.23678404463131769</c:v>
                </c:pt>
                <c:pt idx="5">
                  <c:v>0.43263215829554086</c:v>
                </c:pt>
                <c:pt idx="6">
                  <c:v>0.25282309223853316</c:v>
                </c:pt>
                <c:pt idx="7">
                  <c:v>7.9820488394788891E-2</c:v>
                </c:pt>
                <c:pt idx="8">
                  <c:v>1.7523689634666492E-2</c:v>
                </c:pt>
                <c:pt idx="9">
                  <c:v>2.6552400113868902E-3</c:v>
                </c:pt>
                <c:pt idx="10">
                  <c:v>2.1767224221991128E-3</c:v>
                </c:pt>
                <c:pt idx="11">
                  <c:v>2.9693647537833596E-4</c:v>
                </c:pt>
                <c:pt idx="12">
                  <c:v>2.1486318884904277E-3</c:v>
                </c:pt>
                <c:pt idx="13">
                  <c:v>1.221192905594192E-4</c:v>
                </c:pt>
                <c:pt idx="14">
                  <c:v>8.181301842929681E-5</c:v>
                </c:pt>
                <c:pt idx="15">
                  <c:v>1.1606968854056281E-4</c:v>
                </c:pt>
                <c:pt idx="16">
                  <c:v>7.6212398440634322E-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C7B5-4A81-80D9-9BD7CF19A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3404288"/>
        <c:axId val="1780292368"/>
      </c:lineChart>
      <c:catAx>
        <c:axId val="145340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80292368"/>
        <c:crosses val="autoZero"/>
        <c:auto val="1"/>
        <c:lblAlgn val="ctr"/>
        <c:lblOffset val="100"/>
        <c:noMultiLvlLbl val="0"/>
      </c:catAx>
      <c:valAx>
        <c:axId val="1780292368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453404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29</cdr:x>
      <cdr:y>0.65392</cdr:y>
    </cdr:from>
    <cdr:to>
      <cdr:x>0.85968</cdr:x>
      <cdr:y>0.87065</cdr:y>
    </cdr:to>
    <cdr:sp macro="" textlink="">
      <cdr:nvSpPr>
        <cdr:cNvPr id="2" name="矩形 1">
          <a:extLst xmlns:a="http://schemas.openxmlformats.org/drawingml/2006/main">
            <a:ext uri="{FF2B5EF4-FFF2-40B4-BE49-F238E27FC236}">
              <a16:creationId xmlns:a16="http://schemas.microsoft.com/office/drawing/2014/main" id="{5EBF3EBD-92A7-4731-B402-C35590535996}"/>
            </a:ext>
          </a:extLst>
        </cdr:cNvPr>
        <cdr:cNvSpPr/>
      </cdr:nvSpPr>
      <cdr:spPr>
        <a:xfrm xmlns:a="http://schemas.openxmlformats.org/drawingml/2006/main">
          <a:off x="8756889" y="2166933"/>
          <a:ext cx="983226" cy="71821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8575">
          <a:solidFill>
            <a:srgbClr val="FF0000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33466</cdr:x>
      <cdr:y>0.35735</cdr:y>
    </cdr:from>
    <cdr:to>
      <cdr:x>0.44053</cdr:x>
      <cdr:y>0.84098</cdr:y>
    </cdr:to>
    <cdr:sp macro="" textlink="">
      <cdr:nvSpPr>
        <cdr:cNvPr id="3" name="矩形 2">
          <a:extLst xmlns:a="http://schemas.openxmlformats.org/drawingml/2006/main">
            <a:ext uri="{FF2B5EF4-FFF2-40B4-BE49-F238E27FC236}">
              <a16:creationId xmlns:a16="http://schemas.microsoft.com/office/drawing/2014/main" id="{5EBF3EBD-92A7-4731-B402-C35590535996}"/>
            </a:ext>
          </a:extLst>
        </cdr:cNvPr>
        <cdr:cNvSpPr/>
      </cdr:nvSpPr>
      <cdr:spPr>
        <a:xfrm xmlns:a="http://schemas.openxmlformats.org/drawingml/2006/main">
          <a:off x="3791599" y="1184168"/>
          <a:ext cx="1199535" cy="160265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8575">
          <a:solidFill>
            <a:srgbClr val="FF0000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4134</cdr:x>
      <cdr:y>0.07031</cdr:y>
    </cdr:from>
    <cdr:to>
      <cdr:x>0.99219</cdr:x>
      <cdr:y>0.65261</cdr:y>
    </cdr:to>
    <cdr:sp macro="" textlink="">
      <cdr:nvSpPr>
        <cdr:cNvPr id="2" name="文本框 1">
          <a:extLst xmlns:a="http://schemas.openxmlformats.org/drawingml/2006/main">
            <a:ext uri="{FF2B5EF4-FFF2-40B4-BE49-F238E27FC236}">
              <a16:creationId xmlns:a16="http://schemas.microsoft.com/office/drawing/2014/main" id="{43682864-E62D-48EC-990B-1ED53B23A241}"/>
            </a:ext>
          </a:extLst>
        </cdr:cNvPr>
        <cdr:cNvSpPr txBox="1"/>
      </cdr:nvSpPr>
      <cdr:spPr>
        <a:xfrm xmlns:a="http://schemas.openxmlformats.org/drawingml/2006/main">
          <a:off x="7013595" y="140319"/>
          <a:ext cx="3836968" cy="11621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</a:t>
          </a:r>
          <a:r>
            <a:rPr lang="zh-CN" altLang="en-US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恤占比增加；</a:t>
          </a:r>
          <a:endParaRPr lang="en-US" altLang="zh-CN" sz="1800" dirty="0">
            <a:solidFill>
              <a:schemeClr val="accent1">
                <a:lumMod val="7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endParaRPr lang="en-US" altLang="zh-CN" sz="1800" dirty="0">
            <a:solidFill>
              <a:schemeClr val="accent1">
                <a:lumMod val="75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r>
            <a:rPr lang="zh-CN" altLang="en-US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规模集中程度更高；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1859</cdr:x>
      <cdr:y>0.09847</cdr:y>
    </cdr:from>
    <cdr:to>
      <cdr:x>0.96945</cdr:x>
      <cdr:y>0.50797</cdr:y>
    </cdr:to>
    <cdr:sp macro="" textlink="">
      <cdr:nvSpPr>
        <cdr:cNvPr id="2" name="文本框 1">
          <a:extLst xmlns:a="http://schemas.openxmlformats.org/drawingml/2006/main">
            <a:ext uri="{FF2B5EF4-FFF2-40B4-BE49-F238E27FC236}">
              <a16:creationId xmlns:a16="http://schemas.microsoft.com/office/drawing/2014/main" id="{A6F1F90D-B0EE-446F-B267-BA36717CDF18}"/>
            </a:ext>
          </a:extLst>
        </cdr:cNvPr>
        <cdr:cNvSpPr txBox="1"/>
      </cdr:nvSpPr>
      <cdr:spPr>
        <a:xfrm xmlns:a="http://schemas.openxmlformats.org/drawingml/2006/main">
          <a:off x="6764902" y="212362"/>
          <a:ext cx="3836968" cy="8831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800" dirty="0">
              <a:solidFill>
                <a:srgbClr val="3B24A0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</a:t>
          </a:r>
          <a:r>
            <a:rPr lang="zh-CN" altLang="en-US" sz="1800" dirty="0">
              <a:solidFill>
                <a:srgbClr val="3B24A0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恤占比不变；</a:t>
          </a:r>
          <a:endParaRPr lang="en-US" altLang="zh-CN" sz="1800" dirty="0">
            <a:solidFill>
              <a:srgbClr val="3B24A0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endParaRPr lang="en-US" altLang="zh-CN" sz="1800" dirty="0">
            <a:solidFill>
              <a:srgbClr val="3B24A0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r>
            <a:rPr lang="zh-CN" altLang="en-US" sz="1800" dirty="0">
              <a:solidFill>
                <a:srgbClr val="3B24A0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规模集中程度增加；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57911</cdr:x>
      <cdr:y>0.25292</cdr:y>
    </cdr:from>
    <cdr:to>
      <cdr:x>0.76642</cdr:x>
      <cdr:y>0.55318</cdr:y>
    </cdr:to>
    <cdr:sp macro="" textlink="">
      <cdr:nvSpPr>
        <cdr:cNvPr id="2" name="文本框 1">
          <a:extLst xmlns:a="http://schemas.openxmlformats.org/drawingml/2006/main">
            <a:ext uri="{FF2B5EF4-FFF2-40B4-BE49-F238E27FC236}">
              <a16:creationId xmlns:a16="http://schemas.microsoft.com/office/drawing/2014/main" id="{CC6D2CB1-38AE-4181-86E1-F854337A72AE}"/>
            </a:ext>
          </a:extLst>
        </cdr:cNvPr>
        <cdr:cNvSpPr txBox="1"/>
      </cdr:nvSpPr>
      <cdr:spPr>
        <a:xfrm xmlns:a="http://schemas.openxmlformats.org/drawingml/2006/main">
          <a:off x="6235128" y="504790"/>
          <a:ext cx="2016807" cy="5992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zh-CN" altLang="en-US" sz="1100" dirty="0"/>
        </a:p>
      </cdr:txBody>
    </cdr:sp>
  </cdr:relSizeAnchor>
  <cdr:relSizeAnchor xmlns:cdr="http://schemas.openxmlformats.org/drawingml/2006/chartDrawing">
    <cdr:from>
      <cdr:x>0.64363</cdr:x>
      <cdr:y>0.11069</cdr:y>
    </cdr:from>
    <cdr:to>
      <cdr:x>1</cdr:x>
      <cdr:y>0.55318</cdr:y>
    </cdr:to>
    <cdr:sp macro="" textlink="">
      <cdr:nvSpPr>
        <cdr:cNvPr id="5" name="文本框 1">
          <a:extLst xmlns:a="http://schemas.openxmlformats.org/drawingml/2006/main">
            <a:ext uri="{FF2B5EF4-FFF2-40B4-BE49-F238E27FC236}">
              <a16:creationId xmlns:a16="http://schemas.microsoft.com/office/drawing/2014/main" id="{FD255EA1-EB7A-46DD-8796-749E4614994E}"/>
            </a:ext>
          </a:extLst>
        </cdr:cNvPr>
        <cdr:cNvSpPr txBox="1"/>
      </cdr:nvSpPr>
      <cdr:spPr>
        <a:xfrm xmlns:a="http://schemas.openxmlformats.org/drawingml/2006/main">
          <a:off x="6929826" y="220927"/>
          <a:ext cx="3836968" cy="8831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800" dirty="0">
              <a:solidFill>
                <a:schemeClr val="accent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T</a:t>
          </a:r>
          <a:r>
            <a:rPr lang="zh-CN" altLang="en-US" sz="1800" dirty="0">
              <a:solidFill>
                <a:schemeClr val="accent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恤占比不变；</a:t>
          </a:r>
          <a:endParaRPr lang="en-US" altLang="zh-CN" sz="1800" dirty="0">
            <a:solidFill>
              <a:schemeClr val="accent1">
                <a:lumMod val="50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endParaRPr lang="en-US" altLang="zh-CN" sz="1800" dirty="0">
            <a:solidFill>
              <a:schemeClr val="accent1">
                <a:lumMod val="50000"/>
              </a:schemeClr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 xmlns:a="http://schemas.openxmlformats.org/drawingml/2006/main">
          <a:r>
            <a:rPr lang="zh-CN" altLang="en-US" sz="1800" dirty="0">
              <a:solidFill>
                <a:schemeClr val="accent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规模集中程度不变；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8166</cdr:x>
      <cdr:y>0.32841</cdr:y>
    </cdr:from>
    <cdr:to>
      <cdr:x>0.25689</cdr:x>
      <cdr:y>0.42072</cdr:y>
    </cdr:to>
    <cdr:sp macro="" textlink="">
      <cdr:nvSpPr>
        <cdr:cNvPr id="2" name="箭头: 下 1">
          <a:extLst xmlns:a="http://schemas.openxmlformats.org/drawingml/2006/main">
            <a:ext uri="{FF2B5EF4-FFF2-40B4-BE49-F238E27FC236}">
              <a16:creationId xmlns:a16="http://schemas.microsoft.com/office/drawing/2014/main" id="{660BD9AF-949A-4C0A-A417-F3837C687EE0}"/>
            </a:ext>
          </a:extLst>
        </cdr:cNvPr>
        <cdr:cNvSpPr/>
      </cdr:nvSpPr>
      <cdr:spPr>
        <a:xfrm xmlns:a="http://schemas.openxmlformats.org/drawingml/2006/main" rot="14881772">
          <a:off x="1064601" y="1298632"/>
          <a:ext cx="372929" cy="429223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46101</cdr:x>
      <cdr:y>0.23081</cdr:y>
    </cdr:from>
    <cdr:to>
      <cdr:x>0.55897</cdr:x>
      <cdr:y>0.32313</cdr:y>
    </cdr:to>
    <cdr:sp macro="" textlink="">
      <cdr:nvSpPr>
        <cdr:cNvPr id="3" name="箭头: 下 2">
          <a:extLst xmlns:a="http://schemas.openxmlformats.org/drawingml/2006/main">
            <a:ext uri="{FF2B5EF4-FFF2-40B4-BE49-F238E27FC236}">
              <a16:creationId xmlns:a16="http://schemas.microsoft.com/office/drawing/2014/main" id="{F0CC40B7-5CBA-4A5D-96C0-220088629E91}"/>
            </a:ext>
          </a:extLst>
        </cdr:cNvPr>
        <cdr:cNvSpPr/>
      </cdr:nvSpPr>
      <cdr:spPr>
        <a:xfrm xmlns:a="http://schemas.openxmlformats.org/drawingml/2006/main" rot="17905339">
          <a:off x="2746679" y="699065"/>
          <a:ext cx="326156" cy="558908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78129</cdr:x>
      <cdr:y>0.10469</cdr:y>
    </cdr:from>
    <cdr:to>
      <cdr:x>0.87925</cdr:x>
      <cdr:y>0.19701</cdr:y>
    </cdr:to>
    <cdr:sp macro="" textlink="">
      <cdr:nvSpPr>
        <cdr:cNvPr id="4" name="箭头: 下 3">
          <a:extLst xmlns:a="http://schemas.openxmlformats.org/drawingml/2006/main">
            <a:ext uri="{FF2B5EF4-FFF2-40B4-BE49-F238E27FC236}">
              <a16:creationId xmlns:a16="http://schemas.microsoft.com/office/drawing/2014/main" id="{A4253B4A-8AE8-47D1-910E-1EB326FC7E09}"/>
            </a:ext>
          </a:extLst>
        </cdr:cNvPr>
        <cdr:cNvSpPr/>
      </cdr:nvSpPr>
      <cdr:spPr>
        <a:xfrm xmlns:a="http://schemas.openxmlformats.org/drawingml/2006/main" rot="16200000">
          <a:off x="4574028" y="253477"/>
          <a:ext cx="326156" cy="558908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7707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1119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D7E147C-6E7F-42EC-A894-080AD81D97D1}"/>
              </a:ext>
            </a:extLst>
          </p:cNvPr>
          <p:cNvGrpSpPr/>
          <p:nvPr userDrawn="1"/>
        </p:nvGrpSpPr>
        <p:grpSpPr>
          <a:xfrm>
            <a:off x="-4763" y="-3517"/>
            <a:ext cx="12215766" cy="6869253"/>
            <a:chOff x="-4763" y="-3517"/>
            <a:chExt cx="12215766" cy="6869253"/>
          </a:xfrm>
        </p:grpSpPr>
        <p:sp>
          <p:nvSpPr>
            <p:cNvPr id="6" name="立方体 5">
              <a:extLst>
                <a:ext uri="{FF2B5EF4-FFF2-40B4-BE49-F238E27FC236}">
                  <a16:creationId xmlns:a16="http://schemas.microsoft.com/office/drawing/2014/main" id="{09BB0DEF-6654-4CDF-AB1A-7CAFA7E26901}"/>
                </a:ext>
              </a:extLst>
            </p:cNvPr>
            <p:cNvSpPr/>
            <p:nvPr userDrawn="1"/>
          </p:nvSpPr>
          <p:spPr>
            <a:xfrm>
              <a:off x="0" y="5766550"/>
              <a:ext cx="12192000" cy="1099186"/>
            </a:xfrm>
            <a:prstGeom prst="cub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65BD9059-A4F8-445E-8FDF-37938AA7D325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>
              <a:off x="4980081" y="952500"/>
              <a:ext cx="6534882" cy="5027382"/>
              <a:chOff x="3125788" y="1206500"/>
              <a:chExt cx="5794376" cy="4457700"/>
            </a:xfrm>
          </p:grpSpPr>
          <p:sp>
            <p:nvSpPr>
              <p:cNvPr id="8" name="îṧļiďê">
                <a:extLst>
                  <a:ext uri="{FF2B5EF4-FFF2-40B4-BE49-F238E27FC236}">
                    <a16:creationId xmlns:a16="http://schemas.microsoft.com/office/drawing/2014/main" id="{CFC44760-A3EF-4428-B2A2-EE37B899AC95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" name="îŝ1idè">
                <a:extLst>
                  <a:ext uri="{FF2B5EF4-FFF2-40B4-BE49-F238E27FC236}">
                    <a16:creationId xmlns:a16="http://schemas.microsoft.com/office/drawing/2014/main" id="{5E5E5E2B-4F27-4C77-94B8-1BFDF61874EF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î$1íḍè">
                <a:extLst>
                  <a:ext uri="{FF2B5EF4-FFF2-40B4-BE49-F238E27FC236}">
                    <a16:creationId xmlns:a16="http://schemas.microsoft.com/office/drawing/2014/main" id="{95690D9D-B845-47C2-AA64-ACFEEFBA3F15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îṥľïḓê">
                <a:extLst>
                  <a:ext uri="{FF2B5EF4-FFF2-40B4-BE49-F238E27FC236}">
                    <a16:creationId xmlns:a16="http://schemas.microsoft.com/office/drawing/2014/main" id="{97078F06-F1EA-48BF-8396-AA357BA1FEFB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ṧḻîdè">
                <a:extLst>
                  <a:ext uri="{FF2B5EF4-FFF2-40B4-BE49-F238E27FC236}">
                    <a16:creationId xmlns:a16="http://schemas.microsoft.com/office/drawing/2014/main" id="{6B9D121D-70C5-483B-8E42-AF40CDB869E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iŝľîḍe">
                <a:extLst>
                  <a:ext uri="{FF2B5EF4-FFF2-40B4-BE49-F238E27FC236}">
                    <a16:creationId xmlns:a16="http://schemas.microsoft.com/office/drawing/2014/main" id="{989A0AB7-59CF-47AE-BEAE-9B689E3242CA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S1ídé">
                <a:extLst>
                  <a:ext uri="{FF2B5EF4-FFF2-40B4-BE49-F238E27FC236}">
                    <a16:creationId xmlns:a16="http://schemas.microsoft.com/office/drawing/2014/main" id="{B034D983-81A2-4AA5-90A5-99BAEBBAD953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sḻíḋê">
                <a:extLst>
                  <a:ext uri="{FF2B5EF4-FFF2-40B4-BE49-F238E27FC236}">
                    <a16:creationId xmlns:a16="http://schemas.microsoft.com/office/drawing/2014/main" id="{2D705130-1BE9-4C4D-A44D-DCAAF0743399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ļíḑé">
                <a:extLst>
                  <a:ext uri="{FF2B5EF4-FFF2-40B4-BE49-F238E27FC236}">
                    <a16:creationId xmlns:a16="http://schemas.microsoft.com/office/drawing/2014/main" id="{8F091BA5-398C-4B60-9A93-D12B5D7336C0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ṧľíḑé">
                <a:extLst>
                  <a:ext uri="{FF2B5EF4-FFF2-40B4-BE49-F238E27FC236}">
                    <a16:creationId xmlns:a16="http://schemas.microsoft.com/office/drawing/2014/main" id="{18E215B0-943C-43B1-A1EC-DC705A53E6B2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$ḷíḋe">
                <a:extLst>
                  <a:ext uri="{FF2B5EF4-FFF2-40B4-BE49-F238E27FC236}">
                    <a16:creationId xmlns:a16="http://schemas.microsoft.com/office/drawing/2014/main" id="{216860BD-D192-42A4-AF65-26370F148A75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ïsļíďe">
                <a:extLst>
                  <a:ext uri="{FF2B5EF4-FFF2-40B4-BE49-F238E27FC236}">
                    <a16:creationId xmlns:a16="http://schemas.microsoft.com/office/drawing/2014/main" id="{C43DF0C2-DE2B-4419-BA8F-83B7D3CE3533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śľïḍé">
                <a:extLst>
                  <a:ext uri="{FF2B5EF4-FFF2-40B4-BE49-F238E27FC236}">
                    <a16:creationId xmlns:a16="http://schemas.microsoft.com/office/drawing/2014/main" id="{8EAC979B-C83E-421C-8DEC-9FE51CDEEC2D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$ľïde">
                <a:extLst>
                  <a:ext uri="{FF2B5EF4-FFF2-40B4-BE49-F238E27FC236}">
                    <a16:creationId xmlns:a16="http://schemas.microsoft.com/office/drawing/2014/main" id="{6344437A-B8ED-41D2-9A64-92863E17DA6A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ṧ1ïḑé">
                <a:extLst>
                  <a:ext uri="{FF2B5EF4-FFF2-40B4-BE49-F238E27FC236}">
                    <a16:creationId xmlns:a16="http://schemas.microsoft.com/office/drawing/2014/main" id="{6FFD968A-35B7-4DF8-95C0-9B683BBC38A2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ṩľíḓê">
                <a:extLst>
                  <a:ext uri="{FF2B5EF4-FFF2-40B4-BE49-F238E27FC236}">
                    <a16:creationId xmlns:a16="http://schemas.microsoft.com/office/drawing/2014/main" id="{495BA552-D41A-4C4B-A6C9-73FAC9FA6125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ḻïḑe">
                <a:extLst>
                  <a:ext uri="{FF2B5EF4-FFF2-40B4-BE49-F238E27FC236}">
                    <a16:creationId xmlns:a16="http://schemas.microsoft.com/office/drawing/2014/main" id="{E908BA0B-844B-47A4-BE9F-78382CAD8E4E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$ḻîḓè">
                <a:extLst>
                  <a:ext uri="{FF2B5EF4-FFF2-40B4-BE49-F238E27FC236}">
                    <a16:creationId xmlns:a16="http://schemas.microsoft.com/office/drawing/2014/main" id="{319F4E3F-C3DF-4BF1-927A-6B3FFBFA8C3A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$lïḍè">
                <a:extLst>
                  <a:ext uri="{FF2B5EF4-FFF2-40B4-BE49-F238E27FC236}">
                    <a16:creationId xmlns:a16="http://schemas.microsoft.com/office/drawing/2014/main" id="{CD66EDF3-D568-4EBB-81FD-103538A466F1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ṥ1îḍé">
                <a:extLst>
                  <a:ext uri="{FF2B5EF4-FFF2-40B4-BE49-F238E27FC236}">
                    <a16:creationId xmlns:a16="http://schemas.microsoft.com/office/drawing/2014/main" id="{1A72435A-E049-48EF-9725-9BDCAA9B8256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ļïḓè">
                <a:extLst>
                  <a:ext uri="{FF2B5EF4-FFF2-40B4-BE49-F238E27FC236}">
                    <a16:creationId xmlns:a16="http://schemas.microsoft.com/office/drawing/2014/main" id="{18E2197E-9B36-4226-9A0F-D7D779CA9308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î$ľîďè">
                <a:extLst>
                  <a:ext uri="{FF2B5EF4-FFF2-40B4-BE49-F238E27FC236}">
                    <a16:creationId xmlns:a16="http://schemas.microsoft.com/office/drawing/2014/main" id="{3A0F0480-2286-45E6-8231-9E4CAA3E24AA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ļíḑê">
                <a:extLst>
                  <a:ext uri="{FF2B5EF4-FFF2-40B4-BE49-F238E27FC236}">
                    <a16:creationId xmlns:a16="http://schemas.microsoft.com/office/drawing/2014/main" id="{FF6F29FF-8E75-4B55-B263-A7554FED8B79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íś1ïḓè">
                <a:extLst>
                  <a:ext uri="{FF2B5EF4-FFF2-40B4-BE49-F238E27FC236}">
                    <a16:creationId xmlns:a16="http://schemas.microsoft.com/office/drawing/2014/main" id="{93927BF3-6FC2-4E10-BF3A-6A45EFA7F738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ṧḻïḍe">
                <a:extLst>
                  <a:ext uri="{FF2B5EF4-FFF2-40B4-BE49-F238E27FC236}">
                    <a16:creationId xmlns:a16="http://schemas.microsoft.com/office/drawing/2014/main" id="{4184CBCD-9183-4105-A262-DAEE40D33C65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śļíďé">
                <a:extLst>
                  <a:ext uri="{FF2B5EF4-FFF2-40B4-BE49-F238E27FC236}">
                    <a16:creationId xmlns:a16="http://schemas.microsoft.com/office/drawing/2014/main" id="{66F789EB-94DB-442C-80DE-E0A880BAB924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îṣļíďè">
                <a:extLst>
                  <a:ext uri="{FF2B5EF4-FFF2-40B4-BE49-F238E27FC236}">
                    <a16:creationId xmlns:a16="http://schemas.microsoft.com/office/drawing/2014/main" id="{266F7BE6-2A06-4310-AAF3-332F56E66029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lïdè">
                <a:extLst>
                  <a:ext uri="{FF2B5EF4-FFF2-40B4-BE49-F238E27FC236}">
                    <a16:creationId xmlns:a16="http://schemas.microsoft.com/office/drawing/2014/main" id="{A2CC7523-57F2-43B9-A684-6392A253644E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ṧ1iḋe">
                <a:extLst>
                  <a:ext uri="{FF2B5EF4-FFF2-40B4-BE49-F238E27FC236}">
                    <a16:creationId xmlns:a16="http://schemas.microsoft.com/office/drawing/2014/main" id="{7104C5E3-9B7D-4A73-8642-EB6D365E7050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liḍê">
                <a:extLst>
                  <a:ext uri="{FF2B5EF4-FFF2-40B4-BE49-F238E27FC236}">
                    <a16:creationId xmlns:a16="http://schemas.microsoft.com/office/drawing/2014/main" id="{71988013-5ABF-4008-8FE4-709C2CEB11A3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ŝḻiḓé">
                <a:extLst>
                  <a:ext uri="{FF2B5EF4-FFF2-40B4-BE49-F238E27FC236}">
                    <a16:creationId xmlns:a16="http://schemas.microsoft.com/office/drawing/2014/main" id="{486F404D-5592-4A31-8018-F362987828F9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îṩlïḓê">
                <a:extLst>
                  <a:ext uri="{FF2B5EF4-FFF2-40B4-BE49-F238E27FC236}">
                    <a16:creationId xmlns:a16="http://schemas.microsoft.com/office/drawing/2014/main" id="{F1783950-84DB-4180-8B7C-596825D2BA4C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šľîďe">
                <a:extLst>
                  <a:ext uri="{FF2B5EF4-FFF2-40B4-BE49-F238E27FC236}">
                    <a16:creationId xmlns:a16="http://schemas.microsoft.com/office/drawing/2014/main" id="{6DE8C0E8-DB41-44C7-8E2B-604FF8C1C7F9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iṩḷîdé">
                <a:extLst>
                  <a:ext uri="{FF2B5EF4-FFF2-40B4-BE49-F238E27FC236}">
                    <a16:creationId xmlns:a16="http://schemas.microsoft.com/office/drawing/2014/main" id="{625437A3-0B17-4710-8407-2075696B96EF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iṣ1íďé">
                <a:extLst>
                  <a:ext uri="{FF2B5EF4-FFF2-40B4-BE49-F238E27FC236}">
                    <a16:creationId xmlns:a16="http://schemas.microsoft.com/office/drawing/2014/main" id="{BDA4F43B-A29A-4E4D-B01A-FBD850150714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ṩlîdè">
                <a:extLst>
                  <a:ext uri="{FF2B5EF4-FFF2-40B4-BE49-F238E27FC236}">
                    <a16:creationId xmlns:a16="http://schemas.microsoft.com/office/drawing/2014/main" id="{CBCA2BD2-2859-4FEA-A665-87581DDBB423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îṣḷîḋé">
                <a:extLst>
                  <a:ext uri="{FF2B5EF4-FFF2-40B4-BE49-F238E27FC236}">
                    <a16:creationId xmlns:a16="http://schemas.microsoft.com/office/drawing/2014/main" id="{B3DBA6E4-2168-4B8B-AD09-836305999287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şḻiḓè">
                <a:extLst>
                  <a:ext uri="{FF2B5EF4-FFF2-40B4-BE49-F238E27FC236}">
                    <a16:creationId xmlns:a16="http://schemas.microsoft.com/office/drawing/2014/main" id="{9B83BE22-1FAC-4897-807D-B09329ED4E51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ïšlïďê">
                <a:extLst>
                  <a:ext uri="{FF2B5EF4-FFF2-40B4-BE49-F238E27FC236}">
                    <a16:creationId xmlns:a16="http://schemas.microsoft.com/office/drawing/2014/main" id="{E2E1ACBD-61F3-4DA8-A2F5-796992B80E51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işļíde">
                <a:extLst>
                  <a:ext uri="{FF2B5EF4-FFF2-40B4-BE49-F238E27FC236}">
                    <a16:creationId xmlns:a16="http://schemas.microsoft.com/office/drawing/2014/main" id="{6FC94D29-D649-4835-81AC-3179F4B3912F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í$ļîḍè">
                <a:extLst>
                  <a:ext uri="{FF2B5EF4-FFF2-40B4-BE49-F238E27FC236}">
                    <a16:creationId xmlns:a16="http://schemas.microsoft.com/office/drawing/2014/main" id="{2F4315C2-7E7B-4495-BCB8-F57556C0F12A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îṧḷidè">
                <a:extLst>
                  <a:ext uri="{FF2B5EF4-FFF2-40B4-BE49-F238E27FC236}">
                    <a16:creationId xmlns:a16="http://schemas.microsoft.com/office/drawing/2014/main" id="{36BA17AC-7991-449D-A155-43C34D559F07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ṥ1iḋe">
                <a:extLst>
                  <a:ext uri="{FF2B5EF4-FFF2-40B4-BE49-F238E27FC236}">
                    <a16:creationId xmlns:a16="http://schemas.microsoft.com/office/drawing/2014/main" id="{1FE6241C-E6E1-4705-B5B8-CAAC0964ED13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Sḻïḓe">
                <a:extLst>
                  <a:ext uri="{FF2B5EF4-FFF2-40B4-BE49-F238E27FC236}">
                    <a16:creationId xmlns:a16="http://schemas.microsoft.com/office/drawing/2014/main" id="{03640A8D-FAB9-4515-AAF9-A7C0D15B6533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ṥļíḑe">
                <a:extLst>
                  <a:ext uri="{FF2B5EF4-FFF2-40B4-BE49-F238E27FC236}">
                    <a16:creationId xmlns:a16="http://schemas.microsoft.com/office/drawing/2014/main" id="{C43E987C-B89F-46DB-A198-39069E291CC1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śļîde">
                <a:extLst>
                  <a:ext uri="{FF2B5EF4-FFF2-40B4-BE49-F238E27FC236}">
                    <a16:creationId xmlns:a16="http://schemas.microsoft.com/office/drawing/2014/main" id="{8B17128F-531F-4403-B62A-7D12BD03B707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iŝļîḑê">
                <a:extLst>
                  <a:ext uri="{FF2B5EF4-FFF2-40B4-BE49-F238E27FC236}">
                    <a16:creationId xmlns:a16="http://schemas.microsoft.com/office/drawing/2014/main" id="{3EF68C37-7E29-4E6C-9BF3-6040B2AA4D73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ṣḷïḍè">
                <a:extLst>
                  <a:ext uri="{FF2B5EF4-FFF2-40B4-BE49-F238E27FC236}">
                    <a16:creationId xmlns:a16="http://schemas.microsoft.com/office/drawing/2014/main" id="{EE02B727-C4E7-4EE4-88ED-F805E25EB907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ïSḷíḑê">
                <a:extLst>
                  <a:ext uri="{FF2B5EF4-FFF2-40B4-BE49-F238E27FC236}">
                    <a16:creationId xmlns:a16="http://schemas.microsoft.com/office/drawing/2014/main" id="{7D359A2A-8060-4F68-9052-468A41E6C3E5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íŝľíḋê">
                <a:extLst>
                  <a:ext uri="{FF2B5EF4-FFF2-40B4-BE49-F238E27FC236}">
                    <a16:creationId xmlns:a16="http://schemas.microsoft.com/office/drawing/2014/main" id="{70922FAC-926B-4670-AF41-544964DFF592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îślîḍé">
                <a:extLst>
                  <a:ext uri="{FF2B5EF4-FFF2-40B4-BE49-F238E27FC236}">
                    <a16:creationId xmlns:a16="http://schemas.microsoft.com/office/drawing/2014/main" id="{3F795F23-1E08-4074-BFCD-0AD673ECA5E1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ïšľïdè">
                <a:extLst>
                  <a:ext uri="{FF2B5EF4-FFF2-40B4-BE49-F238E27FC236}">
                    <a16:creationId xmlns:a16="http://schemas.microsoft.com/office/drawing/2014/main" id="{0C8A839D-DB6C-478C-9551-5178109E1CB5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şļïḋe">
                <a:extLst>
                  <a:ext uri="{FF2B5EF4-FFF2-40B4-BE49-F238E27FC236}">
                    <a16:creationId xmlns:a16="http://schemas.microsoft.com/office/drawing/2014/main" id="{15253BA3-FC50-496D-9383-D6ABC67EB64E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ṩ1íḍé">
                <a:extLst>
                  <a:ext uri="{FF2B5EF4-FFF2-40B4-BE49-F238E27FC236}">
                    <a16:creationId xmlns:a16="http://schemas.microsoft.com/office/drawing/2014/main" id="{AF025A14-123D-4513-A3FF-9FEAF30C09A8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$ļîḋè">
                <a:extLst>
                  <a:ext uri="{FF2B5EF4-FFF2-40B4-BE49-F238E27FC236}">
                    <a16:creationId xmlns:a16="http://schemas.microsoft.com/office/drawing/2014/main" id="{42E35A17-D15D-4BE3-9F83-71186710F080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îṣļîdè">
                <a:extLst>
                  <a:ext uri="{FF2B5EF4-FFF2-40B4-BE49-F238E27FC236}">
                    <a16:creationId xmlns:a16="http://schemas.microsoft.com/office/drawing/2014/main" id="{97343EA7-2738-4394-B80B-F709AAF0CF33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îṧlidé">
                <a:extLst>
                  <a:ext uri="{FF2B5EF4-FFF2-40B4-BE49-F238E27FC236}">
                    <a16:creationId xmlns:a16="http://schemas.microsoft.com/office/drawing/2014/main" id="{01679FFC-B79A-425A-BB93-ACF004C1AF08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ïšḻiḓé">
                <a:extLst>
                  <a:ext uri="{FF2B5EF4-FFF2-40B4-BE49-F238E27FC236}">
                    <a16:creationId xmlns:a16="http://schemas.microsoft.com/office/drawing/2014/main" id="{67E23B47-EB7D-47C0-B5BA-AA384DF44677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íṡľíḋê">
                <a:extLst>
                  <a:ext uri="{FF2B5EF4-FFF2-40B4-BE49-F238E27FC236}">
                    <a16:creationId xmlns:a16="http://schemas.microsoft.com/office/drawing/2014/main" id="{5F4CC8EC-873B-42BA-9569-7C3EE848D43F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ṡḻïḋe">
                <a:extLst>
                  <a:ext uri="{FF2B5EF4-FFF2-40B4-BE49-F238E27FC236}">
                    <a16:creationId xmlns:a16="http://schemas.microsoft.com/office/drawing/2014/main" id="{BD490DF8-9B58-4176-866E-1B90F8BF76D4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sļïḋè">
                <a:extLst>
                  <a:ext uri="{FF2B5EF4-FFF2-40B4-BE49-F238E27FC236}">
                    <a16:creationId xmlns:a16="http://schemas.microsoft.com/office/drawing/2014/main" id="{617C4158-0332-4966-BBE1-38E59F1C15EC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Sḻíḋé">
                <a:extLst>
                  <a:ext uri="{FF2B5EF4-FFF2-40B4-BE49-F238E27FC236}">
                    <a16:creationId xmlns:a16="http://schemas.microsoft.com/office/drawing/2014/main" id="{67840776-ED6A-4750-AC8D-A27EAA6F989E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$lîḍé">
                <a:extLst>
                  <a:ext uri="{FF2B5EF4-FFF2-40B4-BE49-F238E27FC236}">
                    <a16:creationId xmlns:a16="http://schemas.microsoft.com/office/drawing/2014/main" id="{EE10911F-FD4D-441E-98D8-0FAE425FF137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îsľïḋê">
                <a:extLst>
                  <a:ext uri="{FF2B5EF4-FFF2-40B4-BE49-F238E27FC236}">
                    <a16:creationId xmlns:a16="http://schemas.microsoft.com/office/drawing/2014/main" id="{37A265A1-F9C4-4780-82F1-6385AD29581C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ṡľïďé">
                <a:extLst>
                  <a:ext uri="{FF2B5EF4-FFF2-40B4-BE49-F238E27FC236}">
                    <a16:creationId xmlns:a16="http://schemas.microsoft.com/office/drawing/2014/main" id="{EB6B12BF-3E1E-4734-82E0-832B7B2D4471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šľïďe">
                <a:extLst>
                  <a:ext uri="{FF2B5EF4-FFF2-40B4-BE49-F238E27FC236}">
                    <a16:creationId xmlns:a16="http://schemas.microsoft.com/office/drawing/2014/main" id="{7A8DEF91-77DC-444F-8267-DA729380E8CF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şļîḍê">
                <a:extLst>
                  <a:ext uri="{FF2B5EF4-FFF2-40B4-BE49-F238E27FC236}">
                    <a16:creationId xmlns:a16="http://schemas.microsoft.com/office/drawing/2014/main" id="{B744CE6A-8077-4C02-8812-5D548CA712AF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ï$lïḍe">
                <a:extLst>
                  <a:ext uri="{FF2B5EF4-FFF2-40B4-BE49-F238E27FC236}">
                    <a16:creationId xmlns:a16="http://schemas.microsoft.com/office/drawing/2014/main" id="{C4A0F85C-2975-4A41-909D-72050233BAC0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í$ḻíḋe">
                <a:extLst>
                  <a:ext uri="{FF2B5EF4-FFF2-40B4-BE49-F238E27FC236}">
                    <a16:creationId xmlns:a16="http://schemas.microsoft.com/office/drawing/2014/main" id="{B68D0D39-7A80-486F-A29A-33317B019773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î$ḻïďê">
                <a:extLst>
                  <a:ext uri="{FF2B5EF4-FFF2-40B4-BE49-F238E27FC236}">
                    <a16:creationId xmlns:a16="http://schemas.microsoft.com/office/drawing/2014/main" id="{869DDF94-5F7D-4F93-B3B6-2B98198EFBBC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is1íḓè">
                <a:extLst>
                  <a:ext uri="{FF2B5EF4-FFF2-40B4-BE49-F238E27FC236}">
                    <a16:creationId xmlns:a16="http://schemas.microsoft.com/office/drawing/2014/main" id="{33388345-C851-452A-92D7-4FC2D8C7D3F1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şlíḑè">
                <a:extLst>
                  <a:ext uri="{FF2B5EF4-FFF2-40B4-BE49-F238E27FC236}">
                    <a16:creationId xmlns:a16="http://schemas.microsoft.com/office/drawing/2014/main" id="{7F98E3FE-A153-4F2D-B1C4-97BA497E725D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ïşḷîdê">
                <a:extLst>
                  <a:ext uri="{FF2B5EF4-FFF2-40B4-BE49-F238E27FC236}">
                    <a16:creationId xmlns:a16="http://schemas.microsoft.com/office/drawing/2014/main" id="{81811175-7936-4CD4-BDC3-FBFC51665778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$ḻíḋé">
                <a:extLst>
                  <a:ext uri="{FF2B5EF4-FFF2-40B4-BE49-F238E27FC236}">
                    <a16:creationId xmlns:a16="http://schemas.microsoft.com/office/drawing/2014/main" id="{F41159E4-F48A-4545-A509-DFAD8B913020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îsḷíḋé">
                <a:extLst>
                  <a:ext uri="{FF2B5EF4-FFF2-40B4-BE49-F238E27FC236}">
                    <a16:creationId xmlns:a16="http://schemas.microsoft.com/office/drawing/2014/main" id="{690D1DC8-81EE-4223-A99B-C794101D73F2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s1îḑe">
                <a:extLst>
                  <a:ext uri="{FF2B5EF4-FFF2-40B4-BE49-F238E27FC236}">
                    <a16:creationId xmlns:a16="http://schemas.microsoft.com/office/drawing/2014/main" id="{5F1AAA46-2D03-42E0-93D6-800AD5EE567C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ṥľïďè">
                <a:extLst>
                  <a:ext uri="{FF2B5EF4-FFF2-40B4-BE49-F238E27FC236}">
                    <a16:creationId xmlns:a16="http://schemas.microsoft.com/office/drawing/2014/main" id="{71442A14-D9E9-4233-848A-F33D56668409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$ļíḋe">
                <a:extLst>
                  <a:ext uri="{FF2B5EF4-FFF2-40B4-BE49-F238E27FC236}">
                    <a16:creationId xmlns:a16="http://schemas.microsoft.com/office/drawing/2014/main" id="{0E4C8B4E-5C03-4FD3-B04B-9B4452CD771B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S1ïdé">
                <a:extLst>
                  <a:ext uri="{FF2B5EF4-FFF2-40B4-BE49-F238E27FC236}">
                    <a16:creationId xmlns:a16="http://schemas.microsoft.com/office/drawing/2014/main" id="{7D5FFEE5-D30F-4299-A66C-4EAD3BF965EC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ŝḻíḑé">
                <a:extLst>
                  <a:ext uri="{FF2B5EF4-FFF2-40B4-BE49-F238E27FC236}">
                    <a16:creationId xmlns:a16="http://schemas.microsoft.com/office/drawing/2014/main" id="{11ED3043-5B6B-480A-B6BE-6E70EB69A051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îŝḷíḋè">
                <a:extLst>
                  <a:ext uri="{FF2B5EF4-FFF2-40B4-BE49-F238E27FC236}">
                    <a16:creationId xmlns:a16="http://schemas.microsoft.com/office/drawing/2014/main" id="{29C2B050-520D-4CB9-A232-7355DAB30879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íśľîdé">
                <a:extLst>
                  <a:ext uri="{FF2B5EF4-FFF2-40B4-BE49-F238E27FC236}">
                    <a16:creationId xmlns:a16="http://schemas.microsoft.com/office/drawing/2014/main" id="{EC9B2A48-E27B-4068-8000-137D6B0181EC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šlîḑe">
                <a:extLst>
                  <a:ext uri="{FF2B5EF4-FFF2-40B4-BE49-F238E27FC236}">
                    <a16:creationId xmlns:a16="http://schemas.microsoft.com/office/drawing/2014/main" id="{AD272650-D1CA-406A-8F72-6D3A7544618B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i$ḻíde">
                <a:extLst>
                  <a:ext uri="{FF2B5EF4-FFF2-40B4-BE49-F238E27FC236}">
                    <a16:creationId xmlns:a16="http://schemas.microsoft.com/office/drawing/2014/main" id="{3A0D70F1-80DF-424F-9C00-B5D0F1FA296D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s1íḓê">
                <a:extLst>
                  <a:ext uri="{FF2B5EF4-FFF2-40B4-BE49-F238E27FC236}">
                    <a16:creationId xmlns:a16="http://schemas.microsoft.com/office/drawing/2014/main" id="{9467CD81-176D-4A5D-A9D4-39E275A6AE48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$ḻîḋe">
                <a:extLst>
                  <a:ext uri="{FF2B5EF4-FFF2-40B4-BE49-F238E27FC236}">
                    <a16:creationId xmlns:a16="http://schemas.microsoft.com/office/drawing/2014/main" id="{2C3D0E62-ED85-4091-B129-82E698EAA4CA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ś1idê">
                <a:extLst>
                  <a:ext uri="{FF2B5EF4-FFF2-40B4-BE49-F238E27FC236}">
                    <a16:creationId xmlns:a16="http://schemas.microsoft.com/office/drawing/2014/main" id="{E952942B-E867-4D36-AB21-7222E8A69002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ïŝḻíḋe">
                <a:extLst>
                  <a:ext uri="{FF2B5EF4-FFF2-40B4-BE49-F238E27FC236}">
                    <a16:creationId xmlns:a16="http://schemas.microsoft.com/office/drawing/2014/main" id="{2E95D32C-F678-4629-841A-412191D472CE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ṩ1ïḋè">
                <a:extLst>
                  <a:ext uri="{FF2B5EF4-FFF2-40B4-BE49-F238E27FC236}">
                    <a16:creationId xmlns:a16="http://schemas.microsoft.com/office/drawing/2014/main" id="{BA83A6D4-7DE9-4F36-A8BE-EBDE87FB13F1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$ļîďe">
                <a:extLst>
                  <a:ext uri="{FF2B5EF4-FFF2-40B4-BE49-F238E27FC236}">
                    <a16:creationId xmlns:a16="http://schemas.microsoft.com/office/drawing/2014/main" id="{2150022D-FD2E-4E96-966F-4450180DCBFD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$ļîḋê">
                <a:extLst>
                  <a:ext uri="{FF2B5EF4-FFF2-40B4-BE49-F238E27FC236}">
                    <a16:creationId xmlns:a16="http://schemas.microsoft.com/office/drawing/2014/main" id="{99AABFA5-6BB8-46DB-884C-508426F2E574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îşļiďe">
                <a:extLst>
                  <a:ext uri="{FF2B5EF4-FFF2-40B4-BE49-F238E27FC236}">
                    <a16:creationId xmlns:a16="http://schemas.microsoft.com/office/drawing/2014/main" id="{E994CA8B-8818-4ABE-943A-10B5392FE9BC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Slïḑè">
                <a:extLst>
                  <a:ext uri="{FF2B5EF4-FFF2-40B4-BE49-F238E27FC236}">
                    <a16:creationId xmlns:a16="http://schemas.microsoft.com/office/drawing/2014/main" id="{7709A773-1550-49B5-B479-38D141E25461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i$ḷïḓe">
                <a:extLst>
                  <a:ext uri="{FF2B5EF4-FFF2-40B4-BE49-F238E27FC236}">
                    <a16:creationId xmlns:a16="http://schemas.microsoft.com/office/drawing/2014/main" id="{C3FE4C91-7AFD-41B5-90EE-2AB1077564AE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ṥḻîďe">
                <a:extLst>
                  <a:ext uri="{FF2B5EF4-FFF2-40B4-BE49-F238E27FC236}">
                    <a16:creationId xmlns:a16="http://schemas.microsoft.com/office/drawing/2014/main" id="{9632E59E-A4FE-4115-8DF4-865C23304605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Sľïḓê">
                <a:extLst>
                  <a:ext uri="{FF2B5EF4-FFF2-40B4-BE49-F238E27FC236}">
                    <a16:creationId xmlns:a16="http://schemas.microsoft.com/office/drawing/2014/main" id="{4F07A109-9837-4F71-A4A3-FED0C1BE3CD1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$ľiḓè">
                <a:extLst>
                  <a:ext uri="{FF2B5EF4-FFF2-40B4-BE49-F238E27FC236}">
                    <a16:creationId xmlns:a16="http://schemas.microsoft.com/office/drawing/2014/main" id="{E55261C9-B74B-460C-B2C9-9DC2EE421152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ṡļïḓè">
                <a:extLst>
                  <a:ext uri="{FF2B5EF4-FFF2-40B4-BE49-F238E27FC236}">
                    <a16:creationId xmlns:a16="http://schemas.microsoft.com/office/drawing/2014/main" id="{EE6054BE-EB14-487F-B957-8E8EABAAEE5B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ṩľíďé">
                <a:extLst>
                  <a:ext uri="{FF2B5EF4-FFF2-40B4-BE49-F238E27FC236}">
                    <a16:creationId xmlns:a16="http://schemas.microsoft.com/office/drawing/2014/main" id="{BD40F252-8201-49C9-AB77-385F4EFC9A20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$1îḑê">
                <a:extLst>
                  <a:ext uri="{FF2B5EF4-FFF2-40B4-BE49-F238E27FC236}">
                    <a16:creationId xmlns:a16="http://schemas.microsoft.com/office/drawing/2014/main" id="{D9CCCE19-4F1D-4089-A2F6-677580D58D74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ïslíḑè">
                <a:extLst>
                  <a:ext uri="{FF2B5EF4-FFF2-40B4-BE49-F238E27FC236}">
                    <a16:creationId xmlns:a16="http://schemas.microsoft.com/office/drawing/2014/main" id="{A5EF7D4B-CEE6-4D4E-93E8-77E43A951681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ï$ľíḍè">
                <a:extLst>
                  <a:ext uri="{FF2B5EF4-FFF2-40B4-BE49-F238E27FC236}">
                    <a16:creationId xmlns:a16="http://schemas.microsoft.com/office/drawing/2014/main" id="{F9E7B331-8135-4B4E-9C53-16C9CC38A644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îšḻîḋê">
                <a:extLst>
                  <a:ext uri="{FF2B5EF4-FFF2-40B4-BE49-F238E27FC236}">
                    <a16:creationId xmlns:a16="http://schemas.microsoft.com/office/drawing/2014/main" id="{37E33EE7-F28D-49DB-BC26-5B2163DDCF13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í$ļïḑè">
                <a:extLst>
                  <a:ext uri="{FF2B5EF4-FFF2-40B4-BE49-F238E27FC236}">
                    <a16:creationId xmlns:a16="http://schemas.microsoft.com/office/drawing/2014/main" id="{3C81823E-9CA0-44E8-B98D-3E16479C3694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íšlïdé">
                <a:extLst>
                  <a:ext uri="{FF2B5EF4-FFF2-40B4-BE49-F238E27FC236}">
                    <a16:creationId xmlns:a16="http://schemas.microsoft.com/office/drawing/2014/main" id="{E32F9163-204F-4D40-B408-B9F53375479C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15" name="矩形 117">
              <a:extLst>
                <a:ext uri="{FF2B5EF4-FFF2-40B4-BE49-F238E27FC236}">
                  <a16:creationId xmlns:a16="http://schemas.microsoft.com/office/drawing/2014/main" id="{E1C5FB2C-D9A5-4F46-A7BF-E3C4F04427F9}"/>
                </a:ext>
              </a:extLst>
            </p:cNvPr>
            <p:cNvSpPr/>
            <p:nvPr userDrawn="1"/>
          </p:nvSpPr>
          <p:spPr>
            <a:xfrm>
              <a:off x="-4763" y="0"/>
              <a:ext cx="291300" cy="60402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300" h="6040207">
                  <a:moveTo>
                    <a:pt x="4763" y="0"/>
                  </a:moveTo>
                  <a:lnTo>
                    <a:pt x="291300" y="0"/>
                  </a:lnTo>
                  <a:lnTo>
                    <a:pt x="291300" y="5773507"/>
                  </a:lnTo>
                  <a:lnTo>
                    <a:pt x="0" y="6040207"/>
                  </a:lnTo>
                  <a:cubicBezTo>
                    <a:pt x="1588" y="4026805"/>
                    <a:pt x="3175" y="2013402"/>
                    <a:pt x="4763" y="0"/>
                  </a:cubicBezTo>
                  <a:close/>
                </a:path>
              </a:pathLst>
            </a:custGeom>
            <a:solidFill>
              <a:schemeClr val="tx1">
                <a:alpha val="2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矩形 117">
              <a:extLst>
                <a:ext uri="{FF2B5EF4-FFF2-40B4-BE49-F238E27FC236}">
                  <a16:creationId xmlns:a16="http://schemas.microsoft.com/office/drawing/2014/main" id="{C34D0085-BF10-43AF-9889-A75597918CC5}"/>
                </a:ext>
              </a:extLst>
            </p:cNvPr>
            <p:cNvSpPr/>
            <p:nvPr userDrawn="1"/>
          </p:nvSpPr>
          <p:spPr>
            <a:xfrm>
              <a:off x="11907003" y="-3517"/>
              <a:ext cx="304000" cy="68149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  <a:gd name="connsiteX0" fmla="*/ 4763 w 304000"/>
                <a:gd name="connsiteY0" fmla="*/ 838200 h 6878407"/>
                <a:gd name="connsiteX1" fmla="*/ 304000 w 304000"/>
                <a:gd name="connsiteY1" fmla="*/ 0 h 6878407"/>
                <a:gd name="connsiteX2" fmla="*/ 291300 w 304000"/>
                <a:gd name="connsiteY2" fmla="*/ 6611707 h 6878407"/>
                <a:gd name="connsiteX3" fmla="*/ 0 w 304000"/>
                <a:gd name="connsiteY3" fmla="*/ 6878407 h 6878407"/>
                <a:gd name="connsiteX4" fmla="*/ 4763 w 304000"/>
                <a:gd name="connsiteY4" fmla="*/ 838200 h 6878407"/>
                <a:gd name="connsiteX0" fmla="*/ 155 w 312092"/>
                <a:gd name="connsiteY0" fmla="*/ 50800 h 6878407"/>
                <a:gd name="connsiteX1" fmla="*/ 312092 w 312092"/>
                <a:gd name="connsiteY1" fmla="*/ 0 h 6878407"/>
                <a:gd name="connsiteX2" fmla="*/ 299392 w 312092"/>
                <a:gd name="connsiteY2" fmla="*/ 6611707 h 6878407"/>
                <a:gd name="connsiteX3" fmla="*/ 8092 w 312092"/>
                <a:gd name="connsiteY3" fmla="*/ 6878407 h 6878407"/>
                <a:gd name="connsiteX4" fmla="*/ 155 w 312092"/>
                <a:gd name="connsiteY4" fmla="*/ 50800 h 6878407"/>
                <a:gd name="connsiteX0" fmla="*/ 155 w 312092"/>
                <a:gd name="connsiteY0" fmla="*/ 0 h 6827607"/>
                <a:gd name="connsiteX1" fmla="*/ 312092 w 312092"/>
                <a:gd name="connsiteY1" fmla="*/ 25400 h 6827607"/>
                <a:gd name="connsiteX2" fmla="*/ 299392 w 312092"/>
                <a:gd name="connsiteY2" fmla="*/ 6560907 h 6827607"/>
                <a:gd name="connsiteX3" fmla="*/ 8092 w 312092"/>
                <a:gd name="connsiteY3" fmla="*/ 6827607 h 6827607"/>
                <a:gd name="connsiteX4" fmla="*/ 155 w 312092"/>
                <a:gd name="connsiteY4" fmla="*/ 0 h 6827607"/>
                <a:gd name="connsiteX0" fmla="*/ 17463 w 304000"/>
                <a:gd name="connsiteY0" fmla="*/ 0 h 6827607"/>
                <a:gd name="connsiteX1" fmla="*/ 304000 w 304000"/>
                <a:gd name="connsiteY1" fmla="*/ 25400 h 6827607"/>
                <a:gd name="connsiteX2" fmla="*/ 291300 w 304000"/>
                <a:gd name="connsiteY2" fmla="*/ 6560907 h 6827607"/>
                <a:gd name="connsiteX3" fmla="*/ 0 w 304000"/>
                <a:gd name="connsiteY3" fmla="*/ 6827607 h 6827607"/>
                <a:gd name="connsiteX4" fmla="*/ 17463 w 304000"/>
                <a:gd name="connsiteY4" fmla="*/ 0 h 6827607"/>
                <a:gd name="connsiteX0" fmla="*/ 17463 w 304000"/>
                <a:gd name="connsiteY0" fmla="*/ 0 h 6814907"/>
                <a:gd name="connsiteX1" fmla="*/ 304000 w 304000"/>
                <a:gd name="connsiteY1" fmla="*/ 12700 h 6814907"/>
                <a:gd name="connsiteX2" fmla="*/ 291300 w 304000"/>
                <a:gd name="connsiteY2" fmla="*/ 6548207 h 6814907"/>
                <a:gd name="connsiteX3" fmla="*/ 0 w 304000"/>
                <a:gd name="connsiteY3" fmla="*/ 6814907 h 6814907"/>
                <a:gd name="connsiteX4" fmla="*/ 17463 w 304000"/>
                <a:gd name="connsiteY4" fmla="*/ 0 h 681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000" h="6814907">
                  <a:moveTo>
                    <a:pt x="17463" y="0"/>
                  </a:moveTo>
                  <a:lnTo>
                    <a:pt x="304000" y="12700"/>
                  </a:lnTo>
                  <a:cubicBezTo>
                    <a:pt x="299767" y="2216602"/>
                    <a:pt x="295533" y="4344305"/>
                    <a:pt x="291300" y="6548207"/>
                  </a:cubicBezTo>
                  <a:lnTo>
                    <a:pt x="0" y="6814907"/>
                  </a:lnTo>
                  <a:cubicBezTo>
                    <a:pt x="1588" y="4801505"/>
                    <a:pt x="15875" y="2013402"/>
                    <a:pt x="17463" y="0"/>
                  </a:cubicBezTo>
                  <a:close/>
                </a:path>
              </a:pathLst>
            </a:custGeom>
            <a:solidFill>
              <a:srgbClr val="3B24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1040286" y="2112305"/>
            <a:ext cx="6178405" cy="658020"/>
          </a:xfrm>
          <a:noFill/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0286" y="3216270"/>
            <a:ext cx="5844995" cy="258922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40286" y="4231693"/>
            <a:ext cx="5844995" cy="25892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040286" y="4532854"/>
            <a:ext cx="5844996" cy="29639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775015" y="223984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775015" y="313519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CD8AD87B-37E0-4504-B51F-8EBBAEC8D08C}"/>
              </a:ext>
            </a:extLst>
          </p:cNvPr>
          <p:cNvGrpSpPr/>
          <p:nvPr userDrawn="1"/>
        </p:nvGrpSpPr>
        <p:grpSpPr>
          <a:xfrm>
            <a:off x="0" y="1994264"/>
            <a:ext cx="12192000" cy="3121731"/>
            <a:chOff x="0" y="1994264"/>
            <a:chExt cx="12192000" cy="3121731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903BE9B-9C12-4D34-8928-5F61F6831685}"/>
                </a:ext>
              </a:extLst>
            </p:cNvPr>
            <p:cNvSpPr/>
            <p:nvPr/>
          </p:nvSpPr>
          <p:spPr>
            <a:xfrm>
              <a:off x="0" y="4923771"/>
              <a:ext cx="12192000" cy="1922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9DE136C8-0D32-4D4F-894A-F1A4182823AB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565899" y="1994264"/>
              <a:ext cx="4009263" cy="3084386"/>
              <a:chOff x="3125788" y="1206500"/>
              <a:chExt cx="5794376" cy="4457700"/>
            </a:xfrm>
          </p:grpSpPr>
          <p:sp>
            <p:nvSpPr>
              <p:cNvPr id="10" name="îṧļiďê">
                <a:extLst>
                  <a:ext uri="{FF2B5EF4-FFF2-40B4-BE49-F238E27FC236}">
                    <a16:creationId xmlns:a16="http://schemas.microsoft.com/office/drawing/2014/main" id="{5EF7C335-5081-47E6-BA16-7E17C36D39BF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îŝ1idè">
                <a:extLst>
                  <a:ext uri="{FF2B5EF4-FFF2-40B4-BE49-F238E27FC236}">
                    <a16:creationId xmlns:a16="http://schemas.microsoft.com/office/drawing/2014/main" id="{906EB874-B1F9-4B2E-8727-4BD768B20262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î$1íḍè">
                <a:extLst>
                  <a:ext uri="{FF2B5EF4-FFF2-40B4-BE49-F238E27FC236}">
                    <a16:creationId xmlns:a16="http://schemas.microsoft.com/office/drawing/2014/main" id="{D365C4ED-658D-419C-87EE-5FF1664E919D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" name="îṥľïḓê">
                <a:extLst>
                  <a:ext uri="{FF2B5EF4-FFF2-40B4-BE49-F238E27FC236}">
                    <a16:creationId xmlns:a16="http://schemas.microsoft.com/office/drawing/2014/main" id="{066C0235-EF36-499D-A383-DB6EC24FA26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ṧḻîdè">
                <a:extLst>
                  <a:ext uri="{FF2B5EF4-FFF2-40B4-BE49-F238E27FC236}">
                    <a16:creationId xmlns:a16="http://schemas.microsoft.com/office/drawing/2014/main" id="{41BB9408-0C22-4E46-8A3F-A00566C3C415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iŝľîḍe">
                <a:extLst>
                  <a:ext uri="{FF2B5EF4-FFF2-40B4-BE49-F238E27FC236}">
                    <a16:creationId xmlns:a16="http://schemas.microsoft.com/office/drawing/2014/main" id="{8EAE8FA8-E587-4679-A9D5-FADF2D2BCD9F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S1ídé">
                <a:extLst>
                  <a:ext uri="{FF2B5EF4-FFF2-40B4-BE49-F238E27FC236}">
                    <a16:creationId xmlns:a16="http://schemas.microsoft.com/office/drawing/2014/main" id="{3EC1D0A7-FE9F-4F42-9ED6-44FC38E3CD20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sḻíḋê">
                <a:extLst>
                  <a:ext uri="{FF2B5EF4-FFF2-40B4-BE49-F238E27FC236}">
                    <a16:creationId xmlns:a16="http://schemas.microsoft.com/office/drawing/2014/main" id="{17F9E190-DD5F-4A8F-95C6-CE33A5F46898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ļíḑé">
                <a:extLst>
                  <a:ext uri="{FF2B5EF4-FFF2-40B4-BE49-F238E27FC236}">
                    <a16:creationId xmlns:a16="http://schemas.microsoft.com/office/drawing/2014/main" id="{31005F0A-6AF3-4D6D-AD96-9DC039AFE25A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ṧľíḑé">
                <a:extLst>
                  <a:ext uri="{FF2B5EF4-FFF2-40B4-BE49-F238E27FC236}">
                    <a16:creationId xmlns:a16="http://schemas.microsoft.com/office/drawing/2014/main" id="{0E78D6E5-8174-490C-893F-9408983AE471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í$ḷíḋe">
                <a:extLst>
                  <a:ext uri="{FF2B5EF4-FFF2-40B4-BE49-F238E27FC236}">
                    <a16:creationId xmlns:a16="http://schemas.microsoft.com/office/drawing/2014/main" id="{341ED3E0-454C-4F90-B006-669287024E93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sļíďe">
                <a:extLst>
                  <a:ext uri="{FF2B5EF4-FFF2-40B4-BE49-F238E27FC236}">
                    <a16:creationId xmlns:a16="http://schemas.microsoft.com/office/drawing/2014/main" id="{F8BBDCEC-EB32-4A20-88C5-226FBF28DCC4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śľïḍé">
                <a:extLst>
                  <a:ext uri="{FF2B5EF4-FFF2-40B4-BE49-F238E27FC236}">
                    <a16:creationId xmlns:a16="http://schemas.microsoft.com/office/drawing/2014/main" id="{DF2440D6-BDF1-4DB1-B707-241BF6F1F922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$ľïde">
                <a:extLst>
                  <a:ext uri="{FF2B5EF4-FFF2-40B4-BE49-F238E27FC236}">
                    <a16:creationId xmlns:a16="http://schemas.microsoft.com/office/drawing/2014/main" id="{D1286830-3769-4E55-AA6A-59D6B020FA1F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ṧ1ïḑé">
                <a:extLst>
                  <a:ext uri="{FF2B5EF4-FFF2-40B4-BE49-F238E27FC236}">
                    <a16:creationId xmlns:a16="http://schemas.microsoft.com/office/drawing/2014/main" id="{756A49A9-578F-4538-AC38-1F7F3DE0289E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ṩľíḓê">
                <a:extLst>
                  <a:ext uri="{FF2B5EF4-FFF2-40B4-BE49-F238E27FC236}">
                    <a16:creationId xmlns:a16="http://schemas.microsoft.com/office/drawing/2014/main" id="{E1730097-ED44-41FD-9B93-AA5B104D6ED4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sḻïḑe">
                <a:extLst>
                  <a:ext uri="{FF2B5EF4-FFF2-40B4-BE49-F238E27FC236}">
                    <a16:creationId xmlns:a16="http://schemas.microsoft.com/office/drawing/2014/main" id="{6E0D44E4-E9E1-413A-80A3-5F924E7FAF16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$ḻîḓè">
                <a:extLst>
                  <a:ext uri="{FF2B5EF4-FFF2-40B4-BE49-F238E27FC236}">
                    <a16:creationId xmlns:a16="http://schemas.microsoft.com/office/drawing/2014/main" id="{0F592A03-39C6-43AC-8BC7-58247E775D28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$lïḍè">
                <a:extLst>
                  <a:ext uri="{FF2B5EF4-FFF2-40B4-BE49-F238E27FC236}">
                    <a16:creationId xmlns:a16="http://schemas.microsoft.com/office/drawing/2014/main" id="{0E9EE0BD-4FD0-4300-AB7D-E58043746914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iṥ1îḍé">
                <a:extLst>
                  <a:ext uri="{FF2B5EF4-FFF2-40B4-BE49-F238E27FC236}">
                    <a16:creationId xmlns:a16="http://schemas.microsoft.com/office/drawing/2014/main" id="{4F28BC98-2460-49DC-9761-B79CD27F9BD6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şļïḓè">
                <a:extLst>
                  <a:ext uri="{FF2B5EF4-FFF2-40B4-BE49-F238E27FC236}">
                    <a16:creationId xmlns:a16="http://schemas.microsoft.com/office/drawing/2014/main" id="{69D275BE-9F4F-461C-AD52-9D987E654670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$ľîďè">
                <a:extLst>
                  <a:ext uri="{FF2B5EF4-FFF2-40B4-BE49-F238E27FC236}">
                    <a16:creationId xmlns:a16="http://schemas.microsoft.com/office/drawing/2014/main" id="{BC1FCFD6-346F-4D34-85A4-E2B43FB781EA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ïSļíḑê">
                <a:extLst>
                  <a:ext uri="{FF2B5EF4-FFF2-40B4-BE49-F238E27FC236}">
                    <a16:creationId xmlns:a16="http://schemas.microsoft.com/office/drawing/2014/main" id="{9C841541-1470-4CE8-9372-31B2A6F1D1B8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íś1ïḓè">
                <a:extLst>
                  <a:ext uri="{FF2B5EF4-FFF2-40B4-BE49-F238E27FC236}">
                    <a16:creationId xmlns:a16="http://schemas.microsoft.com/office/drawing/2014/main" id="{1B369988-21CA-46DA-A2BD-86034EB80BAE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ṧḻïḍe">
                <a:extLst>
                  <a:ext uri="{FF2B5EF4-FFF2-40B4-BE49-F238E27FC236}">
                    <a16:creationId xmlns:a16="http://schemas.microsoft.com/office/drawing/2014/main" id="{308A5067-2440-4CCF-9895-2E85F20072C5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śļíďé">
                <a:extLst>
                  <a:ext uri="{FF2B5EF4-FFF2-40B4-BE49-F238E27FC236}">
                    <a16:creationId xmlns:a16="http://schemas.microsoft.com/office/drawing/2014/main" id="{9573388A-C743-40BF-834F-57DE9349E442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ṣļíďè">
                <a:extLst>
                  <a:ext uri="{FF2B5EF4-FFF2-40B4-BE49-F238E27FC236}">
                    <a16:creationId xmlns:a16="http://schemas.microsoft.com/office/drawing/2014/main" id="{6B5DC43A-249F-4C14-9C06-CFEEE2B3C1D5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ṥlïdè">
                <a:extLst>
                  <a:ext uri="{FF2B5EF4-FFF2-40B4-BE49-F238E27FC236}">
                    <a16:creationId xmlns:a16="http://schemas.microsoft.com/office/drawing/2014/main" id="{8B3B697A-331D-4B71-8844-E75334F833D1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ïṧ1iḋe">
                <a:extLst>
                  <a:ext uri="{FF2B5EF4-FFF2-40B4-BE49-F238E27FC236}">
                    <a16:creationId xmlns:a16="http://schemas.microsoft.com/office/drawing/2014/main" id="{C2E6E598-2157-4934-BD5F-ED119E1FC761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$liḍê">
                <a:extLst>
                  <a:ext uri="{FF2B5EF4-FFF2-40B4-BE49-F238E27FC236}">
                    <a16:creationId xmlns:a16="http://schemas.microsoft.com/office/drawing/2014/main" id="{208E0CC1-6FEC-4705-A900-987A746D2853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ŝḻiḓé">
                <a:extLst>
                  <a:ext uri="{FF2B5EF4-FFF2-40B4-BE49-F238E27FC236}">
                    <a16:creationId xmlns:a16="http://schemas.microsoft.com/office/drawing/2014/main" id="{E233A8D5-876A-4FF1-933B-FC445F003FA5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îṩlïḓê">
                <a:extLst>
                  <a:ext uri="{FF2B5EF4-FFF2-40B4-BE49-F238E27FC236}">
                    <a16:creationId xmlns:a16="http://schemas.microsoft.com/office/drawing/2014/main" id="{C05E339E-57CF-4AEA-95F4-6B3695FF7716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šľîďe">
                <a:extLst>
                  <a:ext uri="{FF2B5EF4-FFF2-40B4-BE49-F238E27FC236}">
                    <a16:creationId xmlns:a16="http://schemas.microsoft.com/office/drawing/2014/main" id="{73A6C3E0-3F25-4E17-8D41-207BBF36E741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iṩḷîdé">
                <a:extLst>
                  <a:ext uri="{FF2B5EF4-FFF2-40B4-BE49-F238E27FC236}">
                    <a16:creationId xmlns:a16="http://schemas.microsoft.com/office/drawing/2014/main" id="{E7F73366-4040-4717-B6B9-CAC67B2A50D8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iṣ1íďé">
                <a:extLst>
                  <a:ext uri="{FF2B5EF4-FFF2-40B4-BE49-F238E27FC236}">
                    <a16:creationId xmlns:a16="http://schemas.microsoft.com/office/drawing/2014/main" id="{3092F145-5838-4421-A0EE-7EA3076F2CBF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îṩlîdè">
                <a:extLst>
                  <a:ext uri="{FF2B5EF4-FFF2-40B4-BE49-F238E27FC236}">
                    <a16:creationId xmlns:a16="http://schemas.microsoft.com/office/drawing/2014/main" id="{D6BB5DD6-9A4A-407C-8498-65AC5B9BEDA4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îṣḷîḋé">
                <a:extLst>
                  <a:ext uri="{FF2B5EF4-FFF2-40B4-BE49-F238E27FC236}">
                    <a16:creationId xmlns:a16="http://schemas.microsoft.com/office/drawing/2014/main" id="{B15ABE8E-E6EC-4951-AEAB-968836C13D69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íşḻiḓè">
                <a:extLst>
                  <a:ext uri="{FF2B5EF4-FFF2-40B4-BE49-F238E27FC236}">
                    <a16:creationId xmlns:a16="http://schemas.microsoft.com/office/drawing/2014/main" id="{9D63E4A7-0904-401F-B17F-00602AFDB04D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ïšlïďê">
                <a:extLst>
                  <a:ext uri="{FF2B5EF4-FFF2-40B4-BE49-F238E27FC236}">
                    <a16:creationId xmlns:a16="http://schemas.microsoft.com/office/drawing/2014/main" id="{F49857D8-D88E-48CB-B5F2-F744897A7C02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işļíde">
                <a:extLst>
                  <a:ext uri="{FF2B5EF4-FFF2-40B4-BE49-F238E27FC236}">
                    <a16:creationId xmlns:a16="http://schemas.microsoft.com/office/drawing/2014/main" id="{ED87B017-72C1-46B3-8229-977289BCD783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$ļîḍè">
                <a:extLst>
                  <a:ext uri="{FF2B5EF4-FFF2-40B4-BE49-F238E27FC236}">
                    <a16:creationId xmlns:a16="http://schemas.microsoft.com/office/drawing/2014/main" id="{B04B2043-FECA-49B3-81E8-37F22377CC01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ṧḷidè">
                <a:extLst>
                  <a:ext uri="{FF2B5EF4-FFF2-40B4-BE49-F238E27FC236}">
                    <a16:creationId xmlns:a16="http://schemas.microsoft.com/office/drawing/2014/main" id="{B2D49453-55B7-4F3B-AC9C-189538C0F83D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ṥ1iḋe">
                <a:extLst>
                  <a:ext uri="{FF2B5EF4-FFF2-40B4-BE49-F238E27FC236}">
                    <a16:creationId xmlns:a16="http://schemas.microsoft.com/office/drawing/2014/main" id="{18F3AEE5-D60A-4055-9FCD-C8C034F66781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Sḻïḓe">
                <a:extLst>
                  <a:ext uri="{FF2B5EF4-FFF2-40B4-BE49-F238E27FC236}">
                    <a16:creationId xmlns:a16="http://schemas.microsoft.com/office/drawing/2014/main" id="{C0821FBC-2EB7-48A5-8578-3160BDD5B5D9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íṥļíḑe">
                <a:extLst>
                  <a:ext uri="{FF2B5EF4-FFF2-40B4-BE49-F238E27FC236}">
                    <a16:creationId xmlns:a16="http://schemas.microsoft.com/office/drawing/2014/main" id="{CCFD934C-FD8A-4DC1-BE7E-9591B0C8629B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śļîde">
                <a:extLst>
                  <a:ext uri="{FF2B5EF4-FFF2-40B4-BE49-F238E27FC236}">
                    <a16:creationId xmlns:a16="http://schemas.microsoft.com/office/drawing/2014/main" id="{D3D72B54-B0BD-4E7F-BCF0-8B0212713C61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iŝļîḑê">
                <a:extLst>
                  <a:ext uri="{FF2B5EF4-FFF2-40B4-BE49-F238E27FC236}">
                    <a16:creationId xmlns:a16="http://schemas.microsoft.com/office/drawing/2014/main" id="{5C11159B-CC3A-4180-9CA9-763CEAF04AA0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ṣḷïḍè">
                <a:extLst>
                  <a:ext uri="{FF2B5EF4-FFF2-40B4-BE49-F238E27FC236}">
                    <a16:creationId xmlns:a16="http://schemas.microsoft.com/office/drawing/2014/main" id="{0BC4505D-033A-4084-99D3-4FB128D32F44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ïSḷíḑê">
                <a:extLst>
                  <a:ext uri="{FF2B5EF4-FFF2-40B4-BE49-F238E27FC236}">
                    <a16:creationId xmlns:a16="http://schemas.microsoft.com/office/drawing/2014/main" id="{C61B22C6-24C2-4399-809E-6AEBD68482BE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ŝľíḋê">
                <a:extLst>
                  <a:ext uri="{FF2B5EF4-FFF2-40B4-BE49-F238E27FC236}">
                    <a16:creationId xmlns:a16="http://schemas.microsoft.com/office/drawing/2014/main" id="{A1C4633B-C9B3-43BC-87F8-C4213D8D1286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ślîḍé">
                <a:extLst>
                  <a:ext uri="{FF2B5EF4-FFF2-40B4-BE49-F238E27FC236}">
                    <a16:creationId xmlns:a16="http://schemas.microsoft.com/office/drawing/2014/main" id="{6967972A-DA9A-4DDB-B771-B2BEC8610FD8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ïšľïdè">
                <a:extLst>
                  <a:ext uri="{FF2B5EF4-FFF2-40B4-BE49-F238E27FC236}">
                    <a16:creationId xmlns:a16="http://schemas.microsoft.com/office/drawing/2014/main" id="{ADA93276-04A8-4968-B9B4-287099F113D3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şļïḋe">
                <a:extLst>
                  <a:ext uri="{FF2B5EF4-FFF2-40B4-BE49-F238E27FC236}">
                    <a16:creationId xmlns:a16="http://schemas.microsoft.com/office/drawing/2014/main" id="{7B54E4DE-4C8D-4ABB-8F5D-C41190719020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ṩ1íḍé">
                <a:extLst>
                  <a:ext uri="{FF2B5EF4-FFF2-40B4-BE49-F238E27FC236}">
                    <a16:creationId xmlns:a16="http://schemas.microsoft.com/office/drawing/2014/main" id="{D79DB5C6-7CFB-4A54-8485-BC2F49B5F0DA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í$ļîḋè">
                <a:extLst>
                  <a:ext uri="{FF2B5EF4-FFF2-40B4-BE49-F238E27FC236}">
                    <a16:creationId xmlns:a16="http://schemas.microsoft.com/office/drawing/2014/main" id="{416C15A0-1DF0-4C1E-B90D-2722AF4EA52D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ṣļîdè">
                <a:extLst>
                  <a:ext uri="{FF2B5EF4-FFF2-40B4-BE49-F238E27FC236}">
                    <a16:creationId xmlns:a16="http://schemas.microsoft.com/office/drawing/2014/main" id="{195A5FCA-52EC-48AB-8673-02194E80AB27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îṧlidé">
                <a:extLst>
                  <a:ext uri="{FF2B5EF4-FFF2-40B4-BE49-F238E27FC236}">
                    <a16:creationId xmlns:a16="http://schemas.microsoft.com/office/drawing/2014/main" id="{FB40DB08-8097-4D44-8C51-7110974B0316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šḻiḓé">
                <a:extLst>
                  <a:ext uri="{FF2B5EF4-FFF2-40B4-BE49-F238E27FC236}">
                    <a16:creationId xmlns:a16="http://schemas.microsoft.com/office/drawing/2014/main" id="{71FCFCDF-9797-4C8C-89CB-38283B20C20B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íṡľíḋê">
                <a:extLst>
                  <a:ext uri="{FF2B5EF4-FFF2-40B4-BE49-F238E27FC236}">
                    <a16:creationId xmlns:a16="http://schemas.microsoft.com/office/drawing/2014/main" id="{E655D365-4288-465F-81F2-E78819E9606E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ṡḻïḋe">
                <a:extLst>
                  <a:ext uri="{FF2B5EF4-FFF2-40B4-BE49-F238E27FC236}">
                    <a16:creationId xmlns:a16="http://schemas.microsoft.com/office/drawing/2014/main" id="{56522B9B-F85D-4837-852B-AAC5DCDBAFD7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isļïḋè">
                <a:extLst>
                  <a:ext uri="{FF2B5EF4-FFF2-40B4-BE49-F238E27FC236}">
                    <a16:creationId xmlns:a16="http://schemas.microsoft.com/office/drawing/2014/main" id="{A432C447-06AA-4848-AEE4-7D1655467E73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Sḻíḋé">
                <a:extLst>
                  <a:ext uri="{FF2B5EF4-FFF2-40B4-BE49-F238E27FC236}">
                    <a16:creationId xmlns:a16="http://schemas.microsoft.com/office/drawing/2014/main" id="{0DB0F16C-19AB-4D97-8BC7-CAA7FC7ABBA5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$lîḍé">
                <a:extLst>
                  <a:ext uri="{FF2B5EF4-FFF2-40B4-BE49-F238E27FC236}">
                    <a16:creationId xmlns:a16="http://schemas.microsoft.com/office/drawing/2014/main" id="{CA1CF3B2-E5EE-488D-B2D1-C419BDA6D6D9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sľïḋê">
                <a:extLst>
                  <a:ext uri="{FF2B5EF4-FFF2-40B4-BE49-F238E27FC236}">
                    <a16:creationId xmlns:a16="http://schemas.microsoft.com/office/drawing/2014/main" id="{43E696F9-EB40-4F86-8B44-6E0B6497237E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iṡľïďé">
                <a:extLst>
                  <a:ext uri="{FF2B5EF4-FFF2-40B4-BE49-F238E27FC236}">
                    <a16:creationId xmlns:a16="http://schemas.microsoft.com/office/drawing/2014/main" id="{A91F620A-DD31-475D-A4A6-D4C034216B25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šľïďe">
                <a:extLst>
                  <a:ext uri="{FF2B5EF4-FFF2-40B4-BE49-F238E27FC236}">
                    <a16:creationId xmlns:a16="http://schemas.microsoft.com/office/drawing/2014/main" id="{FDB53067-4591-4697-9ED6-FA66C4D74140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ïşļîḍê">
                <a:extLst>
                  <a:ext uri="{FF2B5EF4-FFF2-40B4-BE49-F238E27FC236}">
                    <a16:creationId xmlns:a16="http://schemas.microsoft.com/office/drawing/2014/main" id="{169B501E-3467-4513-B24C-B89FD474389E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$lïḍe">
                <a:extLst>
                  <a:ext uri="{FF2B5EF4-FFF2-40B4-BE49-F238E27FC236}">
                    <a16:creationId xmlns:a16="http://schemas.microsoft.com/office/drawing/2014/main" id="{43B9471A-AF3D-4851-98C4-961C2C562B6A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í$ḻíḋe">
                <a:extLst>
                  <a:ext uri="{FF2B5EF4-FFF2-40B4-BE49-F238E27FC236}">
                    <a16:creationId xmlns:a16="http://schemas.microsoft.com/office/drawing/2014/main" id="{A841A12A-4314-4A8B-89B9-FA11BDA2DDF3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$ḻïďê">
                <a:extLst>
                  <a:ext uri="{FF2B5EF4-FFF2-40B4-BE49-F238E27FC236}">
                    <a16:creationId xmlns:a16="http://schemas.microsoft.com/office/drawing/2014/main" id="{E60C5084-9E36-4C6D-881E-6EA86904ADC9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s1íḓè">
                <a:extLst>
                  <a:ext uri="{FF2B5EF4-FFF2-40B4-BE49-F238E27FC236}">
                    <a16:creationId xmlns:a16="http://schemas.microsoft.com/office/drawing/2014/main" id="{D417A212-2306-4F8D-BE3D-51371F968E77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şlíḑè">
                <a:extLst>
                  <a:ext uri="{FF2B5EF4-FFF2-40B4-BE49-F238E27FC236}">
                    <a16:creationId xmlns:a16="http://schemas.microsoft.com/office/drawing/2014/main" id="{78420DFD-8A42-46E1-85B1-758BCAD8B5B7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ïşḷîdê">
                <a:extLst>
                  <a:ext uri="{FF2B5EF4-FFF2-40B4-BE49-F238E27FC236}">
                    <a16:creationId xmlns:a16="http://schemas.microsoft.com/office/drawing/2014/main" id="{14CBFFF9-2BA7-47DB-99BC-CAC31C4838E8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î$ḻíḋé">
                <a:extLst>
                  <a:ext uri="{FF2B5EF4-FFF2-40B4-BE49-F238E27FC236}">
                    <a16:creationId xmlns:a16="http://schemas.microsoft.com/office/drawing/2014/main" id="{046FB72C-CE35-4577-BB4B-A22AED4C64C9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sḷíḋé">
                <a:extLst>
                  <a:ext uri="{FF2B5EF4-FFF2-40B4-BE49-F238E27FC236}">
                    <a16:creationId xmlns:a16="http://schemas.microsoft.com/office/drawing/2014/main" id="{02F747F4-2C85-4A0B-9839-FC91FB7779F7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is1îḑe">
                <a:extLst>
                  <a:ext uri="{FF2B5EF4-FFF2-40B4-BE49-F238E27FC236}">
                    <a16:creationId xmlns:a16="http://schemas.microsoft.com/office/drawing/2014/main" id="{98F7B27C-1A75-4498-989B-7247F484AFE1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îṥľïďè">
                <a:extLst>
                  <a:ext uri="{FF2B5EF4-FFF2-40B4-BE49-F238E27FC236}">
                    <a16:creationId xmlns:a16="http://schemas.microsoft.com/office/drawing/2014/main" id="{F016A4CE-8175-43FA-8A85-1268B6A6D1E3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$ļíḋe">
                <a:extLst>
                  <a:ext uri="{FF2B5EF4-FFF2-40B4-BE49-F238E27FC236}">
                    <a16:creationId xmlns:a16="http://schemas.microsoft.com/office/drawing/2014/main" id="{727F9ED2-C0CD-4722-8BD5-D6023917E250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S1ïdé">
                <a:extLst>
                  <a:ext uri="{FF2B5EF4-FFF2-40B4-BE49-F238E27FC236}">
                    <a16:creationId xmlns:a16="http://schemas.microsoft.com/office/drawing/2014/main" id="{C372E660-B6BC-440C-BBF1-511743DD6141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ïŝḻíḑé">
                <a:extLst>
                  <a:ext uri="{FF2B5EF4-FFF2-40B4-BE49-F238E27FC236}">
                    <a16:creationId xmlns:a16="http://schemas.microsoft.com/office/drawing/2014/main" id="{FC3108F8-EF67-4270-B46D-86D9DC15F224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ŝḷíḋè">
                <a:extLst>
                  <a:ext uri="{FF2B5EF4-FFF2-40B4-BE49-F238E27FC236}">
                    <a16:creationId xmlns:a16="http://schemas.microsoft.com/office/drawing/2014/main" id="{7152CA3E-C89C-4CEF-82DB-B86F5A6FD3F8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íśľîdé">
                <a:extLst>
                  <a:ext uri="{FF2B5EF4-FFF2-40B4-BE49-F238E27FC236}">
                    <a16:creationId xmlns:a16="http://schemas.microsoft.com/office/drawing/2014/main" id="{3CE0311A-C8B1-4447-B2EF-CB6EE103B08E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šlîḑe">
                <a:extLst>
                  <a:ext uri="{FF2B5EF4-FFF2-40B4-BE49-F238E27FC236}">
                    <a16:creationId xmlns:a16="http://schemas.microsoft.com/office/drawing/2014/main" id="{C1262DBB-90ED-4310-A254-40D900EFB482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i$ḻíde">
                <a:extLst>
                  <a:ext uri="{FF2B5EF4-FFF2-40B4-BE49-F238E27FC236}">
                    <a16:creationId xmlns:a16="http://schemas.microsoft.com/office/drawing/2014/main" id="{E80354B0-85A0-4F76-9367-7FA09EC77CAA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s1íḓê">
                <a:extLst>
                  <a:ext uri="{FF2B5EF4-FFF2-40B4-BE49-F238E27FC236}">
                    <a16:creationId xmlns:a16="http://schemas.microsoft.com/office/drawing/2014/main" id="{624CB8BB-211B-4B1C-A730-5EF8885CAC60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í$ḻîḋe">
                <a:extLst>
                  <a:ext uri="{FF2B5EF4-FFF2-40B4-BE49-F238E27FC236}">
                    <a16:creationId xmlns:a16="http://schemas.microsoft.com/office/drawing/2014/main" id="{03DFBAA5-78F1-4258-B34A-23BD8285B15D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ś1idê">
                <a:extLst>
                  <a:ext uri="{FF2B5EF4-FFF2-40B4-BE49-F238E27FC236}">
                    <a16:creationId xmlns:a16="http://schemas.microsoft.com/office/drawing/2014/main" id="{39D9AE07-A041-42BF-9BB6-B058DC3C70AA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ŝḻíḋe">
                <a:extLst>
                  <a:ext uri="{FF2B5EF4-FFF2-40B4-BE49-F238E27FC236}">
                    <a16:creationId xmlns:a16="http://schemas.microsoft.com/office/drawing/2014/main" id="{BF2290CD-E40E-4808-B3ED-DA2FF3A481EC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ṩ1ïḋè">
                <a:extLst>
                  <a:ext uri="{FF2B5EF4-FFF2-40B4-BE49-F238E27FC236}">
                    <a16:creationId xmlns:a16="http://schemas.microsoft.com/office/drawing/2014/main" id="{9FDCF6B1-DAA7-4F58-8EDF-66C1891CAA34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$ļîďe">
                <a:extLst>
                  <a:ext uri="{FF2B5EF4-FFF2-40B4-BE49-F238E27FC236}">
                    <a16:creationId xmlns:a16="http://schemas.microsoft.com/office/drawing/2014/main" id="{79879541-7293-4E50-8091-E66A74A8CB49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í$ļîḋê">
                <a:extLst>
                  <a:ext uri="{FF2B5EF4-FFF2-40B4-BE49-F238E27FC236}">
                    <a16:creationId xmlns:a16="http://schemas.microsoft.com/office/drawing/2014/main" id="{96420BDA-90CA-4DB2-8C2C-7A6B61096FEE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îşļiďe">
                <a:extLst>
                  <a:ext uri="{FF2B5EF4-FFF2-40B4-BE49-F238E27FC236}">
                    <a16:creationId xmlns:a16="http://schemas.microsoft.com/office/drawing/2014/main" id="{80A25764-486C-4FA5-8A9F-3839F5E7B8F4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iSlïḑè">
                <a:extLst>
                  <a:ext uri="{FF2B5EF4-FFF2-40B4-BE49-F238E27FC236}">
                    <a16:creationId xmlns:a16="http://schemas.microsoft.com/office/drawing/2014/main" id="{B45C1D1B-B2D0-479E-99DF-B6278CACDDC5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i$ḷïḓe">
                <a:extLst>
                  <a:ext uri="{FF2B5EF4-FFF2-40B4-BE49-F238E27FC236}">
                    <a16:creationId xmlns:a16="http://schemas.microsoft.com/office/drawing/2014/main" id="{2133DEAD-6195-481A-971A-271C1577625A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îṥḻîďe">
                <a:extLst>
                  <a:ext uri="{FF2B5EF4-FFF2-40B4-BE49-F238E27FC236}">
                    <a16:creationId xmlns:a16="http://schemas.microsoft.com/office/drawing/2014/main" id="{A7EE69C9-7975-4850-AA2A-78633E3FAF89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Sľïḓê">
                <a:extLst>
                  <a:ext uri="{FF2B5EF4-FFF2-40B4-BE49-F238E27FC236}">
                    <a16:creationId xmlns:a16="http://schemas.microsoft.com/office/drawing/2014/main" id="{2FCB4F7B-EACE-46A3-BEF1-D302DAD518AF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$ľiḓè">
                <a:extLst>
                  <a:ext uri="{FF2B5EF4-FFF2-40B4-BE49-F238E27FC236}">
                    <a16:creationId xmlns:a16="http://schemas.microsoft.com/office/drawing/2014/main" id="{C8948BE5-276E-4C22-AAE2-87C95F98D7BC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îṡļïḓè">
                <a:extLst>
                  <a:ext uri="{FF2B5EF4-FFF2-40B4-BE49-F238E27FC236}">
                    <a16:creationId xmlns:a16="http://schemas.microsoft.com/office/drawing/2014/main" id="{3F03EE9C-58A7-410D-803F-97E6F2B9E30C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íṩľíďé">
                <a:extLst>
                  <a:ext uri="{FF2B5EF4-FFF2-40B4-BE49-F238E27FC236}">
                    <a16:creationId xmlns:a16="http://schemas.microsoft.com/office/drawing/2014/main" id="{E194B293-B998-43F2-95CA-F53DF8E436D6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i$1îḑê">
                <a:extLst>
                  <a:ext uri="{FF2B5EF4-FFF2-40B4-BE49-F238E27FC236}">
                    <a16:creationId xmlns:a16="http://schemas.microsoft.com/office/drawing/2014/main" id="{4F2356A5-CE69-4851-B8CF-DB5A718DEF33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ïslíḑè">
                <a:extLst>
                  <a:ext uri="{FF2B5EF4-FFF2-40B4-BE49-F238E27FC236}">
                    <a16:creationId xmlns:a16="http://schemas.microsoft.com/office/drawing/2014/main" id="{5E69358B-C219-4347-ABDB-CBE9529B71B0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ï$ľíḍè">
                <a:extLst>
                  <a:ext uri="{FF2B5EF4-FFF2-40B4-BE49-F238E27FC236}">
                    <a16:creationId xmlns:a16="http://schemas.microsoft.com/office/drawing/2014/main" id="{B5427270-9721-4892-86F2-C8F6B87799B2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îšḻîḋê">
                <a:extLst>
                  <a:ext uri="{FF2B5EF4-FFF2-40B4-BE49-F238E27FC236}">
                    <a16:creationId xmlns:a16="http://schemas.microsoft.com/office/drawing/2014/main" id="{C50C4C05-C04F-459F-9BC8-8BF746BE59B5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í$ļïḑè">
                <a:extLst>
                  <a:ext uri="{FF2B5EF4-FFF2-40B4-BE49-F238E27FC236}">
                    <a16:creationId xmlns:a16="http://schemas.microsoft.com/office/drawing/2014/main" id="{74D27C8C-439D-408C-8DD2-DD221C26C639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íšlïdé">
                <a:extLst>
                  <a:ext uri="{FF2B5EF4-FFF2-40B4-BE49-F238E27FC236}">
                    <a16:creationId xmlns:a16="http://schemas.microsoft.com/office/drawing/2014/main" id="{98BED16D-7305-44F0-9B25-C0500CDEF7EB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878F438-D0B8-4EB9-A174-7DB6BCB6E7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9924" y="6170619"/>
            <a:ext cx="1343025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7F77F593-B05D-4868-83B8-7E1FCD626F38}"/>
              </a:ext>
            </a:extLst>
          </p:cNvPr>
          <p:cNvGrpSpPr/>
          <p:nvPr userDrawn="1"/>
        </p:nvGrpSpPr>
        <p:grpSpPr>
          <a:xfrm>
            <a:off x="-4763" y="0"/>
            <a:ext cx="12196763" cy="6865736"/>
            <a:chOff x="-4763" y="0"/>
            <a:chExt cx="12196763" cy="6865736"/>
          </a:xfrm>
        </p:grpSpPr>
        <p:sp>
          <p:nvSpPr>
            <p:cNvPr id="7" name="立方体 6">
              <a:extLst>
                <a:ext uri="{FF2B5EF4-FFF2-40B4-BE49-F238E27FC236}">
                  <a16:creationId xmlns:a16="http://schemas.microsoft.com/office/drawing/2014/main" id="{5BB9DE4A-C7AB-4D55-9F49-E9E5681AF9DD}"/>
                </a:ext>
              </a:extLst>
            </p:cNvPr>
            <p:cNvSpPr/>
            <p:nvPr/>
          </p:nvSpPr>
          <p:spPr>
            <a:xfrm>
              <a:off x="0" y="5766550"/>
              <a:ext cx="12192000" cy="1099186"/>
            </a:xfrm>
            <a:prstGeom prst="cub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075A0C20-CF04-420D-863F-DA5EE3012ACD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0143" y="1287566"/>
              <a:ext cx="6099343" cy="4692316"/>
              <a:chOff x="3125788" y="1206500"/>
              <a:chExt cx="5794376" cy="4457700"/>
            </a:xfrm>
          </p:grpSpPr>
          <p:sp>
            <p:nvSpPr>
              <p:cNvPr id="12" name="îṧļiďê">
                <a:extLst>
                  <a:ext uri="{FF2B5EF4-FFF2-40B4-BE49-F238E27FC236}">
                    <a16:creationId xmlns:a16="http://schemas.microsoft.com/office/drawing/2014/main" id="{66B6B732-C5ED-49F0-A1FB-0CF5969081AD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ŝ1idè">
                <a:extLst>
                  <a:ext uri="{FF2B5EF4-FFF2-40B4-BE49-F238E27FC236}">
                    <a16:creationId xmlns:a16="http://schemas.microsoft.com/office/drawing/2014/main" id="{C4B2E99D-ED26-4F7F-8C34-B16133B1A817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$1íḍè">
                <a:extLst>
                  <a:ext uri="{FF2B5EF4-FFF2-40B4-BE49-F238E27FC236}">
                    <a16:creationId xmlns:a16="http://schemas.microsoft.com/office/drawing/2014/main" id="{14949F50-609B-463B-A3C0-136240AF26BB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îṥľïḓê">
                <a:extLst>
                  <a:ext uri="{FF2B5EF4-FFF2-40B4-BE49-F238E27FC236}">
                    <a16:creationId xmlns:a16="http://schemas.microsoft.com/office/drawing/2014/main" id="{23CB406B-6763-4C76-BD4A-7B7E779C8D4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ḻîdè">
                <a:extLst>
                  <a:ext uri="{FF2B5EF4-FFF2-40B4-BE49-F238E27FC236}">
                    <a16:creationId xmlns:a16="http://schemas.microsoft.com/office/drawing/2014/main" id="{64800630-DBC6-4B82-AB97-198E01088D58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ŝľîḍe">
                <a:extLst>
                  <a:ext uri="{FF2B5EF4-FFF2-40B4-BE49-F238E27FC236}">
                    <a16:creationId xmlns:a16="http://schemas.microsoft.com/office/drawing/2014/main" id="{436F47FE-79A7-4821-AD87-D2097C8B7DD0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S1ídé">
                <a:extLst>
                  <a:ext uri="{FF2B5EF4-FFF2-40B4-BE49-F238E27FC236}">
                    <a16:creationId xmlns:a16="http://schemas.microsoft.com/office/drawing/2014/main" id="{7BEFAB3C-6BEC-4E93-8DC5-2DE5EDB94D65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sḻíḋê">
                <a:extLst>
                  <a:ext uri="{FF2B5EF4-FFF2-40B4-BE49-F238E27FC236}">
                    <a16:creationId xmlns:a16="http://schemas.microsoft.com/office/drawing/2014/main" id="{36D00B11-DCA9-4BF3-983B-497DB9291EF8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ṧļíḑé">
                <a:extLst>
                  <a:ext uri="{FF2B5EF4-FFF2-40B4-BE49-F238E27FC236}">
                    <a16:creationId xmlns:a16="http://schemas.microsoft.com/office/drawing/2014/main" id="{ECA4D23F-BD3A-4197-899F-CA7A3E39866D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ṧľíḑé">
                <a:extLst>
                  <a:ext uri="{FF2B5EF4-FFF2-40B4-BE49-F238E27FC236}">
                    <a16:creationId xmlns:a16="http://schemas.microsoft.com/office/drawing/2014/main" id="{1DD4820B-D033-434C-BB0E-96F7B4E7D404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$ḷíḋe">
                <a:extLst>
                  <a:ext uri="{FF2B5EF4-FFF2-40B4-BE49-F238E27FC236}">
                    <a16:creationId xmlns:a16="http://schemas.microsoft.com/office/drawing/2014/main" id="{960F7AEE-B7EB-40D8-9DA6-07B1B982A344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sļíďe">
                <a:extLst>
                  <a:ext uri="{FF2B5EF4-FFF2-40B4-BE49-F238E27FC236}">
                    <a16:creationId xmlns:a16="http://schemas.microsoft.com/office/drawing/2014/main" id="{A349F716-C619-4707-93FA-4538F96BE00B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śľïḍé">
                <a:extLst>
                  <a:ext uri="{FF2B5EF4-FFF2-40B4-BE49-F238E27FC236}">
                    <a16:creationId xmlns:a16="http://schemas.microsoft.com/office/drawing/2014/main" id="{497A96DC-07F6-49C2-A2F1-9E33BE46C084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ï$ľïde">
                <a:extLst>
                  <a:ext uri="{FF2B5EF4-FFF2-40B4-BE49-F238E27FC236}">
                    <a16:creationId xmlns:a16="http://schemas.microsoft.com/office/drawing/2014/main" id="{0D80CBB6-C368-4425-BA87-A848A50D8978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1ïḑé">
                <a:extLst>
                  <a:ext uri="{FF2B5EF4-FFF2-40B4-BE49-F238E27FC236}">
                    <a16:creationId xmlns:a16="http://schemas.microsoft.com/office/drawing/2014/main" id="{C41634A6-E55F-49C5-AA95-38CF39069B0E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îṩľíḓê">
                <a:extLst>
                  <a:ext uri="{FF2B5EF4-FFF2-40B4-BE49-F238E27FC236}">
                    <a16:creationId xmlns:a16="http://schemas.microsoft.com/office/drawing/2014/main" id="{24F85C8B-61C2-4786-9C56-C83B493F395F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sḻïḑe">
                <a:extLst>
                  <a:ext uri="{FF2B5EF4-FFF2-40B4-BE49-F238E27FC236}">
                    <a16:creationId xmlns:a16="http://schemas.microsoft.com/office/drawing/2014/main" id="{808C6B66-9C9B-4F67-85C4-EA9284BEAFCF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$ḻîḓè">
                <a:extLst>
                  <a:ext uri="{FF2B5EF4-FFF2-40B4-BE49-F238E27FC236}">
                    <a16:creationId xmlns:a16="http://schemas.microsoft.com/office/drawing/2014/main" id="{6F0EAE8B-5038-4C6C-B82D-5163BB98C23B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i$lïḍè">
                <a:extLst>
                  <a:ext uri="{FF2B5EF4-FFF2-40B4-BE49-F238E27FC236}">
                    <a16:creationId xmlns:a16="http://schemas.microsoft.com/office/drawing/2014/main" id="{F15C1340-BD1D-449A-82C3-786805F9F11B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iṥ1îḍé">
                <a:extLst>
                  <a:ext uri="{FF2B5EF4-FFF2-40B4-BE49-F238E27FC236}">
                    <a16:creationId xmlns:a16="http://schemas.microsoft.com/office/drawing/2014/main" id="{A2B72830-E1E4-4943-BAE7-95174C720F21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ïşļïḓè">
                <a:extLst>
                  <a:ext uri="{FF2B5EF4-FFF2-40B4-BE49-F238E27FC236}">
                    <a16:creationId xmlns:a16="http://schemas.microsoft.com/office/drawing/2014/main" id="{D859CB24-8B18-4B83-8D54-708D0ACCF2EA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î$ľîďè">
                <a:extLst>
                  <a:ext uri="{FF2B5EF4-FFF2-40B4-BE49-F238E27FC236}">
                    <a16:creationId xmlns:a16="http://schemas.microsoft.com/office/drawing/2014/main" id="{3A7E8F22-7643-4F92-8DA2-6B36CDFB9488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Sļíḑê">
                <a:extLst>
                  <a:ext uri="{FF2B5EF4-FFF2-40B4-BE49-F238E27FC236}">
                    <a16:creationId xmlns:a16="http://schemas.microsoft.com/office/drawing/2014/main" id="{394A2498-1363-4E64-92AA-A88699A22224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íś1ïḓè">
                <a:extLst>
                  <a:ext uri="{FF2B5EF4-FFF2-40B4-BE49-F238E27FC236}">
                    <a16:creationId xmlns:a16="http://schemas.microsoft.com/office/drawing/2014/main" id="{F923D063-A091-4C22-9B71-AE3559F7768C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ṧḻïḍe">
                <a:extLst>
                  <a:ext uri="{FF2B5EF4-FFF2-40B4-BE49-F238E27FC236}">
                    <a16:creationId xmlns:a16="http://schemas.microsoft.com/office/drawing/2014/main" id="{CA56BDCE-7B39-4964-BDCE-BD27C358D643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śļíďé">
                <a:extLst>
                  <a:ext uri="{FF2B5EF4-FFF2-40B4-BE49-F238E27FC236}">
                    <a16:creationId xmlns:a16="http://schemas.microsoft.com/office/drawing/2014/main" id="{4DB68DD5-CF0B-4649-ACDD-E1D38597F152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ṣļíďè">
                <a:extLst>
                  <a:ext uri="{FF2B5EF4-FFF2-40B4-BE49-F238E27FC236}">
                    <a16:creationId xmlns:a16="http://schemas.microsoft.com/office/drawing/2014/main" id="{DA20F236-996F-435D-A789-B4AE4C3B44D8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ïṥlïdè">
                <a:extLst>
                  <a:ext uri="{FF2B5EF4-FFF2-40B4-BE49-F238E27FC236}">
                    <a16:creationId xmlns:a16="http://schemas.microsoft.com/office/drawing/2014/main" id="{32E49B9E-1F05-4512-801C-5031127E751F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ïṧ1iḋe">
                <a:extLst>
                  <a:ext uri="{FF2B5EF4-FFF2-40B4-BE49-F238E27FC236}">
                    <a16:creationId xmlns:a16="http://schemas.microsoft.com/office/drawing/2014/main" id="{CAD89F56-9C42-4452-8D14-A1AD2A28D268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$liḍê">
                <a:extLst>
                  <a:ext uri="{FF2B5EF4-FFF2-40B4-BE49-F238E27FC236}">
                    <a16:creationId xmlns:a16="http://schemas.microsoft.com/office/drawing/2014/main" id="{A0FEA52E-2936-49E5-B465-29F32456074C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ŝḻiḓé">
                <a:extLst>
                  <a:ext uri="{FF2B5EF4-FFF2-40B4-BE49-F238E27FC236}">
                    <a16:creationId xmlns:a16="http://schemas.microsoft.com/office/drawing/2014/main" id="{F01E1176-5EEB-4B55-9156-E340143ACFE9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ṩlïḓê">
                <a:extLst>
                  <a:ext uri="{FF2B5EF4-FFF2-40B4-BE49-F238E27FC236}">
                    <a16:creationId xmlns:a16="http://schemas.microsoft.com/office/drawing/2014/main" id="{E960D748-66B3-4A32-9BF0-3A55B1CA1040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íšľîďe">
                <a:extLst>
                  <a:ext uri="{FF2B5EF4-FFF2-40B4-BE49-F238E27FC236}">
                    <a16:creationId xmlns:a16="http://schemas.microsoft.com/office/drawing/2014/main" id="{670F17BD-3201-40BC-B376-47DD36F71186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iṩḷîdé">
                <a:extLst>
                  <a:ext uri="{FF2B5EF4-FFF2-40B4-BE49-F238E27FC236}">
                    <a16:creationId xmlns:a16="http://schemas.microsoft.com/office/drawing/2014/main" id="{7C6CE790-44DD-4AC6-BBED-406C412F945A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ṣ1íďé">
                <a:extLst>
                  <a:ext uri="{FF2B5EF4-FFF2-40B4-BE49-F238E27FC236}">
                    <a16:creationId xmlns:a16="http://schemas.microsoft.com/office/drawing/2014/main" id="{D0CD5BC1-885E-463B-BA64-19B864FC864C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îṩlîdè">
                <a:extLst>
                  <a:ext uri="{FF2B5EF4-FFF2-40B4-BE49-F238E27FC236}">
                    <a16:creationId xmlns:a16="http://schemas.microsoft.com/office/drawing/2014/main" id="{69AF793C-3060-46CF-9F87-9FBED2BF8433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îṣḷîḋé">
                <a:extLst>
                  <a:ext uri="{FF2B5EF4-FFF2-40B4-BE49-F238E27FC236}">
                    <a16:creationId xmlns:a16="http://schemas.microsoft.com/office/drawing/2014/main" id="{3E5BAA5E-7CCA-4207-96F7-07DC40410357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íşḻiḓè">
                <a:extLst>
                  <a:ext uri="{FF2B5EF4-FFF2-40B4-BE49-F238E27FC236}">
                    <a16:creationId xmlns:a16="http://schemas.microsoft.com/office/drawing/2014/main" id="{EF20ED72-33AE-4A56-B13C-00193DCC4B96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ïšlïďê">
                <a:extLst>
                  <a:ext uri="{FF2B5EF4-FFF2-40B4-BE49-F238E27FC236}">
                    <a16:creationId xmlns:a16="http://schemas.microsoft.com/office/drawing/2014/main" id="{089C8009-D869-4B99-8A0B-E17E178247B0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işļíde">
                <a:extLst>
                  <a:ext uri="{FF2B5EF4-FFF2-40B4-BE49-F238E27FC236}">
                    <a16:creationId xmlns:a16="http://schemas.microsoft.com/office/drawing/2014/main" id="{B941864B-43A9-4DA7-B305-5859F5ACB098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$ļîḍè">
                <a:extLst>
                  <a:ext uri="{FF2B5EF4-FFF2-40B4-BE49-F238E27FC236}">
                    <a16:creationId xmlns:a16="http://schemas.microsoft.com/office/drawing/2014/main" id="{3711C4FE-DD2C-492C-BB5F-D5C8DB62AC4C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ṧḷidè">
                <a:extLst>
                  <a:ext uri="{FF2B5EF4-FFF2-40B4-BE49-F238E27FC236}">
                    <a16:creationId xmlns:a16="http://schemas.microsoft.com/office/drawing/2014/main" id="{20D6E03A-ACD8-4270-9EC4-02A63A655B76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íṥ1iḋe">
                <a:extLst>
                  <a:ext uri="{FF2B5EF4-FFF2-40B4-BE49-F238E27FC236}">
                    <a16:creationId xmlns:a16="http://schemas.microsoft.com/office/drawing/2014/main" id="{DE75D656-F4F6-4B73-BA78-C74FFB076B10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Sḻïḓe">
                <a:extLst>
                  <a:ext uri="{FF2B5EF4-FFF2-40B4-BE49-F238E27FC236}">
                    <a16:creationId xmlns:a16="http://schemas.microsoft.com/office/drawing/2014/main" id="{A90F04E1-13C3-42EB-9A8E-89F4E3B78C3C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ṥļíḑe">
                <a:extLst>
                  <a:ext uri="{FF2B5EF4-FFF2-40B4-BE49-F238E27FC236}">
                    <a16:creationId xmlns:a16="http://schemas.microsoft.com/office/drawing/2014/main" id="{BFA3E338-AE78-4383-A492-DDC74DF0CBE1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śļîde">
                <a:extLst>
                  <a:ext uri="{FF2B5EF4-FFF2-40B4-BE49-F238E27FC236}">
                    <a16:creationId xmlns:a16="http://schemas.microsoft.com/office/drawing/2014/main" id="{486332F4-D0AB-4040-844A-6ACD70CCBE57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iŝļîḑê">
                <a:extLst>
                  <a:ext uri="{FF2B5EF4-FFF2-40B4-BE49-F238E27FC236}">
                    <a16:creationId xmlns:a16="http://schemas.microsoft.com/office/drawing/2014/main" id="{C7B4EC97-0C29-401F-9CE5-28511BD0BF28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îṣḷïḍè">
                <a:extLst>
                  <a:ext uri="{FF2B5EF4-FFF2-40B4-BE49-F238E27FC236}">
                    <a16:creationId xmlns:a16="http://schemas.microsoft.com/office/drawing/2014/main" id="{4EC46C0A-0E6F-4F18-9DF3-051D2F4D0492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ïSḷíḑê">
                <a:extLst>
                  <a:ext uri="{FF2B5EF4-FFF2-40B4-BE49-F238E27FC236}">
                    <a16:creationId xmlns:a16="http://schemas.microsoft.com/office/drawing/2014/main" id="{3CC999FF-2EC5-4046-9D70-9FA233EE72D8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íŝľíḋê">
                <a:extLst>
                  <a:ext uri="{FF2B5EF4-FFF2-40B4-BE49-F238E27FC236}">
                    <a16:creationId xmlns:a16="http://schemas.microsoft.com/office/drawing/2014/main" id="{78F61279-C035-4976-B51E-0E7C4E6533AB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ślîḍé">
                <a:extLst>
                  <a:ext uri="{FF2B5EF4-FFF2-40B4-BE49-F238E27FC236}">
                    <a16:creationId xmlns:a16="http://schemas.microsoft.com/office/drawing/2014/main" id="{33A93F14-DA19-435E-A86D-219627962D16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ïšľïdè">
                <a:extLst>
                  <a:ext uri="{FF2B5EF4-FFF2-40B4-BE49-F238E27FC236}">
                    <a16:creationId xmlns:a16="http://schemas.microsoft.com/office/drawing/2014/main" id="{5C3FAC5E-D201-40E3-8B01-11E260A5856C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îşļïḋe">
                <a:extLst>
                  <a:ext uri="{FF2B5EF4-FFF2-40B4-BE49-F238E27FC236}">
                    <a16:creationId xmlns:a16="http://schemas.microsoft.com/office/drawing/2014/main" id="{F71B6AAE-B6E4-4E1C-89DA-927AAE0DF3F7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iṩ1íḍé">
                <a:extLst>
                  <a:ext uri="{FF2B5EF4-FFF2-40B4-BE49-F238E27FC236}">
                    <a16:creationId xmlns:a16="http://schemas.microsoft.com/office/drawing/2014/main" id="{D8D0E844-6937-42EF-B14A-0ADD26F7C56E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í$ļîḋè">
                <a:extLst>
                  <a:ext uri="{FF2B5EF4-FFF2-40B4-BE49-F238E27FC236}">
                    <a16:creationId xmlns:a16="http://schemas.microsoft.com/office/drawing/2014/main" id="{6F895BBC-D60D-4F18-B182-AE4CBB25828C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îṣļîdè">
                <a:extLst>
                  <a:ext uri="{FF2B5EF4-FFF2-40B4-BE49-F238E27FC236}">
                    <a16:creationId xmlns:a16="http://schemas.microsoft.com/office/drawing/2014/main" id="{C2341232-97C0-4586-A146-E685E10E0A0D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îṧlidé">
                <a:extLst>
                  <a:ext uri="{FF2B5EF4-FFF2-40B4-BE49-F238E27FC236}">
                    <a16:creationId xmlns:a16="http://schemas.microsoft.com/office/drawing/2014/main" id="{8C1A9024-2945-49A2-84B4-A2E70FA89A4B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šḻiḓé">
                <a:extLst>
                  <a:ext uri="{FF2B5EF4-FFF2-40B4-BE49-F238E27FC236}">
                    <a16:creationId xmlns:a16="http://schemas.microsoft.com/office/drawing/2014/main" id="{E0CE1A77-B359-4C98-BD77-E20D4B071394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íṡľíḋê">
                <a:extLst>
                  <a:ext uri="{FF2B5EF4-FFF2-40B4-BE49-F238E27FC236}">
                    <a16:creationId xmlns:a16="http://schemas.microsoft.com/office/drawing/2014/main" id="{AABBDF3A-694D-474F-8BEB-46A7E95F0C69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ṡḻïḋe">
                <a:extLst>
                  <a:ext uri="{FF2B5EF4-FFF2-40B4-BE49-F238E27FC236}">
                    <a16:creationId xmlns:a16="http://schemas.microsoft.com/office/drawing/2014/main" id="{C83C0F25-7452-47C5-A3CB-65FEED799862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sļïḋè">
                <a:extLst>
                  <a:ext uri="{FF2B5EF4-FFF2-40B4-BE49-F238E27FC236}">
                    <a16:creationId xmlns:a16="http://schemas.microsoft.com/office/drawing/2014/main" id="{99B98516-BC1F-45BA-B3F9-087172BD1744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ïSḻíḋé">
                <a:extLst>
                  <a:ext uri="{FF2B5EF4-FFF2-40B4-BE49-F238E27FC236}">
                    <a16:creationId xmlns:a16="http://schemas.microsoft.com/office/drawing/2014/main" id="{F441D1E8-FA6D-4E3A-BFB7-7DBB76D1FA7E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$lîḍé">
                <a:extLst>
                  <a:ext uri="{FF2B5EF4-FFF2-40B4-BE49-F238E27FC236}">
                    <a16:creationId xmlns:a16="http://schemas.microsoft.com/office/drawing/2014/main" id="{AED2835C-188D-4873-A3B4-6FF4F8D3DDF9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îsľïḋê">
                <a:extLst>
                  <a:ext uri="{FF2B5EF4-FFF2-40B4-BE49-F238E27FC236}">
                    <a16:creationId xmlns:a16="http://schemas.microsoft.com/office/drawing/2014/main" id="{F862D071-F445-441D-BBDD-46AA407211F9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ṡľïďé">
                <a:extLst>
                  <a:ext uri="{FF2B5EF4-FFF2-40B4-BE49-F238E27FC236}">
                    <a16:creationId xmlns:a16="http://schemas.microsoft.com/office/drawing/2014/main" id="{CDB290E9-5DA4-424F-89C1-B666C57905C7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íšľïďe">
                <a:extLst>
                  <a:ext uri="{FF2B5EF4-FFF2-40B4-BE49-F238E27FC236}">
                    <a16:creationId xmlns:a16="http://schemas.microsoft.com/office/drawing/2014/main" id="{5A884AB9-5DD3-4C41-8143-BFC9A834A627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şļîḍê">
                <a:extLst>
                  <a:ext uri="{FF2B5EF4-FFF2-40B4-BE49-F238E27FC236}">
                    <a16:creationId xmlns:a16="http://schemas.microsoft.com/office/drawing/2014/main" id="{10DEDC7B-1054-48B2-87D2-0BC54C266BFC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ï$lïḍe">
                <a:extLst>
                  <a:ext uri="{FF2B5EF4-FFF2-40B4-BE49-F238E27FC236}">
                    <a16:creationId xmlns:a16="http://schemas.microsoft.com/office/drawing/2014/main" id="{A4B662A4-F2CB-4B8D-B21F-50000248FB6E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$ḻíḋe">
                <a:extLst>
                  <a:ext uri="{FF2B5EF4-FFF2-40B4-BE49-F238E27FC236}">
                    <a16:creationId xmlns:a16="http://schemas.microsoft.com/office/drawing/2014/main" id="{E79351A6-8DBB-4437-878B-3390E65DDFAB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$ḻïďê">
                <a:extLst>
                  <a:ext uri="{FF2B5EF4-FFF2-40B4-BE49-F238E27FC236}">
                    <a16:creationId xmlns:a16="http://schemas.microsoft.com/office/drawing/2014/main" id="{B66F09AE-DF02-4E25-82E4-342818C4C55F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s1íḓè">
                <a:extLst>
                  <a:ext uri="{FF2B5EF4-FFF2-40B4-BE49-F238E27FC236}">
                    <a16:creationId xmlns:a16="http://schemas.microsoft.com/office/drawing/2014/main" id="{0EF7C3C3-438D-40A5-BCDF-40DC1CDE2AD1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şlíḑè">
                <a:extLst>
                  <a:ext uri="{FF2B5EF4-FFF2-40B4-BE49-F238E27FC236}">
                    <a16:creationId xmlns:a16="http://schemas.microsoft.com/office/drawing/2014/main" id="{A6041FFB-C5D9-4929-AC9B-B17A74DF5284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şḷîdê">
                <a:extLst>
                  <a:ext uri="{FF2B5EF4-FFF2-40B4-BE49-F238E27FC236}">
                    <a16:creationId xmlns:a16="http://schemas.microsoft.com/office/drawing/2014/main" id="{B209081B-B986-46EA-8ACC-26668A105E89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î$ḻíḋé">
                <a:extLst>
                  <a:ext uri="{FF2B5EF4-FFF2-40B4-BE49-F238E27FC236}">
                    <a16:creationId xmlns:a16="http://schemas.microsoft.com/office/drawing/2014/main" id="{E68732F9-4E5A-4898-A0EA-8F67C94CE69C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îsḷíḋé">
                <a:extLst>
                  <a:ext uri="{FF2B5EF4-FFF2-40B4-BE49-F238E27FC236}">
                    <a16:creationId xmlns:a16="http://schemas.microsoft.com/office/drawing/2014/main" id="{B954692F-E222-4F46-986E-28ADE6873EE3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is1îḑe">
                <a:extLst>
                  <a:ext uri="{FF2B5EF4-FFF2-40B4-BE49-F238E27FC236}">
                    <a16:creationId xmlns:a16="http://schemas.microsoft.com/office/drawing/2014/main" id="{3B48F71A-D720-40E4-809F-E86201D7974E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îṥľïďè">
                <a:extLst>
                  <a:ext uri="{FF2B5EF4-FFF2-40B4-BE49-F238E27FC236}">
                    <a16:creationId xmlns:a16="http://schemas.microsoft.com/office/drawing/2014/main" id="{66D7CB74-592D-46DF-BA2D-A7384F4E9744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ï$ļíḋe">
                <a:extLst>
                  <a:ext uri="{FF2B5EF4-FFF2-40B4-BE49-F238E27FC236}">
                    <a16:creationId xmlns:a16="http://schemas.microsoft.com/office/drawing/2014/main" id="{0AC8DF32-4440-4004-B6BF-6D38D418CD62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íS1ïdé">
                <a:extLst>
                  <a:ext uri="{FF2B5EF4-FFF2-40B4-BE49-F238E27FC236}">
                    <a16:creationId xmlns:a16="http://schemas.microsoft.com/office/drawing/2014/main" id="{73779592-A5BF-40BB-949C-F905CFCE1777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ïŝḻíḑé">
                <a:extLst>
                  <a:ext uri="{FF2B5EF4-FFF2-40B4-BE49-F238E27FC236}">
                    <a16:creationId xmlns:a16="http://schemas.microsoft.com/office/drawing/2014/main" id="{69D24F54-7A31-4DD7-8928-290EF67C15AE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ŝḷíḋè">
                <a:extLst>
                  <a:ext uri="{FF2B5EF4-FFF2-40B4-BE49-F238E27FC236}">
                    <a16:creationId xmlns:a16="http://schemas.microsoft.com/office/drawing/2014/main" id="{DD70C074-41C9-4D08-B4F7-917D3EF4F0B9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śľîdé">
                <a:extLst>
                  <a:ext uri="{FF2B5EF4-FFF2-40B4-BE49-F238E27FC236}">
                    <a16:creationId xmlns:a16="http://schemas.microsoft.com/office/drawing/2014/main" id="{A1F9E2D5-510F-4C43-9685-E8B50603E19E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šlîḑe">
                <a:extLst>
                  <a:ext uri="{FF2B5EF4-FFF2-40B4-BE49-F238E27FC236}">
                    <a16:creationId xmlns:a16="http://schemas.microsoft.com/office/drawing/2014/main" id="{5870F909-7CA1-4D12-BBFC-21A29058C74D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i$ḻíde">
                <a:extLst>
                  <a:ext uri="{FF2B5EF4-FFF2-40B4-BE49-F238E27FC236}">
                    <a16:creationId xmlns:a16="http://schemas.microsoft.com/office/drawing/2014/main" id="{48965552-CC2F-4480-B7E4-5FA93852CC45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s1íḓê">
                <a:extLst>
                  <a:ext uri="{FF2B5EF4-FFF2-40B4-BE49-F238E27FC236}">
                    <a16:creationId xmlns:a16="http://schemas.microsoft.com/office/drawing/2014/main" id="{32A3CDAE-ECC7-4C6D-B966-229082D5D0FD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í$ḻîḋe">
                <a:extLst>
                  <a:ext uri="{FF2B5EF4-FFF2-40B4-BE49-F238E27FC236}">
                    <a16:creationId xmlns:a16="http://schemas.microsoft.com/office/drawing/2014/main" id="{954DFA0A-B791-4EFB-A30F-5D2266421C4E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îś1idê">
                <a:extLst>
                  <a:ext uri="{FF2B5EF4-FFF2-40B4-BE49-F238E27FC236}">
                    <a16:creationId xmlns:a16="http://schemas.microsoft.com/office/drawing/2014/main" id="{C310FB66-F63B-4E20-A333-6E6124AF6DFE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ŝḻíḋe">
                <a:extLst>
                  <a:ext uri="{FF2B5EF4-FFF2-40B4-BE49-F238E27FC236}">
                    <a16:creationId xmlns:a16="http://schemas.microsoft.com/office/drawing/2014/main" id="{EE3F0DF5-5C6C-4CD7-B585-73A22CE050B8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íṩ1ïḋè">
                <a:extLst>
                  <a:ext uri="{FF2B5EF4-FFF2-40B4-BE49-F238E27FC236}">
                    <a16:creationId xmlns:a16="http://schemas.microsoft.com/office/drawing/2014/main" id="{EB77B7FC-196A-4A1D-9CC6-963CEF2C547D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ï$ļîďe">
                <a:extLst>
                  <a:ext uri="{FF2B5EF4-FFF2-40B4-BE49-F238E27FC236}">
                    <a16:creationId xmlns:a16="http://schemas.microsoft.com/office/drawing/2014/main" id="{71EB0707-C89C-4EC0-836B-191BCCEC876D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í$ļîḋê">
                <a:extLst>
                  <a:ext uri="{FF2B5EF4-FFF2-40B4-BE49-F238E27FC236}">
                    <a16:creationId xmlns:a16="http://schemas.microsoft.com/office/drawing/2014/main" id="{6A4F6FD6-55B9-47E6-BF67-0C02E75622F3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şļiďe">
                <a:extLst>
                  <a:ext uri="{FF2B5EF4-FFF2-40B4-BE49-F238E27FC236}">
                    <a16:creationId xmlns:a16="http://schemas.microsoft.com/office/drawing/2014/main" id="{0F0B05E4-484B-4F06-B69D-A574BA811F5B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iSlïḑè">
                <a:extLst>
                  <a:ext uri="{FF2B5EF4-FFF2-40B4-BE49-F238E27FC236}">
                    <a16:creationId xmlns:a16="http://schemas.microsoft.com/office/drawing/2014/main" id="{169BFBB7-3E4E-4A63-ADC7-4DBC8CF064CA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i$ḷïḓe">
                <a:extLst>
                  <a:ext uri="{FF2B5EF4-FFF2-40B4-BE49-F238E27FC236}">
                    <a16:creationId xmlns:a16="http://schemas.microsoft.com/office/drawing/2014/main" id="{78D4E1BC-1400-428A-A09E-B0137F0BAD38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îṥḻîďe">
                <a:extLst>
                  <a:ext uri="{FF2B5EF4-FFF2-40B4-BE49-F238E27FC236}">
                    <a16:creationId xmlns:a16="http://schemas.microsoft.com/office/drawing/2014/main" id="{D8195EC9-093F-405D-9372-ED29B3F181D9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îSľïḓê">
                <a:extLst>
                  <a:ext uri="{FF2B5EF4-FFF2-40B4-BE49-F238E27FC236}">
                    <a16:creationId xmlns:a16="http://schemas.microsoft.com/office/drawing/2014/main" id="{D380C995-6A53-446A-801E-448E03F1AF1A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í$ľiḓè">
                <a:extLst>
                  <a:ext uri="{FF2B5EF4-FFF2-40B4-BE49-F238E27FC236}">
                    <a16:creationId xmlns:a16="http://schemas.microsoft.com/office/drawing/2014/main" id="{7C0DA2F8-D545-4222-B5CE-D8F30D74B284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îṡļïḓè">
                <a:extLst>
                  <a:ext uri="{FF2B5EF4-FFF2-40B4-BE49-F238E27FC236}">
                    <a16:creationId xmlns:a16="http://schemas.microsoft.com/office/drawing/2014/main" id="{3B622418-725D-4D72-A0C0-B2D312182859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íṩľíďé">
                <a:extLst>
                  <a:ext uri="{FF2B5EF4-FFF2-40B4-BE49-F238E27FC236}">
                    <a16:creationId xmlns:a16="http://schemas.microsoft.com/office/drawing/2014/main" id="{8237B965-3182-4845-A7BC-59878B0D32AE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i$1îḑê">
                <a:extLst>
                  <a:ext uri="{FF2B5EF4-FFF2-40B4-BE49-F238E27FC236}">
                    <a16:creationId xmlns:a16="http://schemas.microsoft.com/office/drawing/2014/main" id="{4CCDB54B-34EB-4875-97E6-9A074DD27ADF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ïslíḑè">
                <a:extLst>
                  <a:ext uri="{FF2B5EF4-FFF2-40B4-BE49-F238E27FC236}">
                    <a16:creationId xmlns:a16="http://schemas.microsoft.com/office/drawing/2014/main" id="{42C60CB5-3FFC-4C0C-B2A2-8E5095E54562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ï$ľíḍè">
                <a:extLst>
                  <a:ext uri="{FF2B5EF4-FFF2-40B4-BE49-F238E27FC236}">
                    <a16:creationId xmlns:a16="http://schemas.microsoft.com/office/drawing/2014/main" id="{98AEC2D5-BACE-4916-B99D-F660DAD175CB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îšḻîḋê">
                <a:extLst>
                  <a:ext uri="{FF2B5EF4-FFF2-40B4-BE49-F238E27FC236}">
                    <a16:creationId xmlns:a16="http://schemas.microsoft.com/office/drawing/2014/main" id="{7DD34AB1-328A-4F77-A1AE-0EB1CB2EB437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í$ļïḑè">
                <a:extLst>
                  <a:ext uri="{FF2B5EF4-FFF2-40B4-BE49-F238E27FC236}">
                    <a16:creationId xmlns:a16="http://schemas.microsoft.com/office/drawing/2014/main" id="{6778BA52-605C-4756-8178-D4B946CD590E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íšlïdé">
                <a:extLst>
                  <a:ext uri="{FF2B5EF4-FFF2-40B4-BE49-F238E27FC236}">
                    <a16:creationId xmlns:a16="http://schemas.microsoft.com/office/drawing/2014/main" id="{7CA30878-433D-44A7-8CFA-27DBD5DB8BF3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9" name="矩形 117">
              <a:extLst>
                <a:ext uri="{FF2B5EF4-FFF2-40B4-BE49-F238E27FC236}">
                  <a16:creationId xmlns:a16="http://schemas.microsoft.com/office/drawing/2014/main" id="{EAA6546F-078A-4984-B7B7-0F2BD89B804A}"/>
                </a:ext>
              </a:extLst>
            </p:cNvPr>
            <p:cNvSpPr/>
            <p:nvPr/>
          </p:nvSpPr>
          <p:spPr>
            <a:xfrm>
              <a:off x="-4763" y="0"/>
              <a:ext cx="291300" cy="60402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300" h="6040207">
                  <a:moveTo>
                    <a:pt x="4763" y="0"/>
                  </a:moveTo>
                  <a:lnTo>
                    <a:pt x="291300" y="0"/>
                  </a:lnTo>
                  <a:lnTo>
                    <a:pt x="291300" y="5773507"/>
                  </a:lnTo>
                  <a:lnTo>
                    <a:pt x="0" y="6040207"/>
                  </a:lnTo>
                  <a:cubicBezTo>
                    <a:pt x="1588" y="4026805"/>
                    <a:pt x="3175" y="2013402"/>
                    <a:pt x="476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D20D7E56-33A2-4128-A7FC-68173952A52D}"/>
                </a:ext>
              </a:extLst>
            </p:cNvPr>
            <p:cNvSpPr/>
            <p:nvPr/>
          </p:nvSpPr>
          <p:spPr>
            <a:xfrm>
              <a:off x="11923222" y="0"/>
              <a:ext cx="268777" cy="686573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1D31C644-7FF5-4B30-925D-5C6311E3A477}"/>
                </a:ext>
              </a:extLst>
            </p:cNvPr>
            <p:cNvSpPr/>
            <p:nvPr/>
          </p:nvSpPr>
          <p:spPr>
            <a:xfrm>
              <a:off x="293673" y="1"/>
              <a:ext cx="11898326" cy="2147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956303" y="3683648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accent3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956303" y="3387377"/>
            <a:ext cx="44704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956303" y="1868017"/>
            <a:ext cx="4470400" cy="133294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166A3C3-BA40-4717-BA55-F450695B016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7EB720-DB4D-44DE-8F9F-0A4CA3F44A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B4E24AD-52CE-4347-BD19-C3EE3BBF5A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9924" y="6170619"/>
            <a:ext cx="1343025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emf"/><Relationship Id="rId5" Type="http://schemas.openxmlformats.org/officeDocument/2006/relationships/image" Target="../media/image20.emf"/><Relationship Id="rId4" Type="http://schemas.openxmlformats.org/officeDocument/2006/relationships/image" Target="../media/image24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04801" y="736758"/>
            <a:ext cx="5270038" cy="2692242"/>
          </a:xfrm>
          <a:noFill/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r>
              <a:rPr lang="en-US" altLang="zh-CN" sz="48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4800" dirty="0">
                <a:latin typeface=""/>
                <a:ea typeface="微软雅黑" panose="020B0503020204020204" pitchFamily="34" charset="-122"/>
                <a:sym typeface=""/>
              </a:rPr>
              <a:t>夏品类结构预估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32587" y="3782902"/>
            <a:ext cx="3320263" cy="483287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19.07.05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32587" y="3004306"/>
            <a:ext cx="5844995" cy="577093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基于渠道变更的影响因素          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latin typeface=""/>
                <a:ea typeface="微软雅黑" panose="020B0503020204020204" pitchFamily="34" charset="-122"/>
                <a:sym typeface=""/>
              </a:rPr>
              <a:t>大数据项目组    张欢欢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18687" y="5394305"/>
            <a:ext cx="5844996" cy="296392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u="none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拆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0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148E728-9C34-4DC7-9A44-25D731FC6A13}"/>
              </a:ext>
            </a:extLst>
          </p:cNvPr>
          <p:cNvSpPr txBox="1"/>
          <p:nvPr/>
        </p:nvSpPr>
        <p:spPr>
          <a:xfrm>
            <a:off x="5383369" y="584927"/>
            <a:ext cx="6200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同渠道因素下不同子因素影响不同</a:t>
            </a:r>
            <a:r>
              <a:rPr lang="en-US" altLang="zh-CN" dirty="0"/>
              <a:t>,</a:t>
            </a:r>
            <a:r>
              <a:rPr lang="zh-CN" altLang="en-US" dirty="0"/>
              <a:t>以及简单移动平均预测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8F56BF8-8E99-4B5A-AD52-54A7B7E37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1" y="1028700"/>
            <a:ext cx="10914202" cy="2428825"/>
          </a:xfrm>
          <a:prstGeom prst="rect">
            <a:avLst/>
          </a:prstGeom>
        </p:spPr>
      </p:pic>
      <p:sp>
        <p:nvSpPr>
          <p:cNvPr id="6" name="箭头: 下 5">
            <a:extLst>
              <a:ext uri="{FF2B5EF4-FFF2-40B4-BE49-F238E27FC236}">
                <a16:creationId xmlns:a16="http://schemas.microsoft.com/office/drawing/2014/main" id="{2E24D876-0ADB-4A26-B613-DE10DC8BE15E}"/>
              </a:ext>
            </a:extLst>
          </p:cNvPr>
          <p:cNvSpPr/>
          <p:nvPr/>
        </p:nvSpPr>
        <p:spPr>
          <a:xfrm rot="16200000">
            <a:off x="3539395" y="2279872"/>
            <a:ext cx="233680" cy="61976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757F4D1-E4D5-4D2F-900B-23C28F24F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1" y="3457525"/>
            <a:ext cx="10914202" cy="2815548"/>
          </a:xfrm>
          <a:prstGeom prst="rect">
            <a:avLst/>
          </a:prstGeom>
        </p:spPr>
      </p:pic>
      <p:sp>
        <p:nvSpPr>
          <p:cNvPr id="8" name="箭头: 下 7">
            <a:extLst>
              <a:ext uri="{FF2B5EF4-FFF2-40B4-BE49-F238E27FC236}">
                <a16:creationId xmlns:a16="http://schemas.microsoft.com/office/drawing/2014/main" id="{76DA4CA1-2A8E-41C6-BF75-1F7873F3CE7C}"/>
              </a:ext>
            </a:extLst>
          </p:cNvPr>
          <p:cNvSpPr/>
          <p:nvPr/>
        </p:nvSpPr>
        <p:spPr>
          <a:xfrm rot="14845530">
            <a:off x="3789679" y="4818703"/>
            <a:ext cx="233680" cy="61976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7859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拆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1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6F54DE-7349-4D97-969B-F9DC5F6474B1}"/>
              </a:ext>
            </a:extLst>
          </p:cNvPr>
          <p:cNvSpPr txBox="1"/>
          <p:nvPr/>
        </p:nvSpPr>
        <p:spPr>
          <a:xfrm>
            <a:off x="5247118" y="584927"/>
            <a:ext cx="6337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所以建模还要考虑到不同的子因素</a:t>
            </a:r>
            <a:r>
              <a:rPr lang="en-US" altLang="zh-CN" dirty="0"/>
              <a:t>,</a:t>
            </a:r>
            <a:r>
              <a:rPr lang="zh-CN" altLang="en-US" dirty="0"/>
              <a:t>而且不能简单的移动平均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601E110-D2F6-41A0-BE3D-A65892D51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2" y="1027618"/>
            <a:ext cx="10850562" cy="1850664"/>
          </a:xfrm>
          <a:prstGeom prst="rect">
            <a:avLst/>
          </a:prstGeom>
        </p:spPr>
      </p:pic>
      <p:sp>
        <p:nvSpPr>
          <p:cNvPr id="10" name="箭头: 下 9">
            <a:extLst>
              <a:ext uri="{FF2B5EF4-FFF2-40B4-BE49-F238E27FC236}">
                <a16:creationId xmlns:a16="http://schemas.microsoft.com/office/drawing/2014/main" id="{A08D7999-B050-4AAE-B194-6528207B630E}"/>
              </a:ext>
            </a:extLst>
          </p:cNvPr>
          <p:cNvSpPr/>
          <p:nvPr/>
        </p:nvSpPr>
        <p:spPr>
          <a:xfrm>
            <a:off x="3853143" y="1856406"/>
            <a:ext cx="233680" cy="61976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D34CD77-43AB-4917-B4A9-6564D3AE7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2" y="2814234"/>
            <a:ext cx="10850562" cy="172114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F70D29D-9C54-488A-A8E9-5025EF7279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9294" y="3846025"/>
            <a:ext cx="607288" cy="267388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763EE2DD-42BF-4851-B3E8-254547EEE5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2" y="4522225"/>
            <a:ext cx="10850562" cy="1785534"/>
          </a:xfrm>
          <a:prstGeom prst="rect">
            <a:avLst/>
          </a:prstGeom>
        </p:spPr>
      </p:pic>
      <p:sp>
        <p:nvSpPr>
          <p:cNvPr id="12" name="箭头: 下 11">
            <a:extLst>
              <a:ext uri="{FF2B5EF4-FFF2-40B4-BE49-F238E27FC236}">
                <a16:creationId xmlns:a16="http://schemas.microsoft.com/office/drawing/2014/main" id="{3217A6AB-60FD-4D40-898D-E6AA2919D692}"/>
              </a:ext>
            </a:extLst>
          </p:cNvPr>
          <p:cNvSpPr/>
          <p:nvPr/>
        </p:nvSpPr>
        <p:spPr>
          <a:xfrm rot="17946041">
            <a:off x="4489761" y="5357911"/>
            <a:ext cx="233680" cy="61976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3249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原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考虑的主要方面</a:t>
            </a:r>
            <a:endParaRPr lang="en-US" altLang="zh-CN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的计算逻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2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7816911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EB85B5-B590-4CAC-9AEF-4494F146A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项目背景介绍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——</a:t>
            </a:r>
            <a:r>
              <a:rPr lang="zh-CN" altLang="en-US" b="0" dirty="0">
                <a:latin typeface=""/>
                <a:ea typeface="微软雅黑" panose="020B0503020204020204" pitchFamily="34" charset="-122"/>
                <a:sym typeface=""/>
              </a:rPr>
              <a:t>思路汇总</a:t>
            </a:r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611BD17-C174-4D4E-A8B1-6EC2ED56F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3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243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F42C573-6B93-44FE-B94C-C67AF01DD40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30265"/>
            <a:ext cx="10849432" cy="5727735"/>
            <a:chOff x="673100" y="1130300"/>
            <a:chExt cx="10849432" cy="5727735"/>
          </a:xfrm>
        </p:grpSpPr>
        <p:sp>
          <p:nvSpPr>
            <p:cNvPr id="6" name="íśļíďê">
              <a:extLst>
                <a:ext uri="{FF2B5EF4-FFF2-40B4-BE49-F238E27FC236}">
                  <a16:creationId xmlns:a16="http://schemas.microsoft.com/office/drawing/2014/main" id="{1921DB37-A430-416A-AD22-0317804BFDBF}"/>
                </a:ext>
              </a:extLst>
            </p:cNvPr>
            <p:cNvSpPr/>
            <p:nvPr/>
          </p:nvSpPr>
          <p:spPr bwMode="auto">
            <a:xfrm>
              <a:off x="6678830" y="3247365"/>
              <a:ext cx="1833563" cy="1826567"/>
            </a:xfrm>
            <a:custGeom>
              <a:avLst/>
              <a:gdLst>
                <a:gd name="T0" fmla="*/ 586 w 586"/>
                <a:gd name="T1" fmla="*/ 0 h 835"/>
                <a:gd name="T2" fmla="*/ 515 w 586"/>
                <a:gd name="T3" fmla="*/ 8 h 835"/>
                <a:gd name="T4" fmla="*/ 515 w 586"/>
                <a:gd name="T5" fmla="*/ 0 h 835"/>
                <a:gd name="T6" fmla="*/ 491 w 586"/>
                <a:gd name="T7" fmla="*/ 8 h 835"/>
                <a:gd name="T8" fmla="*/ 468 w 586"/>
                <a:gd name="T9" fmla="*/ 8 h 835"/>
                <a:gd name="T10" fmla="*/ 444 w 586"/>
                <a:gd name="T11" fmla="*/ 0 h 835"/>
                <a:gd name="T12" fmla="*/ 373 w 586"/>
                <a:gd name="T13" fmla="*/ 8 h 835"/>
                <a:gd name="T14" fmla="*/ 373 w 586"/>
                <a:gd name="T15" fmla="*/ 0 h 835"/>
                <a:gd name="T16" fmla="*/ 349 w 586"/>
                <a:gd name="T17" fmla="*/ 8 h 835"/>
                <a:gd name="T18" fmla="*/ 326 w 586"/>
                <a:gd name="T19" fmla="*/ 8 h 835"/>
                <a:gd name="T20" fmla="*/ 302 w 586"/>
                <a:gd name="T21" fmla="*/ 0 h 835"/>
                <a:gd name="T22" fmla="*/ 231 w 586"/>
                <a:gd name="T23" fmla="*/ 8 h 835"/>
                <a:gd name="T24" fmla="*/ 231 w 586"/>
                <a:gd name="T25" fmla="*/ 0 h 835"/>
                <a:gd name="T26" fmla="*/ 207 w 586"/>
                <a:gd name="T27" fmla="*/ 8 h 835"/>
                <a:gd name="T28" fmla="*/ 184 w 586"/>
                <a:gd name="T29" fmla="*/ 8 h 835"/>
                <a:gd name="T30" fmla="*/ 160 w 586"/>
                <a:gd name="T31" fmla="*/ 0 h 835"/>
                <a:gd name="T32" fmla="*/ 89 w 586"/>
                <a:gd name="T33" fmla="*/ 8 h 835"/>
                <a:gd name="T34" fmla="*/ 89 w 586"/>
                <a:gd name="T35" fmla="*/ 0 h 835"/>
                <a:gd name="T36" fmla="*/ 44 w 586"/>
                <a:gd name="T37" fmla="*/ 8 h 835"/>
                <a:gd name="T38" fmla="*/ 44 w 586"/>
                <a:gd name="T39" fmla="*/ 0 h 835"/>
                <a:gd name="T40" fmla="*/ 10 w 586"/>
                <a:gd name="T41" fmla="*/ 31 h 835"/>
                <a:gd name="T42" fmla="*/ 2 w 586"/>
                <a:gd name="T43" fmla="*/ 29 h 835"/>
                <a:gd name="T44" fmla="*/ 8 w 586"/>
                <a:gd name="T45" fmla="*/ 53 h 835"/>
                <a:gd name="T46" fmla="*/ 8 w 586"/>
                <a:gd name="T47" fmla="*/ 77 h 835"/>
                <a:gd name="T48" fmla="*/ 0 w 586"/>
                <a:gd name="T49" fmla="*/ 101 h 835"/>
                <a:gd name="T50" fmla="*/ 8 w 586"/>
                <a:gd name="T51" fmla="*/ 172 h 835"/>
                <a:gd name="T52" fmla="*/ 0 w 586"/>
                <a:gd name="T53" fmla="*/ 172 h 835"/>
                <a:gd name="T54" fmla="*/ 8 w 586"/>
                <a:gd name="T55" fmla="*/ 195 h 835"/>
                <a:gd name="T56" fmla="*/ 8 w 586"/>
                <a:gd name="T57" fmla="*/ 219 h 835"/>
                <a:gd name="T58" fmla="*/ 0 w 586"/>
                <a:gd name="T59" fmla="*/ 243 h 835"/>
                <a:gd name="T60" fmla="*/ 8 w 586"/>
                <a:gd name="T61" fmla="*/ 314 h 835"/>
                <a:gd name="T62" fmla="*/ 0 w 586"/>
                <a:gd name="T63" fmla="*/ 314 h 835"/>
                <a:gd name="T64" fmla="*/ 8 w 586"/>
                <a:gd name="T65" fmla="*/ 337 h 835"/>
                <a:gd name="T66" fmla="*/ 8 w 586"/>
                <a:gd name="T67" fmla="*/ 361 h 835"/>
                <a:gd name="T68" fmla="*/ 0 w 586"/>
                <a:gd name="T69" fmla="*/ 385 h 835"/>
                <a:gd name="T70" fmla="*/ 8 w 586"/>
                <a:gd name="T71" fmla="*/ 456 h 835"/>
                <a:gd name="T72" fmla="*/ 0 w 586"/>
                <a:gd name="T73" fmla="*/ 456 h 835"/>
                <a:gd name="T74" fmla="*/ 8 w 586"/>
                <a:gd name="T75" fmla="*/ 480 h 835"/>
                <a:gd name="T76" fmla="*/ 8 w 586"/>
                <a:gd name="T77" fmla="*/ 503 h 835"/>
                <a:gd name="T78" fmla="*/ 0 w 586"/>
                <a:gd name="T79" fmla="*/ 527 h 835"/>
                <a:gd name="T80" fmla="*/ 8 w 586"/>
                <a:gd name="T81" fmla="*/ 598 h 835"/>
                <a:gd name="T82" fmla="*/ 0 w 586"/>
                <a:gd name="T83" fmla="*/ 598 h 835"/>
                <a:gd name="T84" fmla="*/ 8 w 586"/>
                <a:gd name="T85" fmla="*/ 622 h 835"/>
                <a:gd name="T86" fmla="*/ 8 w 586"/>
                <a:gd name="T87" fmla="*/ 645 h 835"/>
                <a:gd name="T88" fmla="*/ 0 w 586"/>
                <a:gd name="T89" fmla="*/ 669 h 835"/>
                <a:gd name="T90" fmla="*/ 8 w 586"/>
                <a:gd name="T91" fmla="*/ 740 h 835"/>
                <a:gd name="T92" fmla="*/ 0 w 586"/>
                <a:gd name="T93" fmla="*/ 740 h 835"/>
                <a:gd name="T94" fmla="*/ 8 w 586"/>
                <a:gd name="T95" fmla="*/ 764 h 835"/>
                <a:gd name="T96" fmla="*/ 8 w 586"/>
                <a:gd name="T97" fmla="*/ 787 h 835"/>
                <a:gd name="T98" fmla="*/ 0 w 586"/>
                <a:gd name="T99" fmla="*/ 811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6" h="835">
                  <a:moveTo>
                    <a:pt x="562" y="8"/>
                  </a:moveTo>
                  <a:cubicBezTo>
                    <a:pt x="586" y="8"/>
                    <a:pt x="586" y="8"/>
                    <a:pt x="586" y="8"/>
                  </a:cubicBezTo>
                  <a:cubicBezTo>
                    <a:pt x="586" y="0"/>
                    <a:pt x="586" y="0"/>
                    <a:pt x="586" y="0"/>
                  </a:cubicBezTo>
                  <a:cubicBezTo>
                    <a:pt x="562" y="0"/>
                    <a:pt x="562" y="0"/>
                    <a:pt x="562" y="0"/>
                  </a:cubicBezTo>
                  <a:lnTo>
                    <a:pt x="562" y="8"/>
                  </a:lnTo>
                  <a:close/>
                  <a:moveTo>
                    <a:pt x="515" y="8"/>
                  </a:moveTo>
                  <a:cubicBezTo>
                    <a:pt x="539" y="8"/>
                    <a:pt x="539" y="8"/>
                    <a:pt x="539" y="8"/>
                  </a:cubicBezTo>
                  <a:cubicBezTo>
                    <a:pt x="539" y="0"/>
                    <a:pt x="539" y="0"/>
                    <a:pt x="539" y="0"/>
                  </a:cubicBezTo>
                  <a:cubicBezTo>
                    <a:pt x="515" y="0"/>
                    <a:pt x="515" y="0"/>
                    <a:pt x="515" y="0"/>
                  </a:cubicBezTo>
                  <a:lnTo>
                    <a:pt x="515" y="8"/>
                  </a:lnTo>
                  <a:close/>
                  <a:moveTo>
                    <a:pt x="468" y="8"/>
                  </a:moveTo>
                  <a:cubicBezTo>
                    <a:pt x="491" y="8"/>
                    <a:pt x="491" y="8"/>
                    <a:pt x="491" y="8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468" y="0"/>
                    <a:pt x="468" y="0"/>
                    <a:pt x="468" y="0"/>
                  </a:cubicBezTo>
                  <a:lnTo>
                    <a:pt x="468" y="8"/>
                  </a:lnTo>
                  <a:close/>
                  <a:moveTo>
                    <a:pt x="420" y="8"/>
                  </a:moveTo>
                  <a:cubicBezTo>
                    <a:pt x="444" y="8"/>
                    <a:pt x="444" y="8"/>
                    <a:pt x="444" y="8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420" y="8"/>
                  </a:lnTo>
                  <a:close/>
                  <a:moveTo>
                    <a:pt x="373" y="8"/>
                  </a:moveTo>
                  <a:cubicBezTo>
                    <a:pt x="397" y="8"/>
                    <a:pt x="397" y="8"/>
                    <a:pt x="397" y="8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3" y="0"/>
                    <a:pt x="373" y="0"/>
                    <a:pt x="373" y="0"/>
                  </a:cubicBezTo>
                  <a:lnTo>
                    <a:pt x="373" y="8"/>
                  </a:lnTo>
                  <a:close/>
                  <a:moveTo>
                    <a:pt x="326" y="8"/>
                  </a:moveTo>
                  <a:cubicBezTo>
                    <a:pt x="349" y="8"/>
                    <a:pt x="349" y="8"/>
                    <a:pt x="349" y="8"/>
                  </a:cubicBezTo>
                  <a:cubicBezTo>
                    <a:pt x="349" y="0"/>
                    <a:pt x="349" y="0"/>
                    <a:pt x="349" y="0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326" y="8"/>
                  </a:lnTo>
                  <a:close/>
                  <a:moveTo>
                    <a:pt x="278" y="8"/>
                  </a:moveTo>
                  <a:cubicBezTo>
                    <a:pt x="302" y="8"/>
                    <a:pt x="302" y="8"/>
                    <a:pt x="302" y="8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8"/>
                  </a:lnTo>
                  <a:close/>
                  <a:moveTo>
                    <a:pt x="231" y="8"/>
                  </a:moveTo>
                  <a:cubicBezTo>
                    <a:pt x="255" y="8"/>
                    <a:pt x="255" y="8"/>
                    <a:pt x="255" y="8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231" y="8"/>
                  </a:lnTo>
                  <a:close/>
                  <a:moveTo>
                    <a:pt x="184" y="8"/>
                  </a:moveTo>
                  <a:cubicBezTo>
                    <a:pt x="207" y="8"/>
                    <a:pt x="207" y="8"/>
                    <a:pt x="207" y="8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184" y="0"/>
                    <a:pt x="184" y="0"/>
                    <a:pt x="184" y="0"/>
                  </a:cubicBezTo>
                  <a:lnTo>
                    <a:pt x="184" y="8"/>
                  </a:lnTo>
                  <a:close/>
                  <a:moveTo>
                    <a:pt x="136" y="8"/>
                  </a:moveTo>
                  <a:cubicBezTo>
                    <a:pt x="160" y="8"/>
                    <a:pt x="160" y="8"/>
                    <a:pt x="160" y="8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36" y="0"/>
                    <a:pt x="136" y="0"/>
                    <a:pt x="136" y="0"/>
                  </a:cubicBezTo>
                  <a:lnTo>
                    <a:pt x="136" y="8"/>
                  </a:lnTo>
                  <a:close/>
                  <a:moveTo>
                    <a:pt x="89" y="8"/>
                  </a:moveTo>
                  <a:cubicBezTo>
                    <a:pt x="113" y="8"/>
                    <a:pt x="113" y="8"/>
                    <a:pt x="113" y="8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8"/>
                  </a:lnTo>
                  <a:close/>
                  <a:moveTo>
                    <a:pt x="42" y="8"/>
                  </a:moveTo>
                  <a:cubicBezTo>
                    <a:pt x="42" y="8"/>
                    <a:pt x="43" y="8"/>
                    <a:pt x="44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3" y="0"/>
                    <a:pt x="42" y="0"/>
                    <a:pt x="41" y="0"/>
                  </a:cubicBezTo>
                  <a:cubicBezTo>
                    <a:pt x="42" y="8"/>
                    <a:pt x="42" y="8"/>
                    <a:pt x="42" y="8"/>
                  </a:cubicBezTo>
                  <a:close/>
                  <a:moveTo>
                    <a:pt x="10" y="31"/>
                  </a:moveTo>
                  <a:cubicBezTo>
                    <a:pt x="12" y="24"/>
                    <a:pt x="16" y="18"/>
                    <a:pt x="21" y="14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9" y="13"/>
                    <a:pt x="5" y="20"/>
                    <a:pt x="2" y="29"/>
                  </a:cubicBezTo>
                  <a:cubicBezTo>
                    <a:pt x="10" y="31"/>
                    <a:pt x="10" y="31"/>
                    <a:pt x="10" y="31"/>
                  </a:cubicBezTo>
                  <a:close/>
                  <a:moveTo>
                    <a:pt x="8" y="77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8" y="124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24"/>
                    <a:pt x="0" y="124"/>
                    <a:pt x="0" y="124"/>
                  </a:cubicBezTo>
                  <a:lnTo>
                    <a:pt x="8" y="124"/>
                  </a:lnTo>
                  <a:close/>
                  <a:moveTo>
                    <a:pt x="8" y="172"/>
                  </a:moveTo>
                  <a:cubicBezTo>
                    <a:pt x="8" y="148"/>
                    <a:pt x="8" y="148"/>
                    <a:pt x="8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72"/>
                    <a:pt x="0" y="172"/>
                    <a:pt x="0" y="172"/>
                  </a:cubicBezTo>
                  <a:lnTo>
                    <a:pt x="8" y="172"/>
                  </a:lnTo>
                  <a:close/>
                  <a:moveTo>
                    <a:pt x="8" y="219"/>
                  </a:moveTo>
                  <a:cubicBezTo>
                    <a:pt x="8" y="195"/>
                    <a:pt x="8" y="195"/>
                    <a:pt x="8" y="19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19"/>
                    <a:pt x="0" y="219"/>
                    <a:pt x="0" y="219"/>
                  </a:cubicBezTo>
                  <a:lnTo>
                    <a:pt x="8" y="219"/>
                  </a:lnTo>
                  <a:close/>
                  <a:moveTo>
                    <a:pt x="8" y="266"/>
                  </a:moveTo>
                  <a:cubicBezTo>
                    <a:pt x="8" y="243"/>
                    <a:pt x="8" y="243"/>
                    <a:pt x="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266"/>
                    <a:pt x="0" y="266"/>
                    <a:pt x="0" y="266"/>
                  </a:cubicBezTo>
                  <a:lnTo>
                    <a:pt x="8" y="266"/>
                  </a:lnTo>
                  <a:close/>
                  <a:moveTo>
                    <a:pt x="8" y="314"/>
                  </a:moveTo>
                  <a:cubicBezTo>
                    <a:pt x="8" y="290"/>
                    <a:pt x="8" y="290"/>
                    <a:pt x="8" y="290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314"/>
                    <a:pt x="0" y="314"/>
                    <a:pt x="0" y="314"/>
                  </a:cubicBezTo>
                  <a:lnTo>
                    <a:pt x="8" y="314"/>
                  </a:lnTo>
                  <a:close/>
                  <a:moveTo>
                    <a:pt x="8" y="361"/>
                  </a:moveTo>
                  <a:cubicBezTo>
                    <a:pt x="8" y="337"/>
                    <a:pt x="8" y="337"/>
                    <a:pt x="8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61"/>
                    <a:pt x="0" y="361"/>
                    <a:pt x="0" y="361"/>
                  </a:cubicBezTo>
                  <a:lnTo>
                    <a:pt x="8" y="361"/>
                  </a:lnTo>
                  <a:close/>
                  <a:moveTo>
                    <a:pt x="8" y="408"/>
                  </a:moveTo>
                  <a:cubicBezTo>
                    <a:pt x="8" y="385"/>
                    <a:pt x="8" y="385"/>
                    <a:pt x="8" y="385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408"/>
                    <a:pt x="0" y="408"/>
                    <a:pt x="0" y="408"/>
                  </a:cubicBezTo>
                  <a:lnTo>
                    <a:pt x="8" y="408"/>
                  </a:lnTo>
                  <a:close/>
                  <a:moveTo>
                    <a:pt x="8" y="456"/>
                  </a:moveTo>
                  <a:cubicBezTo>
                    <a:pt x="8" y="432"/>
                    <a:pt x="8" y="432"/>
                    <a:pt x="8" y="432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56"/>
                    <a:pt x="0" y="456"/>
                    <a:pt x="0" y="456"/>
                  </a:cubicBezTo>
                  <a:lnTo>
                    <a:pt x="8" y="456"/>
                  </a:lnTo>
                  <a:close/>
                  <a:moveTo>
                    <a:pt x="8" y="503"/>
                  </a:moveTo>
                  <a:cubicBezTo>
                    <a:pt x="8" y="480"/>
                    <a:pt x="8" y="480"/>
                    <a:pt x="8" y="480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503"/>
                    <a:pt x="0" y="503"/>
                    <a:pt x="0" y="503"/>
                  </a:cubicBezTo>
                  <a:lnTo>
                    <a:pt x="8" y="503"/>
                  </a:lnTo>
                  <a:close/>
                  <a:moveTo>
                    <a:pt x="8" y="551"/>
                  </a:moveTo>
                  <a:cubicBezTo>
                    <a:pt x="8" y="527"/>
                    <a:pt x="8" y="527"/>
                    <a:pt x="8" y="527"/>
                  </a:cubicBezTo>
                  <a:cubicBezTo>
                    <a:pt x="0" y="527"/>
                    <a:pt x="0" y="527"/>
                    <a:pt x="0" y="527"/>
                  </a:cubicBezTo>
                  <a:cubicBezTo>
                    <a:pt x="0" y="551"/>
                    <a:pt x="0" y="551"/>
                    <a:pt x="0" y="551"/>
                  </a:cubicBezTo>
                  <a:lnTo>
                    <a:pt x="8" y="551"/>
                  </a:lnTo>
                  <a:close/>
                  <a:moveTo>
                    <a:pt x="8" y="598"/>
                  </a:moveTo>
                  <a:cubicBezTo>
                    <a:pt x="8" y="574"/>
                    <a:pt x="8" y="574"/>
                    <a:pt x="8" y="574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98"/>
                    <a:pt x="0" y="598"/>
                    <a:pt x="0" y="598"/>
                  </a:cubicBezTo>
                  <a:lnTo>
                    <a:pt x="8" y="598"/>
                  </a:lnTo>
                  <a:close/>
                  <a:moveTo>
                    <a:pt x="8" y="645"/>
                  </a:moveTo>
                  <a:cubicBezTo>
                    <a:pt x="8" y="622"/>
                    <a:pt x="8" y="622"/>
                    <a:pt x="8" y="622"/>
                  </a:cubicBezTo>
                  <a:cubicBezTo>
                    <a:pt x="0" y="622"/>
                    <a:pt x="0" y="622"/>
                    <a:pt x="0" y="622"/>
                  </a:cubicBezTo>
                  <a:cubicBezTo>
                    <a:pt x="0" y="645"/>
                    <a:pt x="0" y="645"/>
                    <a:pt x="0" y="645"/>
                  </a:cubicBezTo>
                  <a:lnTo>
                    <a:pt x="8" y="645"/>
                  </a:lnTo>
                  <a:close/>
                  <a:moveTo>
                    <a:pt x="8" y="693"/>
                  </a:moveTo>
                  <a:cubicBezTo>
                    <a:pt x="8" y="669"/>
                    <a:pt x="8" y="669"/>
                    <a:pt x="8" y="669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0" y="693"/>
                    <a:pt x="0" y="693"/>
                    <a:pt x="0" y="693"/>
                  </a:cubicBezTo>
                  <a:lnTo>
                    <a:pt x="8" y="693"/>
                  </a:lnTo>
                  <a:close/>
                  <a:moveTo>
                    <a:pt x="8" y="740"/>
                  </a:moveTo>
                  <a:cubicBezTo>
                    <a:pt x="8" y="716"/>
                    <a:pt x="8" y="716"/>
                    <a:pt x="8" y="716"/>
                  </a:cubicBezTo>
                  <a:cubicBezTo>
                    <a:pt x="0" y="716"/>
                    <a:pt x="0" y="716"/>
                    <a:pt x="0" y="716"/>
                  </a:cubicBezTo>
                  <a:cubicBezTo>
                    <a:pt x="0" y="740"/>
                    <a:pt x="0" y="740"/>
                    <a:pt x="0" y="740"/>
                  </a:cubicBezTo>
                  <a:lnTo>
                    <a:pt x="8" y="740"/>
                  </a:lnTo>
                  <a:close/>
                  <a:moveTo>
                    <a:pt x="8" y="787"/>
                  </a:moveTo>
                  <a:cubicBezTo>
                    <a:pt x="8" y="764"/>
                    <a:pt x="8" y="764"/>
                    <a:pt x="8" y="764"/>
                  </a:cubicBezTo>
                  <a:cubicBezTo>
                    <a:pt x="0" y="764"/>
                    <a:pt x="0" y="764"/>
                    <a:pt x="0" y="764"/>
                  </a:cubicBezTo>
                  <a:cubicBezTo>
                    <a:pt x="0" y="787"/>
                    <a:pt x="0" y="787"/>
                    <a:pt x="0" y="787"/>
                  </a:cubicBezTo>
                  <a:lnTo>
                    <a:pt x="8" y="787"/>
                  </a:lnTo>
                  <a:close/>
                  <a:moveTo>
                    <a:pt x="8" y="835"/>
                  </a:moveTo>
                  <a:cubicBezTo>
                    <a:pt x="8" y="811"/>
                    <a:pt x="8" y="811"/>
                    <a:pt x="8" y="811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0" y="835"/>
                    <a:pt x="0" y="835"/>
                    <a:pt x="0" y="835"/>
                  </a:cubicBezTo>
                  <a:lnTo>
                    <a:pt x="8" y="8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7" name="íṥḷîḋê">
              <a:extLst>
                <a:ext uri="{FF2B5EF4-FFF2-40B4-BE49-F238E27FC236}">
                  <a16:creationId xmlns:a16="http://schemas.microsoft.com/office/drawing/2014/main" id="{FB5EF7D1-14E9-4DC0-B6B5-69B8730D01D0}"/>
                </a:ext>
              </a:extLst>
            </p:cNvPr>
            <p:cNvGrpSpPr/>
            <p:nvPr/>
          </p:nvGrpSpPr>
          <p:grpSpPr>
            <a:xfrm>
              <a:off x="8700471" y="2735253"/>
              <a:ext cx="2822061" cy="1308272"/>
              <a:chOff x="8563614" y="4934816"/>
              <a:chExt cx="2955286" cy="1308272"/>
            </a:xfrm>
          </p:grpSpPr>
          <p:sp>
            <p:nvSpPr>
              <p:cNvPr id="63" name="iṩlíḋe">
                <a:extLst>
                  <a:ext uri="{FF2B5EF4-FFF2-40B4-BE49-F238E27FC236}">
                    <a16:creationId xmlns:a16="http://schemas.microsoft.com/office/drawing/2014/main" id="{11C6934D-2018-45B8-9CAD-A0373DA02EB2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b="1" dirty="0">
                    <a:latin typeface=""/>
                    <a:ea typeface="微软雅黑" panose="020B0503020204020204" pitchFamily="34" charset="-122"/>
                    <a:sym typeface=""/>
                  </a:rPr>
                  <a:t>D.</a:t>
                </a:r>
                <a:r>
                  <a:rPr lang="zh-CN" altLang="en-US" b="1" dirty="0">
                    <a:latin typeface=""/>
                    <a:ea typeface="微软雅黑" panose="020B0503020204020204" pitchFamily="34" charset="-122"/>
                    <a:sym typeface=""/>
                  </a:rPr>
                  <a:t>模型预测评测</a:t>
                </a:r>
                <a:endParaRPr lang="en-US" altLang="zh-CN" b="1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4" name="ï$ḷíḋè">
                <a:extLst>
                  <a:ext uri="{FF2B5EF4-FFF2-40B4-BE49-F238E27FC236}">
                    <a16:creationId xmlns:a16="http://schemas.microsoft.com/office/drawing/2014/main" id="{4278434D-2606-4C28-B801-BFA8A4C58238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8279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8" name="iş1íḋé">
              <a:extLst>
                <a:ext uri="{FF2B5EF4-FFF2-40B4-BE49-F238E27FC236}">
                  <a16:creationId xmlns:a16="http://schemas.microsoft.com/office/drawing/2014/main" id="{27C3008E-FDFE-4B90-AF34-EB1E555B623E}"/>
                </a:ext>
              </a:extLst>
            </p:cNvPr>
            <p:cNvSpPr/>
            <p:nvPr/>
          </p:nvSpPr>
          <p:spPr bwMode="auto">
            <a:xfrm>
              <a:off x="6093241" y="4423277"/>
              <a:ext cx="3357161" cy="1993398"/>
            </a:xfrm>
            <a:custGeom>
              <a:avLst/>
              <a:gdLst>
                <a:gd name="T0" fmla="*/ 903 w 1046"/>
                <a:gd name="T1" fmla="*/ 342 h 620"/>
                <a:gd name="T2" fmla="*/ 736 w 1046"/>
                <a:gd name="T3" fmla="*/ 143 h 620"/>
                <a:gd name="T4" fmla="*/ 535 w 1046"/>
                <a:gd name="T5" fmla="*/ 2 h 620"/>
                <a:gd name="T6" fmla="*/ 535 w 1046"/>
                <a:gd name="T7" fmla="*/ 2 h 620"/>
                <a:gd name="T8" fmla="*/ 520 w 1046"/>
                <a:gd name="T9" fmla="*/ 0 h 620"/>
                <a:gd name="T10" fmla="*/ 518 w 1046"/>
                <a:gd name="T11" fmla="*/ 0 h 620"/>
                <a:gd name="T12" fmla="*/ 512 w 1046"/>
                <a:gd name="T13" fmla="*/ 0 h 620"/>
                <a:gd name="T14" fmla="*/ 494 w 1046"/>
                <a:gd name="T15" fmla="*/ 0 h 620"/>
                <a:gd name="T16" fmla="*/ 482 w 1046"/>
                <a:gd name="T17" fmla="*/ 1 h 620"/>
                <a:gd name="T18" fmla="*/ 472 w 1046"/>
                <a:gd name="T19" fmla="*/ 2 h 620"/>
                <a:gd name="T20" fmla="*/ 460 w 1046"/>
                <a:gd name="T21" fmla="*/ 4 h 620"/>
                <a:gd name="T22" fmla="*/ 450 w 1046"/>
                <a:gd name="T23" fmla="*/ 6 h 620"/>
                <a:gd name="T24" fmla="*/ 439 w 1046"/>
                <a:gd name="T25" fmla="*/ 9 h 620"/>
                <a:gd name="T26" fmla="*/ 430 w 1046"/>
                <a:gd name="T27" fmla="*/ 12 h 620"/>
                <a:gd name="T28" fmla="*/ 419 w 1046"/>
                <a:gd name="T29" fmla="*/ 17 h 620"/>
                <a:gd name="T30" fmla="*/ 410 w 1046"/>
                <a:gd name="T31" fmla="*/ 21 h 620"/>
                <a:gd name="T32" fmla="*/ 400 w 1046"/>
                <a:gd name="T33" fmla="*/ 26 h 620"/>
                <a:gd name="T34" fmla="*/ 392 w 1046"/>
                <a:gd name="T35" fmla="*/ 30 h 620"/>
                <a:gd name="T36" fmla="*/ 382 w 1046"/>
                <a:gd name="T37" fmla="*/ 36 h 620"/>
                <a:gd name="T38" fmla="*/ 374 w 1046"/>
                <a:gd name="T39" fmla="*/ 42 h 620"/>
                <a:gd name="T40" fmla="*/ 365 w 1046"/>
                <a:gd name="T41" fmla="*/ 49 h 620"/>
                <a:gd name="T42" fmla="*/ 358 w 1046"/>
                <a:gd name="T43" fmla="*/ 55 h 620"/>
                <a:gd name="T44" fmla="*/ 350 w 1046"/>
                <a:gd name="T45" fmla="*/ 62 h 620"/>
                <a:gd name="T46" fmla="*/ 343 w 1046"/>
                <a:gd name="T47" fmla="*/ 69 h 620"/>
                <a:gd name="T48" fmla="*/ 336 w 1046"/>
                <a:gd name="T49" fmla="*/ 78 h 620"/>
                <a:gd name="T50" fmla="*/ 330 w 1046"/>
                <a:gd name="T51" fmla="*/ 85 h 620"/>
                <a:gd name="T52" fmla="*/ 323 w 1046"/>
                <a:gd name="T53" fmla="*/ 94 h 620"/>
                <a:gd name="T54" fmla="*/ 318 w 1046"/>
                <a:gd name="T55" fmla="*/ 102 h 620"/>
                <a:gd name="T56" fmla="*/ 284 w 1046"/>
                <a:gd name="T57" fmla="*/ 101 h 620"/>
                <a:gd name="T58" fmla="*/ 114 w 1046"/>
                <a:gd name="T59" fmla="*/ 282 h 620"/>
                <a:gd name="T60" fmla="*/ 114 w 1046"/>
                <a:gd name="T61" fmla="*/ 545 h 620"/>
                <a:gd name="T62" fmla="*/ 156 w 1046"/>
                <a:gd name="T63" fmla="*/ 547 h 620"/>
                <a:gd name="T64" fmla="*/ 298 w 1046"/>
                <a:gd name="T65" fmla="*/ 610 h 620"/>
                <a:gd name="T66" fmla="*/ 307 w 1046"/>
                <a:gd name="T67" fmla="*/ 610 h 620"/>
                <a:gd name="T68" fmla="*/ 316 w 1046"/>
                <a:gd name="T69" fmla="*/ 609 h 620"/>
                <a:gd name="T70" fmla="*/ 324 w 1046"/>
                <a:gd name="T71" fmla="*/ 607 h 620"/>
                <a:gd name="T72" fmla="*/ 333 w 1046"/>
                <a:gd name="T73" fmla="*/ 605 h 620"/>
                <a:gd name="T74" fmla="*/ 341 w 1046"/>
                <a:gd name="T75" fmla="*/ 603 h 620"/>
                <a:gd name="T76" fmla="*/ 349 w 1046"/>
                <a:gd name="T77" fmla="*/ 600 h 620"/>
                <a:gd name="T78" fmla="*/ 357 w 1046"/>
                <a:gd name="T79" fmla="*/ 597 h 620"/>
                <a:gd name="T80" fmla="*/ 364 w 1046"/>
                <a:gd name="T81" fmla="*/ 593 h 620"/>
                <a:gd name="T82" fmla="*/ 372 w 1046"/>
                <a:gd name="T83" fmla="*/ 589 h 620"/>
                <a:gd name="T84" fmla="*/ 379 w 1046"/>
                <a:gd name="T85" fmla="*/ 585 h 620"/>
                <a:gd name="T86" fmla="*/ 386 w 1046"/>
                <a:gd name="T87" fmla="*/ 580 h 620"/>
                <a:gd name="T88" fmla="*/ 393 w 1046"/>
                <a:gd name="T89" fmla="*/ 575 h 620"/>
                <a:gd name="T90" fmla="*/ 399 w 1046"/>
                <a:gd name="T91" fmla="*/ 570 h 620"/>
                <a:gd name="T92" fmla="*/ 405 w 1046"/>
                <a:gd name="T93" fmla="*/ 564 h 620"/>
                <a:gd name="T94" fmla="*/ 411 w 1046"/>
                <a:gd name="T95" fmla="*/ 558 h 620"/>
                <a:gd name="T96" fmla="*/ 411 w 1046"/>
                <a:gd name="T97" fmla="*/ 558 h 620"/>
                <a:gd name="T98" fmla="*/ 423 w 1046"/>
                <a:gd name="T99" fmla="*/ 565 h 620"/>
                <a:gd name="T100" fmla="*/ 432 w 1046"/>
                <a:gd name="T101" fmla="*/ 569 h 620"/>
                <a:gd name="T102" fmla="*/ 443 w 1046"/>
                <a:gd name="T103" fmla="*/ 573 h 620"/>
                <a:gd name="T104" fmla="*/ 454 w 1046"/>
                <a:gd name="T105" fmla="*/ 577 h 620"/>
                <a:gd name="T106" fmla="*/ 465 w 1046"/>
                <a:gd name="T107" fmla="*/ 579 h 620"/>
                <a:gd name="T108" fmla="*/ 478 w 1046"/>
                <a:gd name="T109" fmla="*/ 582 h 620"/>
                <a:gd name="T110" fmla="*/ 489 w 1046"/>
                <a:gd name="T111" fmla="*/ 583 h 620"/>
                <a:gd name="T112" fmla="*/ 509 w 1046"/>
                <a:gd name="T113" fmla="*/ 583 h 620"/>
                <a:gd name="T114" fmla="*/ 518 w 1046"/>
                <a:gd name="T115" fmla="*/ 582 h 620"/>
                <a:gd name="T116" fmla="*/ 519 w 1046"/>
                <a:gd name="T117" fmla="*/ 582 h 620"/>
                <a:gd name="T118" fmla="*/ 724 w 1046"/>
                <a:gd name="T119" fmla="*/ 620 h 620"/>
                <a:gd name="T120" fmla="*/ 849 w 1046"/>
                <a:gd name="T121" fmla="*/ 568 h 620"/>
                <a:gd name="T122" fmla="*/ 940 w 1046"/>
                <a:gd name="T123" fmla="*/ 547 h 620"/>
                <a:gd name="T124" fmla="*/ 940 w 1046"/>
                <a:gd name="T125" fmla="*/ 335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6" h="620">
                  <a:moveTo>
                    <a:pt x="940" y="335"/>
                  </a:moveTo>
                  <a:cubicBezTo>
                    <a:pt x="927" y="335"/>
                    <a:pt x="914" y="338"/>
                    <a:pt x="903" y="342"/>
                  </a:cubicBezTo>
                  <a:cubicBezTo>
                    <a:pt x="905" y="333"/>
                    <a:pt x="905" y="323"/>
                    <a:pt x="905" y="313"/>
                  </a:cubicBezTo>
                  <a:cubicBezTo>
                    <a:pt x="905" y="219"/>
                    <a:pt x="830" y="143"/>
                    <a:pt x="736" y="143"/>
                  </a:cubicBezTo>
                  <a:cubicBezTo>
                    <a:pt x="727" y="143"/>
                    <a:pt x="719" y="144"/>
                    <a:pt x="711" y="145"/>
                  </a:cubicBezTo>
                  <a:cubicBezTo>
                    <a:pt x="684" y="70"/>
                    <a:pt x="617" y="13"/>
                    <a:pt x="535" y="2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31" y="1"/>
                    <a:pt x="527" y="1"/>
                    <a:pt x="523" y="0"/>
                  </a:cubicBezTo>
                  <a:cubicBezTo>
                    <a:pt x="522" y="0"/>
                    <a:pt x="521" y="0"/>
                    <a:pt x="520" y="0"/>
                  </a:cubicBezTo>
                  <a:cubicBezTo>
                    <a:pt x="519" y="0"/>
                    <a:pt x="519" y="0"/>
                    <a:pt x="518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16" y="0"/>
                    <a:pt x="515" y="0"/>
                    <a:pt x="514" y="0"/>
                  </a:cubicBezTo>
                  <a:cubicBezTo>
                    <a:pt x="513" y="0"/>
                    <a:pt x="513" y="0"/>
                    <a:pt x="512" y="0"/>
                  </a:cubicBezTo>
                  <a:cubicBezTo>
                    <a:pt x="509" y="0"/>
                    <a:pt x="507" y="0"/>
                    <a:pt x="504" y="0"/>
                  </a:cubicBezTo>
                  <a:cubicBezTo>
                    <a:pt x="501" y="0"/>
                    <a:pt x="497" y="0"/>
                    <a:pt x="494" y="0"/>
                  </a:cubicBezTo>
                  <a:cubicBezTo>
                    <a:pt x="493" y="0"/>
                    <a:pt x="492" y="0"/>
                    <a:pt x="491" y="0"/>
                  </a:cubicBezTo>
                  <a:cubicBezTo>
                    <a:pt x="488" y="0"/>
                    <a:pt x="485" y="0"/>
                    <a:pt x="482" y="1"/>
                  </a:cubicBezTo>
                  <a:cubicBezTo>
                    <a:pt x="481" y="1"/>
                    <a:pt x="481" y="1"/>
                    <a:pt x="481" y="1"/>
                  </a:cubicBezTo>
                  <a:cubicBezTo>
                    <a:pt x="478" y="1"/>
                    <a:pt x="475" y="2"/>
                    <a:pt x="472" y="2"/>
                  </a:cubicBezTo>
                  <a:cubicBezTo>
                    <a:pt x="471" y="2"/>
                    <a:pt x="470" y="2"/>
                    <a:pt x="469" y="2"/>
                  </a:cubicBezTo>
                  <a:cubicBezTo>
                    <a:pt x="466" y="3"/>
                    <a:pt x="463" y="3"/>
                    <a:pt x="460" y="4"/>
                  </a:cubicBezTo>
                  <a:cubicBezTo>
                    <a:pt x="459" y="4"/>
                    <a:pt x="459" y="4"/>
                    <a:pt x="458" y="4"/>
                  </a:cubicBezTo>
                  <a:cubicBezTo>
                    <a:pt x="456" y="5"/>
                    <a:pt x="453" y="6"/>
                    <a:pt x="450" y="6"/>
                  </a:cubicBezTo>
                  <a:cubicBezTo>
                    <a:pt x="450" y="6"/>
                    <a:pt x="449" y="7"/>
                    <a:pt x="448" y="7"/>
                  </a:cubicBezTo>
                  <a:cubicBezTo>
                    <a:pt x="445" y="8"/>
                    <a:pt x="442" y="8"/>
                    <a:pt x="439" y="9"/>
                  </a:cubicBezTo>
                  <a:cubicBezTo>
                    <a:pt x="438" y="10"/>
                    <a:pt x="438" y="10"/>
                    <a:pt x="437" y="10"/>
                  </a:cubicBezTo>
                  <a:cubicBezTo>
                    <a:pt x="434" y="11"/>
                    <a:pt x="432" y="12"/>
                    <a:pt x="430" y="12"/>
                  </a:cubicBezTo>
                  <a:cubicBezTo>
                    <a:pt x="429" y="13"/>
                    <a:pt x="428" y="13"/>
                    <a:pt x="427" y="13"/>
                  </a:cubicBezTo>
                  <a:cubicBezTo>
                    <a:pt x="425" y="14"/>
                    <a:pt x="422" y="15"/>
                    <a:pt x="419" y="17"/>
                  </a:cubicBezTo>
                  <a:cubicBezTo>
                    <a:pt x="418" y="17"/>
                    <a:pt x="417" y="17"/>
                    <a:pt x="416" y="18"/>
                  </a:cubicBezTo>
                  <a:cubicBezTo>
                    <a:pt x="414" y="19"/>
                    <a:pt x="412" y="20"/>
                    <a:pt x="410" y="21"/>
                  </a:cubicBezTo>
                  <a:cubicBezTo>
                    <a:pt x="409" y="21"/>
                    <a:pt x="409" y="21"/>
                    <a:pt x="408" y="22"/>
                  </a:cubicBezTo>
                  <a:cubicBezTo>
                    <a:pt x="405" y="23"/>
                    <a:pt x="403" y="24"/>
                    <a:pt x="400" y="26"/>
                  </a:cubicBezTo>
                  <a:cubicBezTo>
                    <a:pt x="399" y="26"/>
                    <a:pt x="398" y="27"/>
                    <a:pt x="397" y="27"/>
                  </a:cubicBezTo>
                  <a:cubicBezTo>
                    <a:pt x="395" y="28"/>
                    <a:pt x="393" y="29"/>
                    <a:pt x="392" y="30"/>
                  </a:cubicBezTo>
                  <a:cubicBezTo>
                    <a:pt x="391" y="31"/>
                    <a:pt x="390" y="31"/>
                    <a:pt x="389" y="32"/>
                  </a:cubicBezTo>
                  <a:cubicBezTo>
                    <a:pt x="387" y="33"/>
                    <a:pt x="384" y="35"/>
                    <a:pt x="382" y="36"/>
                  </a:cubicBezTo>
                  <a:cubicBezTo>
                    <a:pt x="381" y="37"/>
                    <a:pt x="380" y="38"/>
                    <a:pt x="379" y="39"/>
                  </a:cubicBezTo>
                  <a:cubicBezTo>
                    <a:pt x="377" y="40"/>
                    <a:pt x="376" y="41"/>
                    <a:pt x="374" y="42"/>
                  </a:cubicBezTo>
                  <a:cubicBezTo>
                    <a:pt x="373" y="43"/>
                    <a:pt x="371" y="44"/>
                    <a:pt x="370" y="45"/>
                  </a:cubicBezTo>
                  <a:cubicBezTo>
                    <a:pt x="368" y="46"/>
                    <a:pt x="367" y="47"/>
                    <a:pt x="365" y="49"/>
                  </a:cubicBezTo>
                  <a:cubicBezTo>
                    <a:pt x="364" y="50"/>
                    <a:pt x="363" y="50"/>
                    <a:pt x="362" y="51"/>
                  </a:cubicBezTo>
                  <a:cubicBezTo>
                    <a:pt x="361" y="53"/>
                    <a:pt x="360" y="54"/>
                    <a:pt x="358" y="55"/>
                  </a:cubicBezTo>
                  <a:cubicBezTo>
                    <a:pt x="357" y="56"/>
                    <a:pt x="355" y="58"/>
                    <a:pt x="353" y="59"/>
                  </a:cubicBezTo>
                  <a:cubicBezTo>
                    <a:pt x="352" y="60"/>
                    <a:pt x="351" y="61"/>
                    <a:pt x="350" y="62"/>
                  </a:cubicBezTo>
                  <a:cubicBezTo>
                    <a:pt x="349" y="64"/>
                    <a:pt x="348" y="65"/>
                    <a:pt x="347" y="66"/>
                  </a:cubicBezTo>
                  <a:cubicBezTo>
                    <a:pt x="346" y="67"/>
                    <a:pt x="344" y="68"/>
                    <a:pt x="343" y="69"/>
                  </a:cubicBezTo>
                  <a:cubicBezTo>
                    <a:pt x="342" y="71"/>
                    <a:pt x="340" y="73"/>
                    <a:pt x="338" y="75"/>
                  </a:cubicBezTo>
                  <a:cubicBezTo>
                    <a:pt x="338" y="76"/>
                    <a:pt x="337" y="77"/>
                    <a:pt x="336" y="78"/>
                  </a:cubicBezTo>
                  <a:cubicBezTo>
                    <a:pt x="335" y="79"/>
                    <a:pt x="334" y="80"/>
                    <a:pt x="333" y="81"/>
                  </a:cubicBezTo>
                  <a:cubicBezTo>
                    <a:pt x="332" y="83"/>
                    <a:pt x="331" y="84"/>
                    <a:pt x="330" y="85"/>
                  </a:cubicBezTo>
                  <a:cubicBezTo>
                    <a:pt x="328" y="87"/>
                    <a:pt x="327" y="89"/>
                    <a:pt x="325" y="91"/>
                  </a:cubicBezTo>
                  <a:cubicBezTo>
                    <a:pt x="325" y="92"/>
                    <a:pt x="324" y="93"/>
                    <a:pt x="323" y="94"/>
                  </a:cubicBezTo>
                  <a:cubicBezTo>
                    <a:pt x="322" y="96"/>
                    <a:pt x="321" y="97"/>
                    <a:pt x="320" y="98"/>
                  </a:cubicBezTo>
                  <a:cubicBezTo>
                    <a:pt x="319" y="100"/>
                    <a:pt x="319" y="101"/>
                    <a:pt x="318" y="102"/>
                  </a:cubicBezTo>
                  <a:cubicBezTo>
                    <a:pt x="317" y="103"/>
                    <a:pt x="317" y="104"/>
                    <a:pt x="316" y="104"/>
                  </a:cubicBezTo>
                  <a:cubicBezTo>
                    <a:pt x="306" y="102"/>
                    <a:pt x="295" y="101"/>
                    <a:pt x="284" y="101"/>
                  </a:cubicBezTo>
                  <a:cubicBezTo>
                    <a:pt x="190" y="101"/>
                    <a:pt x="114" y="177"/>
                    <a:pt x="114" y="271"/>
                  </a:cubicBezTo>
                  <a:cubicBezTo>
                    <a:pt x="114" y="274"/>
                    <a:pt x="114" y="278"/>
                    <a:pt x="114" y="282"/>
                  </a:cubicBezTo>
                  <a:cubicBezTo>
                    <a:pt x="50" y="291"/>
                    <a:pt x="0" y="346"/>
                    <a:pt x="0" y="413"/>
                  </a:cubicBezTo>
                  <a:cubicBezTo>
                    <a:pt x="0" y="480"/>
                    <a:pt x="50" y="536"/>
                    <a:pt x="114" y="545"/>
                  </a:cubicBezTo>
                  <a:cubicBezTo>
                    <a:pt x="114" y="547"/>
                    <a:pt x="114" y="547"/>
                    <a:pt x="114" y="547"/>
                  </a:cubicBezTo>
                  <a:cubicBezTo>
                    <a:pt x="156" y="547"/>
                    <a:pt x="156" y="547"/>
                    <a:pt x="156" y="547"/>
                  </a:cubicBezTo>
                  <a:cubicBezTo>
                    <a:pt x="187" y="586"/>
                    <a:pt x="235" y="611"/>
                    <a:pt x="289" y="611"/>
                  </a:cubicBezTo>
                  <a:cubicBezTo>
                    <a:pt x="292" y="611"/>
                    <a:pt x="295" y="611"/>
                    <a:pt x="298" y="610"/>
                  </a:cubicBezTo>
                  <a:cubicBezTo>
                    <a:pt x="299" y="610"/>
                    <a:pt x="299" y="610"/>
                    <a:pt x="299" y="610"/>
                  </a:cubicBezTo>
                  <a:cubicBezTo>
                    <a:pt x="302" y="610"/>
                    <a:pt x="304" y="610"/>
                    <a:pt x="307" y="610"/>
                  </a:cubicBezTo>
                  <a:cubicBezTo>
                    <a:pt x="307" y="610"/>
                    <a:pt x="308" y="610"/>
                    <a:pt x="308" y="610"/>
                  </a:cubicBezTo>
                  <a:cubicBezTo>
                    <a:pt x="311" y="609"/>
                    <a:pt x="313" y="609"/>
                    <a:pt x="316" y="609"/>
                  </a:cubicBezTo>
                  <a:cubicBezTo>
                    <a:pt x="316" y="608"/>
                    <a:pt x="316" y="608"/>
                    <a:pt x="317" y="608"/>
                  </a:cubicBezTo>
                  <a:cubicBezTo>
                    <a:pt x="319" y="608"/>
                    <a:pt x="322" y="607"/>
                    <a:pt x="324" y="607"/>
                  </a:cubicBezTo>
                  <a:cubicBezTo>
                    <a:pt x="325" y="607"/>
                    <a:pt x="325" y="607"/>
                    <a:pt x="325" y="607"/>
                  </a:cubicBezTo>
                  <a:cubicBezTo>
                    <a:pt x="328" y="606"/>
                    <a:pt x="330" y="606"/>
                    <a:pt x="333" y="605"/>
                  </a:cubicBezTo>
                  <a:cubicBezTo>
                    <a:pt x="333" y="605"/>
                    <a:pt x="333" y="605"/>
                    <a:pt x="334" y="605"/>
                  </a:cubicBezTo>
                  <a:cubicBezTo>
                    <a:pt x="336" y="604"/>
                    <a:pt x="338" y="603"/>
                    <a:pt x="341" y="603"/>
                  </a:cubicBezTo>
                  <a:cubicBezTo>
                    <a:pt x="341" y="602"/>
                    <a:pt x="341" y="602"/>
                    <a:pt x="342" y="602"/>
                  </a:cubicBezTo>
                  <a:cubicBezTo>
                    <a:pt x="344" y="601"/>
                    <a:pt x="346" y="601"/>
                    <a:pt x="349" y="600"/>
                  </a:cubicBezTo>
                  <a:cubicBezTo>
                    <a:pt x="349" y="600"/>
                    <a:pt x="349" y="599"/>
                    <a:pt x="350" y="599"/>
                  </a:cubicBezTo>
                  <a:cubicBezTo>
                    <a:pt x="352" y="598"/>
                    <a:pt x="354" y="598"/>
                    <a:pt x="357" y="597"/>
                  </a:cubicBezTo>
                  <a:cubicBezTo>
                    <a:pt x="357" y="596"/>
                    <a:pt x="357" y="596"/>
                    <a:pt x="357" y="596"/>
                  </a:cubicBezTo>
                  <a:cubicBezTo>
                    <a:pt x="360" y="595"/>
                    <a:pt x="362" y="594"/>
                    <a:pt x="364" y="593"/>
                  </a:cubicBezTo>
                  <a:cubicBezTo>
                    <a:pt x="365" y="593"/>
                    <a:pt x="365" y="593"/>
                    <a:pt x="365" y="593"/>
                  </a:cubicBezTo>
                  <a:cubicBezTo>
                    <a:pt x="367" y="591"/>
                    <a:pt x="370" y="590"/>
                    <a:pt x="372" y="589"/>
                  </a:cubicBezTo>
                  <a:cubicBezTo>
                    <a:pt x="372" y="589"/>
                    <a:pt x="372" y="589"/>
                    <a:pt x="372" y="589"/>
                  </a:cubicBezTo>
                  <a:cubicBezTo>
                    <a:pt x="375" y="587"/>
                    <a:pt x="377" y="586"/>
                    <a:pt x="379" y="585"/>
                  </a:cubicBezTo>
                  <a:cubicBezTo>
                    <a:pt x="379" y="585"/>
                    <a:pt x="379" y="585"/>
                    <a:pt x="379" y="585"/>
                  </a:cubicBezTo>
                  <a:cubicBezTo>
                    <a:pt x="382" y="583"/>
                    <a:pt x="384" y="582"/>
                    <a:pt x="386" y="580"/>
                  </a:cubicBezTo>
                  <a:cubicBezTo>
                    <a:pt x="386" y="580"/>
                    <a:pt x="386" y="580"/>
                    <a:pt x="386" y="580"/>
                  </a:cubicBezTo>
                  <a:cubicBezTo>
                    <a:pt x="388" y="578"/>
                    <a:pt x="391" y="577"/>
                    <a:pt x="393" y="575"/>
                  </a:cubicBezTo>
                  <a:cubicBezTo>
                    <a:pt x="393" y="575"/>
                    <a:pt x="393" y="575"/>
                    <a:pt x="393" y="575"/>
                  </a:cubicBezTo>
                  <a:cubicBezTo>
                    <a:pt x="395" y="573"/>
                    <a:pt x="397" y="572"/>
                    <a:pt x="399" y="570"/>
                  </a:cubicBezTo>
                  <a:cubicBezTo>
                    <a:pt x="399" y="570"/>
                    <a:pt x="399" y="570"/>
                    <a:pt x="399" y="570"/>
                  </a:cubicBezTo>
                  <a:cubicBezTo>
                    <a:pt x="401" y="568"/>
                    <a:pt x="403" y="566"/>
                    <a:pt x="405" y="564"/>
                  </a:cubicBezTo>
                  <a:cubicBezTo>
                    <a:pt x="405" y="564"/>
                    <a:pt x="405" y="564"/>
                    <a:pt x="405" y="564"/>
                  </a:cubicBezTo>
                  <a:cubicBezTo>
                    <a:pt x="407" y="562"/>
                    <a:pt x="409" y="560"/>
                    <a:pt x="411" y="558"/>
                  </a:cubicBezTo>
                  <a:cubicBezTo>
                    <a:pt x="411" y="558"/>
                    <a:pt x="411" y="558"/>
                    <a:pt x="411" y="558"/>
                  </a:cubicBezTo>
                  <a:cubicBezTo>
                    <a:pt x="411" y="558"/>
                    <a:pt x="411" y="558"/>
                    <a:pt x="411" y="558"/>
                  </a:cubicBezTo>
                  <a:cubicBezTo>
                    <a:pt x="414" y="560"/>
                    <a:pt x="417" y="562"/>
                    <a:pt x="420" y="563"/>
                  </a:cubicBezTo>
                  <a:cubicBezTo>
                    <a:pt x="421" y="564"/>
                    <a:pt x="422" y="564"/>
                    <a:pt x="423" y="565"/>
                  </a:cubicBezTo>
                  <a:cubicBezTo>
                    <a:pt x="425" y="566"/>
                    <a:pt x="428" y="567"/>
                    <a:pt x="430" y="568"/>
                  </a:cubicBezTo>
                  <a:cubicBezTo>
                    <a:pt x="431" y="569"/>
                    <a:pt x="431" y="569"/>
                    <a:pt x="432" y="569"/>
                  </a:cubicBezTo>
                  <a:cubicBezTo>
                    <a:pt x="435" y="571"/>
                    <a:pt x="439" y="572"/>
                    <a:pt x="442" y="573"/>
                  </a:cubicBezTo>
                  <a:cubicBezTo>
                    <a:pt x="442" y="573"/>
                    <a:pt x="443" y="573"/>
                    <a:pt x="443" y="573"/>
                  </a:cubicBezTo>
                  <a:cubicBezTo>
                    <a:pt x="446" y="574"/>
                    <a:pt x="449" y="575"/>
                    <a:pt x="452" y="576"/>
                  </a:cubicBezTo>
                  <a:cubicBezTo>
                    <a:pt x="453" y="576"/>
                    <a:pt x="453" y="577"/>
                    <a:pt x="454" y="577"/>
                  </a:cubicBezTo>
                  <a:cubicBezTo>
                    <a:pt x="457" y="578"/>
                    <a:pt x="460" y="578"/>
                    <a:pt x="463" y="579"/>
                  </a:cubicBezTo>
                  <a:cubicBezTo>
                    <a:pt x="463" y="579"/>
                    <a:pt x="464" y="579"/>
                    <a:pt x="465" y="579"/>
                  </a:cubicBezTo>
                  <a:cubicBezTo>
                    <a:pt x="468" y="580"/>
                    <a:pt x="472" y="581"/>
                    <a:pt x="475" y="581"/>
                  </a:cubicBezTo>
                  <a:cubicBezTo>
                    <a:pt x="476" y="581"/>
                    <a:pt x="477" y="582"/>
                    <a:pt x="478" y="582"/>
                  </a:cubicBezTo>
                  <a:cubicBezTo>
                    <a:pt x="480" y="582"/>
                    <a:pt x="483" y="582"/>
                    <a:pt x="486" y="582"/>
                  </a:cubicBezTo>
                  <a:cubicBezTo>
                    <a:pt x="487" y="583"/>
                    <a:pt x="488" y="583"/>
                    <a:pt x="489" y="583"/>
                  </a:cubicBezTo>
                  <a:cubicBezTo>
                    <a:pt x="492" y="583"/>
                    <a:pt x="496" y="583"/>
                    <a:pt x="500" y="583"/>
                  </a:cubicBezTo>
                  <a:cubicBezTo>
                    <a:pt x="503" y="583"/>
                    <a:pt x="506" y="583"/>
                    <a:pt x="509" y="583"/>
                  </a:cubicBezTo>
                  <a:cubicBezTo>
                    <a:pt x="510" y="583"/>
                    <a:pt x="511" y="583"/>
                    <a:pt x="512" y="583"/>
                  </a:cubicBezTo>
                  <a:cubicBezTo>
                    <a:pt x="514" y="582"/>
                    <a:pt x="516" y="582"/>
                    <a:pt x="518" y="582"/>
                  </a:cubicBezTo>
                  <a:cubicBezTo>
                    <a:pt x="518" y="582"/>
                    <a:pt x="519" y="582"/>
                    <a:pt x="519" y="582"/>
                  </a:cubicBezTo>
                  <a:cubicBezTo>
                    <a:pt x="519" y="582"/>
                    <a:pt x="519" y="582"/>
                    <a:pt x="519" y="582"/>
                  </a:cubicBezTo>
                  <a:cubicBezTo>
                    <a:pt x="546" y="579"/>
                    <a:pt x="570" y="570"/>
                    <a:pt x="592" y="556"/>
                  </a:cubicBezTo>
                  <a:cubicBezTo>
                    <a:pt x="623" y="595"/>
                    <a:pt x="671" y="620"/>
                    <a:pt x="724" y="620"/>
                  </a:cubicBezTo>
                  <a:cubicBezTo>
                    <a:pt x="772" y="620"/>
                    <a:pt x="815" y="600"/>
                    <a:pt x="846" y="568"/>
                  </a:cubicBezTo>
                  <a:cubicBezTo>
                    <a:pt x="847" y="568"/>
                    <a:pt x="848" y="568"/>
                    <a:pt x="849" y="568"/>
                  </a:cubicBezTo>
                  <a:cubicBezTo>
                    <a:pt x="873" y="568"/>
                    <a:pt x="895" y="560"/>
                    <a:pt x="913" y="547"/>
                  </a:cubicBezTo>
                  <a:cubicBezTo>
                    <a:pt x="940" y="547"/>
                    <a:pt x="940" y="547"/>
                    <a:pt x="940" y="547"/>
                  </a:cubicBezTo>
                  <a:cubicBezTo>
                    <a:pt x="998" y="547"/>
                    <a:pt x="1046" y="499"/>
                    <a:pt x="1046" y="441"/>
                  </a:cubicBezTo>
                  <a:cubicBezTo>
                    <a:pt x="1046" y="383"/>
                    <a:pt x="998" y="335"/>
                    <a:pt x="940" y="335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" name="ïśļíďé">
              <a:extLst>
                <a:ext uri="{FF2B5EF4-FFF2-40B4-BE49-F238E27FC236}">
                  <a16:creationId xmlns:a16="http://schemas.microsoft.com/office/drawing/2014/main" id="{F400AEA7-0B78-463F-BA4E-1E9DFB7F6457}"/>
                </a:ext>
              </a:extLst>
            </p:cNvPr>
            <p:cNvSpPr/>
            <p:nvPr/>
          </p:nvSpPr>
          <p:spPr bwMode="auto">
            <a:xfrm>
              <a:off x="3989604" y="3119013"/>
              <a:ext cx="2220913" cy="1687938"/>
            </a:xfrm>
            <a:custGeom>
              <a:avLst/>
              <a:gdLst>
                <a:gd name="T0" fmla="*/ 0 w 710"/>
                <a:gd name="T1" fmla="*/ 8 h 782"/>
                <a:gd name="T2" fmla="*/ 72 w 710"/>
                <a:gd name="T3" fmla="*/ 0 h 782"/>
                <a:gd name="T4" fmla="*/ 72 w 710"/>
                <a:gd name="T5" fmla="*/ 8 h 782"/>
                <a:gd name="T6" fmla="*/ 96 w 710"/>
                <a:gd name="T7" fmla="*/ 0 h 782"/>
                <a:gd name="T8" fmla="*/ 120 w 710"/>
                <a:gd name="T9" fmla="*/ 0 h 782"/>
                <a:gd name="T10" fmla="*/ 145 w 710"/>
                <a:gd name="T11" fmla="*/ 8 h 782"/>
                <a:gd name="T12" fmla="*/ 217 w 710"/>
                <a:gd name="T13" fmla="*/ 0 h 782"/>
                <a:gd name="T14" fmla="*/ 217 w 710"/>
                <a:gd name="T15" fmla="*/ 8 h 782"/>
                <a:gd name="T16" fmla="*/ 241 w 710"/>
                <a:gd name="T17" fmla="*/ 0 h 782"/>
                <a:gd name="T18" fmla="*/ 265 w 710"/>
                <a:gd name="T19" fmla="*/ 0 h 782"/>
                <a:gd name="T20" fmla="*/ 289 w 710"/>
                <a:gd name="T21" fmla="*/ 8 h 782"/>
                <a:gd name="T22" fmla="*/ 361 w 710"/>
                <a:gd name="T23" fmla="*/ 0 h 782"/>
                <a:gd name="T24" fmla="*/ 361 w 710"/>
                <a:gd name="T25" fmla="*/ 8 h 782"/>
                <a:gd name="T26" fmla="*/ 385 w 710"/>
                <a:gd name="T27" fmla="*/ 0 h 782"/>
                <a:gd name="T28" fmla="*/ 409 w 710"/>
                <a:gd name="T29" fmla="*/ 0 h 782"/>
                <a:gd name="T30" fmla="*/ 433 w 710"/>
                <a:gd name="T31" fmla="*/ 8 h 782"/>
                <a:gd name="T32" fmla="*/ 506 w 710"/>
                <a:gd name="T33" fmla="*/ 0 h 782"/>
                <a:gd name="T34" fmla="*/ 506 w 710"/>
                <a:gd name="T35" fmla="*/ 8 h 782"/>
                <a:gd name="T36" fmla="*/ 530 w 710"/>
                <a:gd name="T37" fmla="*/ 0 h 782"/>
                <a:gd name="T38" fmla="*/ 554 w 710"/>
                <a:gd name="T39" fmla="*/ 0 h 782"/>
                <a:gd name="T40" fmla="*/ 578 w 710"/>
                <a:gd name="T41" fmla="*/ 8 h 782"/>
                <a:gd name="T42" fmla="*/ 650 w 710"/>
                <a:gd name="T43" fmla="*/ 0 h 782"/>
                <a:gd name="T44" fmla="*/ 650 w 710"/>
                <a:gd name="T45" fmla="*/ 8 h 782"/>
                <a:gd name="T46" fmla="*/ 675 w 710"/>
                <a:gd name="T47" fmla="*/ 1 h 782"/>
                <a:gd name="T48" fmla="*/ 698 w 710"/>
                <a:gd name="T49" fmla="*/ 12 h 782"/>
                <a:gd name="T50" fmla="*/ 709 w 710"/>
                <a:gd name="T51" fmla="*/ 36 h 782"/>
                <a:gd name="T52" fmla="*/ 702 w 710"/>
                <a:gd name="T53" fmla="*/ 60 h 782"/>
                <a:gd name="T54" fmla="*/ 710 w 710"/>
                <a:gd name="T55" fmla="*/ 84 h 782"/>
                <a:gd name="T56" fmla="*/ 710 w 710"/>
                <a:gd name="T57" fmla="*/ 108 h 782"/>
                <a:gd name="T58" fmla="*/ 702 w 710"/>
                <a:gd name="T59" fmla="*/ 132 h 782"/>
                <a:gd name="T60" fmla="*/ 710 w 710"/>
                <a:gd name="T61" fmla="*/ 205 h 782"/>
                <a:gd name="T62" fmla="*/ 702 w 710"/>
                <a:gd name="T63" fmla="*/ 205 h 782"/>
                <a:gd name="T64" fmla="*/ 710 w 710"/>
                <a:gd name="T65" fmla="*/ 229 h 782"/>
                <a:gd name="T66" fmla="*/ 710 w 710"/>
                <a:gd name="T67" fmla="*/ 253 h 782"/>
                <a:gd name="T68" fmla="*/ 702 w 710"/>
                <a:gd name="T69" fmla="*/ 277 h 782"/>
                <a:gd name="T70" fmla="*/ 710 w 710"/>
                <a:gd name="T71" fmla="*/ 349 h 782"/>
                <a:gd name="T72" fmla="*/ 702 w 710"/>
                <a:gd name="T73" fmla="*/ 349 h 782"/>
                <a:gd name="T74" fmla="*/ 710 w 710"/>
                <a:gd name="T75" fmla="*/ 373 h 782"/>
                <a:gd name="T76" fmla="*/ 710 w 710"/>
                <a:gd name="T77" fmla="*/ 397 h 782"/>
                <a:gd name="T78" fmla="*/ 702 w 710"/>
                <a:gd name="T79" fmla="*/ 421 h 782"/>
                <a:gd name="T80" fmla="*/ 710 w 710"/>
                <a:gd name="T81" fmla="*/ 493 h 782"/>
                <a:gd name="T82" fmla="*/ 702 w 710"/>
                <a:gd name="T83" fmla="*/ 493 h 782"/>
                <a:gd name="T84" fmla="*/ 710 w 710"/>
                <a:gd name="T85" fmla="*/ 518 h 782"/>
                <a:gd name="T86" fmla="*/ 710 w 710"/>
                <a:gd name="T87" fmla="*/ 542 h 782"/>
                <a:gd name="T88" fmla="*/ 702 w 710"/>
                <a:gd name="T89" fmla="*/ 566 h 782"/>
                <a:gd name="T90" fmla="*/ 710 w 710"/>
                <a:gd name="T91" fmla="*/ 638 h 782"/>
                <a:gd name="T92" fmla="*/ 702 w 710"/>
                <a:gd name="T93" fmla="*/ 638 h 782"/>
                <a:gd name="T94" fmla="*/ 710 w 710"/>
                <a:gd name="T95" fmla="*/ 662 h 782"/>
                <a:gd name="T96" fmla="*/ 710 w 710"/>
                <a:gd name="T97" fmla="*/ 686 h 782"/>
                <a:gd name="T98" fmla="*/ 702 w 710"/>
                <a:gd name="T99" fmla="*/ 710 h 782"/>
                <a:gd name="T100" fmla="*/ 710 w 710"/>
                <a:gd name="T101" fmla="*/ 782 h 782"/>
                <a:gd name="T102" fmla="*/ 702 w 710"/>
                <a:gd name="T103" fmla="*/ 782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10" h="782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0"/>
                  </a:lnTo>
                  <a:close/>
                  <a:moveTo>
                    <a:pt x="72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72" y="8"/>
                    <a:pt x="72" y="8"/>
                    <a:pt x="72" y="8"/>
                  </a:cubicBezTo>
                  <a:lnTo>
                    <a:pt x="72" y="0"/>
                  </a:lnTo>
                  <a:close/>
                  <a:moveTo>
                    <a:pt x="12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20" y="8"/>
                    <a:pt x="120" y="8"/>
                    <a:pt x="120" y="8"/>
                  </a:cubicBezTo>
                  <a:lnTo>
                    <a:pt x="120" y="0"/>
                  </a:lnTo>
                  <a:close/>
                  <a:moveTo>
                    <a:pt x="169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69" y="8"/>
                    <a:pt x="169" y="8"/>
                    <a:pt x="169" y="8"/>
                  </a:cubicBezTo>
                  <a:lnTo>
                    <a:pt x="169" y="0"/>
                  </a:lnTo>
                  <a:close/>
                  <a:moveTo>
                    <a:pt x="217" y="0"/>
                  </a:moveTo>
                  <a:cubicBezTo>
                    <a:pt x="193" y="0"/>
                    <a:pt x="193" y="0"/>
                    <a:pt x="193" y="0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217" y="8"/>
                    <a:pt x="217" y="8"/>
                    <a:pt x="217" y="8"/>
                  </a:cubicBezTo>
                  <a:lnTo>
                    <a:pt x="217" y="0"/>
                  </a:lnTo>
                  <a:close/>
                  <a:moveTo>
                    <a:pt x="265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41" y="8"/>
                    <a:pt x="241" y="8"/>
                    <a:pt x="241" y="8"/>
                  </a:cubicBezTo>
                  <a:cubicBezTo>
                    <a:pt x="265" y="8"/>
                    <a:pt x="265" y="8"/>
                    <a:pt x="265" y="8"/>
                  </a:cubicBezTo>
                  <a:lnTo>
                    <a:pt x="265" y="0"/>
                  </a:lnTo>
                  <a:close/>
                  <a:moveTo>
                    <a:pt x="313" y="0"/>
                  </a:moveTo>
                  <a:cubicBezTo>
                    <a:pt x="289" y="0"/>
                    <a:pt x="289" y="0"/>
                    <a:pt x="289" y="0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313" y="8"/>
                    <a:pt x="313" y="8"/>
                    <a:pt x="313" y="8"/>
                  </a:cubicBezTo>
                  <a:lnTo>
                    <a:pt x="313" y="0"/>
                  </a:lnTo>
                  <a:close/>
                  <a:moveTo>
                    <a:pt x="361" y="0"/>
                  </a:moveTo>
                  <a:cubicBezTo>
                    <a:pt x="337" y="0"/>
                    <a:pt x="337" y="0"/>
                    <a:pt x="337" y="0"/>
                  </a:cubicBezTo>
                  <a:cubicBezTo>
                    <a:pt x="337" y="8"/>
                    <a:pt x="337" y="8"/>
                    <a:pt x="337" y="8"/>
                  </a:cubicBezTo>
                  <a:cubicBezTo>
                    <a:pt x="361" y="8"/>
                    <a:pt x="361" y="8"/>
                    <a:pt x="361" y="8"/>
                  </a:cubicBezTo>
                  <a:lnTo>
                    <a:pt x="361" y="0"/>
                  </a:lnTo>
                  <a:close/>
                  <a:moveTo>
                    <a:pt x="409" y="0"/>
                  </a:moveTo>
                  <a:cubicBezTo>
                    <a:pt x="385" y="0"/>
                    <a:pt x="385" y="0"/>
                    <a:pt x="385" y="0"/>
                  </a:cubicBezTo>
                  <a:cubicBezTo>
                    <a:pt x="385" y="8"/>
                    <a:pt x="385" y="8"/>
                    <a:pt x="385" y="8"/>
                  </a:cubicBezTo>
                  <a:cubicBezTo>
                    <a:pt x="409" y="8"/>
                    <a:pt x="409" y="8"/>
                    <a:pt x="409" y="8"/>
                  </a:cubicBezTo>
                  <a:lnTo>
                    <a:pt x="409" y="0"/>
                  </a:lnTo>
                  <a:close/>
                  <a:moveTo>
                    <a:pt x="457" y="0"/>
                  </a:moveTo>
                  <a:cubicBezTo>
                    <a:pt x="433" y="0"/>
                    <a:pt x="433" y="0"/>
                    <a:pt x="433" y="0"/>
                  </a:cubicBezTo>
                  <a:cubicBezTo>
                    <a:pt x="433" y="8"/>
                    <a:pt x="433" y="8"/>
                    <a:pt x="433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0"/>
                  </a:lnTo>
                  <a:close/>
                  <a:moveTo>
                    <a:pt x="506" y="0"/>
                  </a:moveTo>
                  <a:cubicBezTo>
                    <a:pt x="482" y="0"/>
                    <a:pt x="482" y="0"/>
                    <a:pt x="482" y="0"/>
                  </a:cubicBezTo>
                  <a:cubicBezTo>
                    <a:pt x="482" y="8"/>
                    <a:pt x="482" y="8"/>
                    <a:pt x="482" y="8"/>
                  </a:cubicBezTo>
                  <a:cubicBezTo>
                    <a:pt x="506" y="8"/>
                    <a:pt x="506" y="8"/>
                    <a:pt x="506" y="8"/>
                  </a:cubicBezTo>
                  <a:lnTo>
                    <a:pt x="506" y="0"/>
                  </a:lnTo>
                  <a:close/>
                  <a:moveTo>
                    <a:pt x="554" y="0"/>
                  </a:moveTo>
                  <a:cubicBezTo>
                    <a:pt x="530" y="0"/>
                    <a:pt x="530" y="0"/>
                    <a:pt x="530" y="0"/>
                  </a:cubicBezTo>
                  <a:cubicBezTo>
                    <a:pt x="530" y="8"/>
                    <a:pt x="530" y="8"/>
                    <a:pt x="530" y="8"/>
                  </a:cubicBezTo>
                  <a:cubicBezTo>
                    <a:pt x="554" y="8"/>
                    <a:pt x="554" y="8"/>
                    <a:pt x="554" y="8"/>
                  </a:cubicBezTo>
                  <a:lnTo>
                    <a:pt x="554" y="0"/>
                  </a:lnTo>
                  <a:close/>
                  <a:moveTo>
                    <a:pt x="602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78" y="8"/>
                    <a:pt x="578" y="8"/>
                    <a:pt x="578" y="8"/>
                  </a:cubicBezTo>
                  <a:cubicBezTo>
                    <a:pt x="602" y="8"/>
                    <a:pt x="602" y="8"/>
                    <a:pt x="602" y="8"/>
                  </a:cubicBezTo>
                  <a:lnTo>
                    <a:pt x="602" y="0"/>
                  </a:lnTo>
                  <a:close/>
                  <a:moveTo>
                    <a:pt x="650" y="0"/>
                  </a:moveTo>
                  <a:cubicBezTo>
                    <a:pt x="626" y="0"/>
                    <a:pt x="626" y="0"/>
                    <a:pt x="626" y="0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50" y="8"/>
                    <a:pt x="650" y="8"/>
                    <a:pt x="650" y="8"/>
                  </a:cubicBezTo>
                  <a:lnTo>
                    <a:pt x="650" y="0"/>
                  </a:lnTo>
                  <a:close/>
                  <a:moveTo>
                    <a:pt x="698" y="12"/>
                  </a:moveTo>
                  <a:cubicBezTo>
                    <a:pt x="693" y="6"/>
                    <a:pt x="685" y="2"/>
                    <a:pt x="675" y="1"/>
                  </a:cubicBezTo>
                  <a:cubicBezTo>
                    <a:pt x="674" y="8"/>
                    <a:pt x="674" y="8"/>
                    <a:pt x="674" y="8"/>
                  </a:cubicBezTo>
                  <a:cubicBezTo>
                    <a:pt x="682" y="10"/>
                    <a:pt x="688" y="13"/>
                    <a:pt x="693" y="17"/>
                  </a:cubicBezTo>
                  <a:cubicBezTo>
                    <a:pt x="698" y="12"/>
                    <a:pt x="698" y="12"/>
                    <a:pt x="698" y="12"/>
                  </a:cubicBezTo>
                  <a:close/>
                  <a:moveTo>
                    <a:pt x="710" y="60"/>
                  </a:moveTo>
                  <a:cubicBezTo>
                    <a:pt x="710" y="48"/>
                    <a:pt x="710" y="48"/>
                    <a:pt x="710" y="48"/>
                  </a:cubicBezTo>
                  <a:cubicBezTo>
                    <a:pt x="710" y="44"/>
                    <a:pt x="710" y="40"/>
                    <a:pt x="709" y="36"/>
                  </a:cubicBezTo>
                  <a:cubicBezTo>
                    <a:pt x="701" y="37"/>
                    <a:pt x="701" y="37"/>
                    <a:pt x="701" y="37"/>
                  </a:cubicBezTo>
                  <a:cubicBezTo>
                    <a:pt x="702" y="40"/>
                    <a:pt x="702" y="44"/>
                    <a:pt x="702" y="48"/>
                  </a:cubicBezTo>
                  <a:cubicBezTo>
                    <a:pt x="702" y="60"/>
                    <a:pt x="702" y="60"/>
                    <a:pt x="702" y="60"/>
                  </a:cubicBezTo>
                  <a:cubicBezTo>
                    <a:pt x="710" y="60"/>
                    <a:pt x="710" y="60"/>
                    <a:pt x="710" y="60"/>
                  </a:cubicBezTo>
                  <a:close/>
                  <a:moveTo>
                    <a:pt x="710" y="108"/>
                  </a:moveTo>
                  <a:cubicBezTo>
                    <a:pt x="710" y="84"/>
                    <a:pt x="710" y="84"/>
                    <a:pt x="710" y="84"/>
                  </a:cubicBezTo>
                  <a:cubicBezTo>
                    <a:pt x="702" y="84"/>
                    <a:pt x="702" y="84"/>
                    <a:pt x="702" y="84"/>
                  </a:cubicBezTo>
                  <a:cubicBezTo>
                    <a:pt x="702" y="108"/>
                    <a:pt x="702" y="108"/>
                    <a:pt x="702" y="108"/>
                  </a:cubicBezTo>
                  <a:lnTo>
                    <a:pt x="710" y="108"/>
                  </a:lnTo>
                  <a:close/>
                  <a:moveTo>
                    <a:pt x="710" y="156"/>
                  </a:moveTo>
                  <a:cubicBezTo>
                    <a:pt x="710" y="132"/>
                    <a:pt x="710" y="132"/>
                    <a:pt x="710" y="132"/>
                  </a:cubicBezTo>
                  <a:cubicBezTo>
                    <a:pt x="702" y="132"/>
                    <a:pt x="702" y="132"/>
                    <a:pt x="702" y="132"/>
                  </a:cubicBezTo>
                  <a:cubicBezTo>
                    <a:pt x="702" y="156"/>
                    <a:pt x="702" y="156"/>
                    <a:pt x="702" y="156"/>
                  </a:cubicBezTo>
                  <a:lnTo>
                    <a:pt x="710" y="156"/>
                  </a:lnTo>
                  <a:close/>
                  <a:moveTo>
                    <a:pt x="710" y="205"/>
                  </a:moveTo>
                  <a:cubicBezTo>
                    <a:pt x="710" y="181"/>
                    <a:pt x="710" y="181"/>
                    <a:pt x="710" y="181"/>
                  </a:cubicBezTo>
                  <a:cubicBezTo>
                    <a:pt x="702" y="181"/>
                    <a:pt x="702" y="181"/>
                    <a:pt x="702" y="181"/>
                  </a:cubicBezTo>
                  <a:cubicBezTo>
                    <a:pt x="702" y="205"/>
                    <a:pt x="702" y="205"/>
                    <a:pt x="702" y="205"/>
                  </a:cubicBezTo>
                  <a:lnTo>
                    <a:pt x="710" y="205"/>
                  </a:lnTo>
                  <a:close/>
                  <a:moveTo>
                    <a:pt x="710" y="253"/>
                  </a:moveTo>
                  <a:cubicBezTo>
                    <a:pt x="710" y="229"/>
                    <a:pt x="710" y="229"/>
                    <a:pt x="710" y="229"/>
                  </a:cubicBezTo>
                  <a:cubicBezTo>
                    <a:pt x="702" y="229"/>
                    <a:pt x="702" y="229"/>
                    <a:pt x="702" y="229"/>
                  </a:cubicBezTo>
                  <a:cubicBezTo>
                    <a:pt x="702" y="253"/>
                    <a:pt x="702" y="253"/>
                    <a:pt x="702" y="253"/>
                  </a:cubicBezTo>
                  <a:lnTo>
                    <a:pt x="710" y="253"/>
                  </a:lnTo>
                  <a:close/>
                  <a:moveTo>
                    <a:pt x="710" y="301"/>
                  </a:moveTo>
                  <a:cubicBezTo>
                    <a:pt x="710" y="277"/>
                    <a:pt x="710" y="277"/>
                    <a:pt x="710" y="277"/>
                  </a:cubicBezTo>
                  <a:cubicBezTo>
                    <a:pt x="702" y="277"/>
                    <a:pt x="702" y="277"/>
                    <a:pt x="702" y="277"/>
                  </a:cubicBezTo>
                  <a:cubicBezTo>
                    <a:pt x="702" y="301"/>
                    <a:pt x="702" y="301"/>
                    <a:pt x="702" y="301"/>
                  </a:cubicBezTo>
                  <a:lnTo>
                    <a:pt x="710" y="301"/>
                  </a:lnTo>
                  <a:close/>
                  <a:moveTo>
                    <a:pt x="710" y="349"/>
                  </a:moveTo>
                  <a:cubicBezTo>
                    <a:pt x="710" y="325"/>
                    <a:pt x="710" y="325"/>
                    <a:pt x="710" y="325"/>
                  </a:cubicBezTo>
                  <a:cubicBezTo>
                    <a:pt x="702" y="325"/>
                    <a:pt x="702" y="325"/>
                    <a:pt x="702" y="325"/>
                  </a:cubicBezTo>
                  <a:cubicBezTo>
                    <a:pt x="702" y="349"/>
                    <a:pt x="702" y="349"/>
                    <a:pt x="702" y="349"/>
                  </a:cubicBezTo>
                  <a:lnTo>
                    <a:pt x="710" y="349"/>
                  </a:lnTo>
                  <a:close/>
                  <a:moveTo>
                    <a:pt x="710" y="397"/>
                  </a:moveTo>
                  <a:cubicBezTo>
                    <a:pt x="710" y="373"/>
                    <a:pt x="710" y="373"/>
                    <a:pt x="710" y="373"/>
                  </a:cubicBezTo>
                  <a:cubicBezTo>
                    <a:pt x="702" y="373"/>
                    <a:pt x="702" y="373"/>
                    <a:pt x="702" y="373"/>
                  </a:cubicBezTo>
                  <a:cubicBezTo>
                    <a:pt x="702" y="397"/>
                    <a:pt x="702" y="397"/>
                    <a:pt x="702" y="397"/>
                  </a:cubicBezTo>
                  <a:lnTo>
                    <a:pt x="710" y="397"/>
                  </a:lnTo>
                  <a:close/>
                  <a:moveTo>
                    <a:pt x="710" y="445"/>
                  </a:moveTo>
                  <a:cubicBezTo>
                    <a:pt x="710" y="421"/>
                    <a:pt x="710" y="421"/>
                    <a:pt x="710" y="421"/>
                  </a:cubicBezTo>
                  <a:cubicBezTo>
                    <a:pt x="702" y="421"/>
                    <a:pt x="702" y="421"/>
                    <a:pt x="702" y="421"/>
                  </a:cubicBezTo>
                  <a:cubicBezTo>
                    <a:pt x="702" y="445"/>
                    <a:pt x="702" y="445"/>
                    <a:pt x="702" y="445"/>
                  </a:cubicBezTo>
                  <a:lnTo>
                    <a:pt x="710" y="445"/>
                  </a:lnTo>
                  <a:close/>
                  <a:moveTo>
                    <a:pt x="710" y="493"/>
                  </a:moveTo>
                  <a:cubicBezTo>
                    <a:pt x="710" y="469"/>
                    <a:pt x="710" y="469"/>
                    <a:pt x="710" y="469"/>
                  </a:cubicBezTo>
                  <a:cubicBezTo>
                    <a:pt x="702" y="469"/>
                    <a:pt x="702" y="469"/>
                    <a:pt x="702" y="469"/>
                  </a:cubicBezTo>
                  <a:cubicBezTo>
                    <a:pt x="702" y="493"/>
                    <a:pt x="702" y="493"/>
                    <a:pt x="702" y="493"/>
                  </a:cubicBezTo>
                  <a:lnTo>
                    <a:pt x="710" y="493"/>
                  </a:lnTo>
                  <a:close/>
                  <a:moveTo>
                    <a:pt x="710" y="542"/>
                  </a:moveTo>
                  <a:cubicBezTo>
                    <a:pt x="710" y="518"/>
                    <a:pt x="710" y="518"/>
                    <a:pt x="710" y="518"/>
                  </a:cubicBezTo>
                  <a:cubicBezTo>
                    <a:pt x="702" y="518"/>
                    <a:pt x="702" y="518"/>
                    <a:pt x="702" y="518"/>
                  </a:cubicBezTo>
                  <a:cubicBezTo>
                    <a:pt x="702" y="542"/>
                    <a:pt x="702" y="542"/>
                    <a:pt x="702" y="542"/>
                  </a:cubicBezTo>
                  <a:lnTo>
                    <a:pt x="710" y="542"/>
                  </a:lnTo>
                  <a:close/>
                  <a:moveTo>
                    <a:pt x="710" y="590"/>
                  </a:moveTo>
                  <a:cubicBezTo>
                    <a:pt x="710" y="566"/>
                    <a:pt x="710" y="566"/>
                    <a:pt x="710" y="566"/>
                  </a:cubicBezTo>
                  <a:cubicBezTo>
                    <a:pt x="702" y="566"/>
                    <a:pt x="702" y="566"/>
                    <a:pt x="702" y="566"/>
                  </a:cubicBezTo>
                  <a:cubicBezTo>
                    <a:pt x="702" y="590"/>
                    <a:pt x="702" y="590"/>
                    <a:pt x="702" y="590"/>
                  </a:cubicBezTo>
                  <a:lnTo>
                    <a:pt x="710" y="590"/>
                  </a:lnTo>
                  <a:close/>
                  <a:moveTo>
                    <a:pt x="710" y="638"/>
                  </a:moveTo>
                  <a:cubicBezTo>
                    <a:pt x="710" y="614"/>
                    <a:pt x="710" y="614"/>
                    <a:pt x="710" y="614"/>
                  </a:cubicBezTo>
                  <a:cubicBezTo>
                    <a:pt x="702" y="614"/>
                    <a:pt x="702" y="614"/>
                    <a:pt x="702" y="614"/>
                  </a:cubicBezTo>
                  <a:cubicBezTo>
                    <a:pt x="702" y="638"/>
                    <a:pt x="702" y="638"/>
                    <a:pt x="702" y="638"/>
                  </a:cubicBezTo>
                  <a:lnTo>
                    <a:pt x="710" y="638"/>
                  </a:lnTo>
                  <a:close/>
                  <a:moveTo>
                    <a:pt x="710" y="686"/>
                  </a:moveTo>
                  <a:cubicBezTo>
                    <a:pt x="710" y="662"/>
                    <a:pt x="710" y="662"/>
                    <a:pt x="710" y="662"/>
                  </a:cubicBezTo>
                  <a:cubicBezTo>
                    <a:pt x="702" y="662"/>
                    <a:pt x="702" y="662"/>
                    <a:pt x="702" y="662"/>
                  </a:cubicBezTo>
                  <a:cubicBezTo>
                    <a:pt x="702" y="686"/>
                    <a:pt x="702" y="686"/>
                    <a:pt x="702" y="686"/>
                  </a:cubicBezTo>
                  <a:lnTo>
                    <a:pt x="710" y="686"/>
                  </a:lnTo>
                  <a:close/>
                  <a:moveTo>
                    <a:pt x="710" y="734"/>
                  </a:moveTo>
                  <a:cubicBezTo>
                    <a:pt x="710" y="710"/>
                    <a:pt x="710" y="710"/>
                    <a:pt x="710" y="710"/>
                  </a:cubicBezTo>
                  <a:cubicBezTo>
                    <a:pt x="702" y="710"/>
                    <a:pt x="702" y="710"/>
                    <a:pt x="702" y="710"/>
                  </a:cubicBezTo>
                  <a:cubicBezTo>
                    <a:pt x="702" y="734"/>
                    <a:pt x="702" y="734"/>
                    <a:pt x="702" y="734"/>
                  </a:cubicBezTo>
                  <a:lnTo>
                    <a:pt x="710" y="734"/>
                  </a:lnTo>
                  <a:close/>
                  <a:moveTo>
                    <a:pt x="710" y="782"/>
                  </a:moveTo>
                  <a:cubicBezTo>
                    <a:pt x="710" y="758"/>
                    <a:pt x="710" y="758"/>
                    <a:pt x="710" y="758"/>
                  </a:cubicBezTo>
                  <a:cubicBezTo>
                    <a:pt x="702" y="758"/>
                    <a:pt x="702" y="758"/>
                    <a:pt x="702" y="758"/>
                  </a:cubicBezTo>
                  <a:cubicBezTo>
                    <a:pt x="702" y="782"/>
                    <a:pt x="702" y="782"/>
                    <a:pt x="702" y="782"/>
                  </a:cubicBezTo>
                  <a:lnTo>
                    <a:pt x="710" y="7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" name="íṧ1iḑe">
              <a:extLst>
                <a:ext uri="{FF2B5EF4-FFF2-40B4-BE49-F238E27FC236}">
                  <a16:creationId xmlns:a16="http://schemas.microsoft.com/office/drawing/2014/main" id="{868D7B00-B158-4A26-AAA3-E3D30345D014}"/>
                </a:ext>
              </a:extLst>
            </p:cNvPr>
            <p:cNvSpPr/>
            <p:nvPr/>
          </p:nvSpPr>
          <p:spPr bwMode="auto">
            <a:xfrm>
              <a:off x="5385017" y="1514475"/>
              <a:ext cx="947738" cy="3292475"/>
            </a:xfrm>
            <a:custGeom>
              <a:avLst/>
              <a:gdLst>
                <a:gd name="T0" fmla="*/ 0 w 303"/>
                <a:gd name="T1" fmla="*/ 8 h 1129"/>
                <a:gd name="T2" fmla="*/ 72 w 303"/>
                <a:gd name="T3" fmla="*/ 0 h 1129"/>
                <a:gd name="T4" fmla="*/ 72 w 303"/>
                <a:gd name="T5" fmla="*/ 8 h 1129"/>
                <a:gd name="T6" fmla="*/ 96 w 303"/>
                <a:gd name="T7" fmla="*/ 0 h 1129"/>
                <a:gd name="T8" fmla="*/ 120 w 303"/>
                <a:gd name="T9" fmla="*/ 0 h 1129"/>
                <a:gd name="T10" fmla="*/ 144 w 303"/>
                <a:gd name="T11" fmla="*/ 8 h 1129"/>
                <a:gd name="T12" fmla="*/ 215 w 303"/>
                <a:gd name="T13" fmla="*/ 0 h 1129"/>
                <a:gd name="T14" fmla="*/ 215 w 303"/>
                <a:gd name="T15" fmla="*/ 8 h 1129"/>
                <a:gd name="T16" fmla="*/ 259 w 303"/>
                <a:gd name="T17" fmla="*/ 0 h 1129"/>
                <a:gd name="T18" fmla="*/ 259 w 303"/>
                <a:gd name="T19" fmla="*/ 8 h 1129"/>
                <a:gd name="T20" fmla="*/ 301 w 303"/>
                <a:gd name="T21" fmla="*/ 30 h 1129"/>
                <a:gd name="T22" fmla="*/ 294 w 303"/>
                <a:gd name="T23" fmla="*/ 32 h 1129"/>
                <a:gd name="T24" fmla="*/ 303 w 303"/>
                <a:gd name="T25" fmla="*/ 55 h 1129"/>
                <a:gd name="T26" fmla="*/ 303 w 303"/>
                <a:gd name="T27" fmla="*/ 79 h 1129"/>
                <a:gd name="T28" fmla="*/ 295 w 303"/>
                <a:gd name="T29" fmla="*/ 103 h 1129"/>
                <a:gd name="T30" fmla="*/ 303 w 303"/>
                <a:gd name="T31" fmla="*/ 174 h 1129"/>
                <a:gd name="T32" fmla="*/ 295 w 303"/>
                <a:gd name="T33" fmla="*/ 174 h 1129"/>
                <a:gd name="T34" fmla="*/ 303 w 303"/>
                <a:gd name="T35" fmla="*/ 198 h 1129"/>
                <a:gd name="T36" fmla="*/ 303 w 303"/>
                <a:gd name="T37" fmla="*/ 222 h 1129"/>
                <a:gd name="T38" fmla="*/ 295 w 303"/>
                <a:gd name="T39" fmla="*/ 246 h 1129"/>
                <a:gd name="T40" fmla="*/ 303 w 303"/>
                <a:gd name="T41" fmla="*/ 318 h 1129"/>
                <a:gd name="T42" fmla="*/ 295 w 303"/>
                <a:gd name="T43" fmla="*/ 318 h 1129"/>
                <a:gd name="T44" fmla="*/ 303 w 303"/>
                <a:gd name="T45" fmla="*/ 342 h 1129"/>
                <a:gd name="T46" fmla="*/ 303 w 303"/>
                <a:gd name="T47" fmla="*/ 365 h 1129"/>
                <a:gd name="T48" fmla="*/ 295 w 303"/>
                <a:gd name="T49" fmla="*/ 389 h 1129"/>
                <a:gd name="T50" fmla="*/ 303 w 303"/>
                <a:gd name="T51" fmla="*/ 461 h 1129"/>
                <a:gd name="T52" fmla="*/ 295 w 303"/>
                <a:gd name="T53" fmla="*/ 461 h 1129"/>
                <a:gd name="T54" fmla="*/ 303 w 303"/>
                <a:gd name="T55" fmla="*/ 485 h 1129"/>
                <a:gd name="T56" fmla="*/ 303 w 303"/>
                <a:gd name="T57" fmla="*/ 509 h 1129"/>
                <a:gd name="T58" fmla="*/ 295 w 303"/>
                <a:gd name="T59" fmla="*/ 533 h 1129"/>
                <a:gd name="T60" fmla="*/ 303 w 303"/>
                <a:gd name="T61" fmla="*/ 604 h 1129"/>
                <a:gd name="T62" fmla="*/ 295 w 303"/>
                <a:gd name="T63" fmla="*/ 604 h 1129"/>
                <a:gd name="T64" fmla="*/ 303 w 303"/>
                <a:gd name="T65" fmla="*/ 628 h 1129"/>
                <a:gd name="T66" fmla="*/ 303 w 303"/>
                <a:gd name="T67" fmla="*/ 652 h 1129"/>
                <a:gd name="T68" fmla="*/ 295 w 303"/>
                <a:gd name="T69" fmla="*/ 676 h 1129"/>
                <a:gd name="T70" fmla="*/ 303 w 303"/>
                <a:gd name="T71" fmla="*/ 747 h 1129"/>
                <a:gd name="T72" fmla="*/ 295 w 303"/>
                <a:gd name="T73" fmla="*/ 747 h 1129"/>
                <a:gd name="T74" fmla="*/ 303 w 303"/>
                <a:gd name="T75" fmla="*/ 771 h 1129"/>
                <a:gd name="T76" fmla="*/ 303 w 303"/>
                <a:gd name="T77" fmla="*/ 795 h 1129"/>
                <a:gd name="T78" fmla="*/ 295 w 303"/>
                <a:gd name="T79" fmla="*/ 819 h 1129"/>
                <a:gd name="T80" fmla="*/ 303 w 303"/>
                <a:gd name="T81" fmla="*/ 891 h 1129"/>
                <a:gd name="T82" fmla="*/ 295 w 303"/>
                <a:gd name="T83" fmla="*/ 891 h 1129"/>
                <a:gd name="T84" fmla="*/ 303 w 303"/>
                <a:gd name="T85" fmla="*/ 915 h 1129"/>
                <a:gd name="T86" fmla="*/ 303 w 303"/>
                <a:gd name="T87" fmla="*/ 938 h 1129"/>
                <a:gd name="T88" fmla="*/ 295 w 303"/>
                <a:gd name="T89" fmla="*/ 962 h 1129"/>
                <a:gd name="T90" fmla="*/ 303 w 303"/>
                <a:gd name="T91" fmla="*/ 1034 h 1129"/>
                <a:gd name="T92" fmla="*/ 295 w 303"/>
                <a:gd name="T93" fmla="*/ 1034 h 1129"/>
                <a:gd name="T94" fmla="*/ 303 w 303"/>
                <a:gd name="T95" fmla="*/ 1058 h 1129"/>
                <a:gd name="T96" fmla="*/ 303 w 303"/>
                <a:gd name="T97" fmla="*/ 1082 h 1129"/>
                <a:gd name="T98" fmla="*/ 295 w 303"/>
                <a:gd name="T99" fmla="*/ 1106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" h="1129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0"/>
                  </a:lnTo>
                  <a:close/>
                  <a:moveTo>
                    <a:pt x="72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72" y="8"/>
                    <a:pt x="72" y="8"/>
                    <a:pt x="72" y="8"/>
                  </a:cubicBezTo>
                  <a:lnTo>
                    <a:pt x="72" y="0"/>
                  </a:lnTo>
                  <a:close/>
                  <a:moveTo>
                    <a:pt x="12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20" y="8"/>
                    <a:pt x="120" y="8"/>
                    <a:pt x="120" y="8"/>
                  </a:cubicBezTo>
                  <a:lnTo>
                    <a:pt x="120" y="0"/>
                  </a:lnTo>
                  <a:close/>
                  <a:moveTo>
                    <a:pt x="168" y="0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68" y="8"/>
                    <a:pt x="168" y="8"/>
                    <a:pt x="168" y="8"/>
                  </a:cubicBezTo>
                  <a:lnTo>
                    <a:pt x="168" y="0"/>
                  </a:lnTo>
                  <a:close/>
                  <a:moveTo>
                    <a:pt x="215" y="0"/>
                  </a:moveTo>
                  <a:cubicBezTo>
                    <a:pt x="191" y="0"/>
                    <a:pt x="191" y="0"/>
                    <a:pt x="191" y="0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215" y="8"/>
                    <a:pt x="215" y="8"/>
                    <a:pt x="215" y="8"/>
                  </a:cubicBezTo>
                  <a:lnTo>
                    <a:pt x="215" y="0"/>
                  </a:lnTo>
                  <a:close/>
                  <a:moveTo>
                    <a:pt x="263" y="0"/>
                  </a:moveTo>
                  <a:cubicBezTo>
                    <a:pt x="262" y="0"/>
                    <a:pt x="261" y="0"/>
                    <a:pt x="259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8"/>
                    <a:pt x="239" y="8"/>
                    <a:pt x="239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61" y="8"/>
                    <a:pt x="262" y="8"/>
                    <a:pt x="263" y="8"/>
                  </a:cubicBezTo>
                  <a:cubicBezTo>
                    <a:pt x="263" y="0"/>
                    <a:pt x="263" y="0"/>
                    <a:pt x="263" y="0"/>
                  </a:cubicBezTo>
                  <a:close/>
                  <a:moveTo>
                    <a:pt x="301" y="30"/>
                  </a:moveTo>
                  <a:cubicBezTo>
                    <a:pt x="299" y="22"/>
                    <a:pt x="295" y="14"/>
                    <a:pt x="288" y="8"/>
                  </a:cubicBezTo>
                  <a:cubicBezTo>
                    <a:pt x="283" y="14"/>
                    <a:pt x="283" y="14"/>
                    <a:pt x="283" y="14"/>
                  </a:cubicBezTo>
                  <a:cubicBezTo>
                    <a:pt x="288" y="19"/>
                    <a:pt x="292" y="25"/>
                    <a:pt x="294" y="32"/>
                  </a:cubicBezTo>
                  <a:cubicBezTo>
                    <a:pt x="301" y="30"/>
                    <a:pt x="301" y="30"/>
                    <a:pt x="301" y="30"/>
                  </a:cubicBezTo>
                  <a:close/>
                  <a:moveTo>
                    <a:pt x="303" y="79"/>
                  </a:moveTo>
                  <a:cubicBezTo>
                    <a:pt x="303" y="55"/>
                    <a:pt x="303" y="55"/>
                    <a:pt x="303" y="55"/>
                  </a:cubicBezTo>
                  <a:cubicBezTo>
                    <a:pt x="295" y="55"/>
                    <a:pt x="295" y="55"/>
                    <a:pt x="295" y="55"/>
                  </a:cubicBezTo>
                  <a:cubicBezTo>
                    <a:pt x="295" y="79"/>
                    <a:pt x="295" y="79"/>
                    <a:pt x="295" y="79"/>
                  </a:cubicBezTo>
                  <a:lnTo>
                    <a:pt x="303" y="79"/>
                  </a:lnTo>
                  <a:close/>
                  <a:moveTo>
                    <a:pt x="303" y="127"/>
                  </a:moveTo>
                  <a:cubicBezTo>
                    <a:pt x="303" y="103"/>
                    <a:pt x="303" y="103"/>
                    <a:pt x="303" y="103"/>
                  </a:cubicBezTo>
                  <a:cubicBezTo>
                    <a:pt x="295" y="103"/>
                    <a:pt x="295" y="103"/>
                    <a:pt x="295" y="103"/>
                  </a:cubicBezTo>
                  <a:cubicBezTo>
                    <a:pt x="295" y="127"/>
                    <a:pt x="295" y="127"/>
                    <a:pt x="295" y="127"/>
                  </a:cubicBezTo>
                  <a:lnTo>
                    <a:pt x="303" y="127"/>
                  </a:lnTo>
                  <a:close/>
                  <a:moveTo>
                    <a:pt x="303" y="174"/>
                  </a:moveTo>
                  <a:cubicBezTo>
                    <a:pt x="303" y="151"/>
                    <a:pt x="303" y="151"/>
                    <a:pt x="303" y="151"/>
                  </a:cubicBezTo>
                  <a:cubicBezTo>
                    <a:pt x="295" y="151"/>
                    <a:pt x="295" y="151"/>
                    <a:pt x="295" y="151"/>
                  </a:cubicBezTo>
                  <a:cubicBezTo>
                    <a:pt x="295" y="174"/>
                    <a:pt x="295" y="174"/>
                    <a:pt x="295" y="174"/>
                  </a:cubicBezTo>
                  <a:lnTo>
                    <a:pt x="303" y="174"/>
                  </a:lnTo>
                  <a:close/>
                  <a:moveTo>
                    <a:pt x="303" y="222"/>
                  </a:moveTo>
                  <a:cubicBezTo>
                    <a:pt x="303" y="198"/>
                    <a:pt x="303" y="198"/>
                    <a:pt x="303" y="198"/>
                  </a:cubicBezTo>
                  <a:cubicBezTo>
                    <a:pt x="295" y="198"/>
                    <a:pt x="295" y="198"/>
                    <a:pt x="295" y="198"/>
                  </a:cubicBezTo>
                  <a:cubicBezTo>
                    <a:pt x="295" y="222"/>
                    <a:pt x="295" y="222"/>
                    <a:pt x="295" y="222"/>
                  </a:cubicBezTo>
                  <a:lnTo>
                    <a:pt x="303" y="222"/>
                  </a:lnTo>
                  <a:close/>
                  <a:moveTo>
                    <a:pt x="303" y="270"/>
                  </a:moveTo>
                  <a:cubicBezTo>
                    <a:pt x="303" y="246"/>
                    <a:pt x="303" y="246"/>
                    <a:pt x="303" y="246"/>
                  </a:cubicBezTo>
                  <a:cubicBezTo>
                    <a:pt x="295" y="246"/>
                    <a:pt x="295" y="246"/>
                    <a:pt x="295" y="246"/>
                  </a:cubicBezTo>
                  <a:cubicBezTo>
                    <a:pt x="295" y="270"/>
                    <a:pt x="295" y="270"/>
                    <a:pt x="295" y="270"/>
                  </a:cubicBezTo>
                  <a:lnTo>
                    <a:pt x="303" y="270"/>
                  </a:lnTo>
                  <a:close/>
                  <a:moveTo>
                    <a:pt x="303" y="318"/>
                  </a:moveTo>
                  <a:cubicBezTo>
                    <a:pt x="303" y="294"/>
                    <a:pt x="303" y="294"/>
                    <a:pt x="303" y="294"/>
                  </a:cubicBezTo>
                  <a:cubicBezTo>
                    <a:pt x="295" y="294"/>
                    <a:pt x="295" y="294"/>
                    <a:pt x="295" y="294"/>
                  </a:cubicBezTo>
                  <a:cubicBezTo>
                    <a:pt x="295" y="318"/>
                    <a:pt x="295" y="318"/>
                    <a:pt x="295" y="318"/>
                  </a:cubicBezTo>
                  <a:lnTo>
                    <a:pt x="303" y="318"/>
                  </a:lnTo>
                  <a:close/>
                  <a:moveTo>
                    <a:pt x="303" y="365"/>
                  </a:moveTo>
                  <a:cubicBezTo>
                    <a:pt x="303" y="342"/>
                    <a:pt x="303" y="342"/>
                    <a:pt x="303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65"/>
                    <a:pt x="295" y="365"/>
                    <a:pt x="295" y="365"/>
                  </a:cubicBezTo>
                  <a:lnTo>
                    <a:pt x="303" y="365"/>
                  </a:lnTo>
                  <a:close/>
                  <a:moveTo>
                    <a:pt x="303" y="413"/>
                  </a:moveTo>
                  <a:cubicBezTo>
                    <a:pt x="303" y="389"/>
                    <a:pt x="303" y="389"/>
                    <a:pt x="303" y="389"/>
                  </a:cubicBezTo>
                  <a:cubicBezTo>
                    <a:pt x="295" y="389"/>
                    <a:pt x="295" y="389"/>
                    <a:pt x="295" y="389"/>
                  </a:cubicBezTo>
                  <a:cubicBezTo>
                    <a:pt x="295" y="413"/>
                    <a:pt x="295" y="413"/>
                    <a:pt x="295" y="413"/>
                  </a:cubicBezTo>
                  <a:lnTo>
                    <a:pt x="303" y="413"/>
                  </a:lnTo>
                  <a:close/>
                  <a:moveTo>
                    <a:pt x="303" y="461"/>
                  </a:moveTo>
                  <a:cubicBezTo>
                    <a:pt x="303" y="437"/>
                    <a:pt x="303" y="437"/>
                    <a:pt x="303" y="437"/>
                  </a:cubicBezTo>
                  <a:cubicBezTo>
                    <a:pt x="295" y="437"/>
                    <a:pt x="295" y="437"/>
                    <a:pt x="295" y="437"/>
                  </a:cubicBezTo>
                  <a:cubicBezTo>
                    <a:pt x="295" y="461"/>
                    <a:pt x="295" y="461"/>
                    <a:pt x="295" y="461"/>
                  </a:cubicBezTo>
                  <a:lnTo>
                    <a:pt x="303" y="461"/>
                  </a:lnTo>
                  <a:close/>
                  <a:moveTo>
                    <a:pt x="303" y="509"/>
                  </a:moveTo>
                  <a:cubicBezTo>
                    <a:pt x="303" y="485"/>
                    <a:pt x="303" y="485"/>
                    <a:pt x="303" y="485"/>
                  </a:cubicBezTo>
                  <a:cubicBezTo>
                    <a:pt x="295" y="485"/>
                    <a:pt x="295" y="485"/>
                    <a:pt x="295" y="485"/>
                  </a:cubicBezTo>
                  <a:cubicBezTo>
                    <a:pt x="295" y="509"/>
                    <a:pt x="295" y="509"/>
                    <a:pt x="295" y="509"/>
                  </a:cubicBezTo>
                  <a:lnTo>
                    <a:pt x="303" y="509"/>
                  </a:lnTo>
                  <a:close/>
                  <a:moveTo>
                    <a:pt x="303" y="556"/>
                  </a:moveTo>
                  <a:cubicBezTo>
                    <a:pt x="303" y="533"/>
                    <a:pt x="303" y="533"/>
                    <a:pt x="303" y="533"/>
                  </a:cubicBezTo>
                  <a:cubicBezTo>
                    <a:pt x="295" y="533"/>
                    <a:pt x="295" y="533"/>
                    <a:pt x="295" y="533"/>
                  </a:cubicBezTo>
                  <a:cubicBezTo>
                    <a:pt x="295" y="556"/>
                    <a:pt x="295" y="556"/>
                    <a:pt x="295" y="556"/>
                  </a:cubicBezTo>
                  <a:lnTo>
                    <a:pt x="303" y="556"/>
                  </a:lnTo>
                  <a:close/>
                  <a:moveTo>
                    <a:pt x="303" y="604"/>
                  </a:moveTo>
                  <a:cubicBezTo>
                    <a:pt x="303" y="580"/>
                    <a:pt x="303" y="580"/>
                    <a:pt x="303" y="580"/>
                  </a:cubicBezTo>
                  <a:cubicBezTo>
                    <a:pt x="295" y="580"/>
                    <a:pt x="295" y="580"/>
                    <a:pt x="295" y="580"/>
                  </a:cubicBezTo>
                  <a:cubicBezTo>
                    <a:pt x="295" y="604"/>
                    <a:pt x="295" y="604"/>
                    <a:pt x="295" y="604"/>
                  </a:cubicBezTo>
                  <a:lnTo>
                    <a:pt x="303" y="604"/>
                  </a:lnTo>
                  <a:close/>
                  <a:moveTo>
                    <a:pt x="303" y="652"/>
                  </a:moveTo>
                  <a:cubicBezTo>
                    <a:pt x="303" y="628"/>
                    <a:pt x="303" y="628"/>
                    <a:pt x="303" y="628"/>
                  </a:cubicBezTo>
                  <a:cubicBezTo>
                    <a:pt x="295" y="628"/>
                    <a:pt x="295" y="628"/>
                    <a:pt x="295" y="628"/>
                  </a:cubicBezTo>
                  <a:cubicBezTo>
                    <a:pt x="295" y="652"/>
                    <a:pt x="295" y="652"/>
                    <a:pt x="295" y="652"/>
                  </a:cubicBezTo>
                  <a:lnTo>
                    <a:pt x="303" y="652"/>
                  </a:lnTo>
                  <a:close/>
                  <a:moveTo>
                    <a:pt x="303" y="700"/>
                  </a:moveTo>
                  <a:cubicBezTo>
                    <a:pt x="303" y="676"/>
                    <a:pt x="303" y="676"/>
                    <a:pt x="303" y="676"/>
                  </a:cubicBezTo>
                  <a:cubicBezTo>
                    <a:pt x="295" y="676"/>
                    <a:pt x="295" y="676"/>
                    <a:pt x="295" y="676"/>
                  </a:cubicBezTo>
                  <a:cubicBezTo>
                    <a:pt x="295" y="700"/>
                    <a:pt x="295" y="700"/>
                    <a:pt x="295" y="700"/>
                  </a:cubicBezTo>
                  <a:lnTo>
                    <a:pt x="303" y="700"/>
                  </a:lnTo>
                  <a:close/>
                  <a:moveTo>
                    <a:pt x="303" y="747"/>
                  </a:moveTo>
                  <a:cubicBezTo>
                    <a:pt x="303" y="724"/>
                    <a:pt x="303" y="724"/>
                    <a:pt x="303" y="724"/>
                  </a:cubicBezTo>
                  <a:cubicBezTo>
                    <a:pt x="295" y="724"/>
                    <a:pt x="295" y="724"/>
                    <a:pt x="295" y="724"/>
                  </a:cubicBezTo>
                  <a:cubicBezTo>
                    <a:pt x="295" y="747"/>
                    <a:pt x="295" y="747"/>
                    <a:pt x="295" y="747"/>
                  </a:cubicBezTo>
                  <a:lnTo>
                    <a:pt x="303" y="747"/>
                  </a:lnTo>
                  <a:close/>
                  <a:moveTo>
                    <a:pt x="303" y="795"/>
                  </a:moveTo>
                  <a:cubicBezTo>
                    <a:pt x="303" y="771"/>
                    <a:pt x="303" y="771"/>
                    <a:pt x="303" y="771"/>
                  </a:cubicBezTo>
                  <a:cubicBezTo>
                    <a:pt x="295" y="771"/>
                    <a:pt x="295" y="771"/>
                    <a:pt x="295" y="771"/>
                  </a:cubicBezTo>
                  <a:cubicBezTo>
                    <a:pt x="295" y="795"/>
                    <a:pt x="295" y="795"/>
                    <a:pt x="295" y="795"/>
                  </a:cubicBezTo>
                  <a:lnTo>
                    <a:pt x="303" y="795"/>
                  </a:lnTo>
                  <a:close/>
                  <a:moveTo>
                    <a:pt x="303" y="843"/>
                  </a:moveTo>
                  <a:cubicBezTo>
                    <a:pt x="303" y="819"/>
                    <a:pt x="303" y="819"/>
                    <a:pt x="303" y="819"/>
                  </a:cubicBezTo>
                  <a:cubicBezTo>
                    <a:pt x="295" y="819"/>
                    <a:pt x="295" y="819"/>
                    <a:pt x="295" y="819"/>
                  </a:cubicBezTo>
                  <a:cubicBezTo>
                    <a:pt x="295" y="843"/>
                    <a:pt x="295" y="843"/>
                    <a:pt x="295" y="843"/>
                  </a:cubicBezTo>
                  <a:lnTo>
                    <a:pt x="303" y="843"/>
                  </a:lnTo>
                  <a:close/>
                  <a:moveTo>
                    <a:pt x="303" y="891"/>
                  </a:moveTo>
                  <a:cubicBezTo>
                    <a:pt x="303" y="867"/>
                    <a:pt x="303" y="867"/>
                    <a:pt x="303" y="867"/>
                  </a:cubicBezTo>
                  <a:cubicBezTo>
                    <a:pt x="295" y="867"/>
                    <a:pt x="295" y="867"/>
                    <a:pt x="295" y="867"/>
                  </a:cubicBezTo>
                  <a:cubicBezTo>
                    <a:pt x="295" y="891"/>
                    <a:pt x="295" y="891"/>
                    <a:pt x="295" y="891"/>
                  </a:cubicBezTo>
                  <a:lnTo>
                    <a:pt x="303" y="891"/>
                  </a:lnTo>
                  <a:close/>
                  <a:moveTo>
                    <a:pt x="303" y="938"/>
                  </a:moveTo>
                  <a:cubicBezTo>
                    <a:pt x="303" y="915"/>
                    <a:pt x="303" y="915"/>
                    <a:pt x="303" y="915"/>
                  </a:cubicBezTo>
                  <a:cubicBezTo>
                    <a:pt x="295" y="915"/>
                    <a:pt x="295" y="915"/>
                    <a:pt x="295" y="915"/>
                  </a:cubicBezTo>
                  <a:cubicBezTo>
                    <a:pt x="295" y="938"/>
                    <a:pt x="295" y="938"/>
                    <a:pt x="295" y="938"/>
                  </a:cubicBezTo>
                  <a:lnTo>
                    <a:pt x="303" y="938"/>
                  </a:lnTo>
                  <a:close/>
                  <a:moveTo>
                    <a:pt x="303" y="986"/>
                  </a:moveTo>
                  <a:cubicBezTo>
                    <a:pt x="303" y="962"/>
                    <a:pt x="303" y="962"/>
                    <a:pt x="303" y="962"/>
                  </a:cubicBezTo>
                  <a:cubicBezTo>
                    <a:pt x="295" y="962"/>
                    <a:pt x="295" y="962"/>
                    <a:pt x="295" y="962"/>
                  </a:cubicBezTo>
                  <a:cubicBezTo>
                    <a:pt x="295" y="986"/>
                    <a:pt x="295" y="986"/>
                    <a:pt x="295" y="986"/>
                  </a:cubicBezTo>
                  <a:lnTo>
                    <a:pt x="303" y="986"/>
                  </a:lnTo>
                  <a:close/>
                  <a:moveTo>
                    <a:pt x="303" y="1034"/>
                  </a:moveTo>
                  <a:cubicBezTo>
                    <a:pt x="303" y="1010"/>
                    <a:pt x="303" y="1010"/>
                    <a:pt x="303" y="1010"/>
                  </a:cubicBezTo>
                  <a:cubicBezTo>
                    <a:pt x="295" y="1010"/>
                    <a:pt x="295" y="1010"/>
                    <a:pt x="295" y="1010"/>
                  </a:cubicBezTo>
                  <a:cubicBezTo>
                    <a:pt x="295" y="1034"/>
                    <a:pt x="295" y="1034"/>
                    <a:pt x="295" y="1034"/>
                  </a:cubicBezTo>
                  <a:lnTo>
                    <a:pt x="303" y="1034"/>
                  </a:lnTo>
                  <a:close/>
                  <a:moveTo>
                    <a:pt x="303" y="1082"/>
                  </a:moveTo>
                  <a:cubicBezTo>
                    <a:pt x="303" y="1058"/>
                    <a:pt x="303" y="1058"/>
                    <a:pt x="303" y="1058"/>
                  </a:cubicBezTo>
                  <a:cubicBezTo>
                    <a:pt x="295" y="1058"/>
                    <a:pt x="295" y="1058"/>
                    <a:pt x="295" y="1058"/>
                  </a:cubicBezTo>
                  <a:cubicBezTo>
                    <a:pt x="295" y="1082"/>
                    <a:pt x="295" y="1082"/>
                    <a:pt x="295" y="1082"/>
                  </a:cubicBezTo>
                  <a:lnTo>
                    <a:pt x="303" y="1082"/>
                  </a:lnTo>
                  <a:close/>
                  <a:moveTo>
                    <a:pt x="303" y="1129"/>
                  </a:moveTo>
                  <a:cubicBezTo>
                    <a:pt x="303" y="1106"/>
                    <a:pt x="303" y="1106"/>
                    <a:pt x="303" y="1106"/>
                  </a:cubicBezTo>
                  <a:cubicBezTo>
                    <a:pt x="295" y="1106"/>
                    <a:pt x="295" y="1106"/>
                    <a:pt x="295" y="1106"/>
                  </a:cubicBezTo>
                  <a:cubicBezTo>
                    <a:pt x="295" y="1129"/>
                    <a:pt x="295" y="1129"/>
                    <a:pt x="295" y="1129"/>
                  </a:cubicBezTo>
                  <a:lnTo>
                    <a:pt x="303" y="11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íśḷíḓé">
              <a:extLst>
                <a:ext uri="{FF2B5EF4-FFF2-40B4-BE49-F238E27FC236}">
                  <a16:creationId xmlns:a16="http://schemas.microsoft.com/office/drawing/2014/main" id="{8A03CE0F-4DE2-4C93-A81C-855CF7CEA5C0}"/>
                </a:ext>
              </a:extLst>
            </p:cNvPr>
            <p:cNvSpPr/>
            <p:nvPr/>
          </p:nvSpPr>
          <p:spPr bwMode="auto">
            <a:xfrm>
              <a:off x="6588342" y="1943101"/>
              <a:ext cx="519113" cy="2613025"/>
            </a:xfrm>
            <a:custGeom>
              <a:avLst/>
              <a:gdLst>
                <a:gd name="T0" fmla="*/ 166 w 166"/>
                <a:gd name="T1" fmla="*/ 0 h 1061"/>
                <a:gd name="T2" fmla="*/ 96 w 166"/>
                <a:gd name="T3" fmla="*/ 8 h 1061"/>
                <a:gd name="T4" fmla="*/ 96 w 166"/>
                <a:gd name="T5" fmla="*/ 0 h 1061"/>
                <a:gd name="T6" fmla="*/ 72 w 166"/>
                <a:gd name="T7" fmla="*/ 8 h 1061"/>
                <a:gd name="T8" fmla="*/ 48 w 166"/>
                <a:gd name="T9" fmla="*/ 8 h 1061"/>
                <a:gd name="T10" fmla="*/ 24 w 166"/>
                <a:gd name="T11" fmla="*/ 4 h 1061"/>
                <a:gd name="T12" fmla="*/ 8 w 166"/>
                <a:gd name="T13" fmla="*/ 70 h 1061"/>
                <a:gd name="T14" fmla="*/ 0 w 166"/>
                <a:gd name="T15" fmla="*/ 46 h 1061"/>
                <a:gd name="T16" fmla="*/ 8 w 166"/>
                <a:gd name="T17" fmla="*/ 70 h 1061"/>
                <a:gd name="T18" fmla="*/ 0 w 166"/>
                <a:gd name="T19" fmla="*/ 93 h 1061"/>
                <a:gd name="T20" fmla="*/ 8 w 166"/>
                <a:gd name="T21" fmla="*/ 164 h 1061"/>
                <a:gd name="T22" fmla="*/ 0 w 166"/>
                <a:gd name="T23" fmla="*/ 164 h 1061"/>
                <a:gd name="T24" fmla="*/ 8 w 166"/>
                <a:gd name="T25" fmla="*/ 188 h 1061"/>
                <a:gd name="T26" fmla="*/ 8 w 166"/>
                <a:gd name="T27" fmla="*/ 211 h 1061"/>
                <a:gd name="T28" fmla="*/ 0 w 166"/>
                <a:gd name="T29" fmla="*/ 235 h 1061"/>
                <a:gd name="T30" fmla="*/ 8 w 166"/>
                <a:gd name="T31" fmla="*/ 306 h 1061"/>
                <a:gd name="T32" fmla="*/ 0 w 166"/>
                <a:gd name="T33" fmla="*/ 306 h 1061"/>
                <a:gd name="T34" fmla="*/ 8 w 166"/>
                <a:gd name="T35" fmla="*/ 329 h 1061"/>
                <a:gd name="T36" fmla="*/ 8 w 166"/>
                <a:gd name="T37" fmla="*/ 353 h 1061"/>
                <a:gd name="T38" fmla="*/ 0 w 166"/>
                <a:gd name="T39" fmla="*/ 376 h 1061"/>
                <a:gd name="T40" fmla="*/ 8 w 166"/>
                <a:gd name="T41" fmla="*/ 447 h 1061"/>
                <a:gd name="T42" fmla="*/ 0 w 166"/>
                <a:gd name="T43" fmla="*/ 447 h 1061"/>
                <a:gd name="T44" fmla="*/ 8 w 166"/>
                <a:gd name="T45" fmla="*/ 471 h 1061"/>
                <a:gd name="T46" fmla="*/ 8 w 166"/>
                <a:gd name="T47" fmla="*/ 494 h 1061"/>
                <a:gd name="T48" fmla="*/ 0 w 166"/>
                <a:gd name="T49" fmla="*/ 518 h 1061"/>
                <a:gd name="T50" fmla="*/ 8 w 166"/>
                <a:gd name="T51" fmla="*/ 589 h 1061"/>
                <a:gd name="T52" fmla="*/ 0 w 166"/>
                <a:gd name="T53" fmla="*/ 589 h 1061"/>
                <a:gd name="T54" fmla="*/ 8 w 166"/>
                <a:gd name="T55" fmla="*/ 612 h 1061"/>
                <a:gd name="T56" fmla="*/ 8 w 166"/>
                <a:gd name="T57" fmla="*/ 636 h 1061"/>
                <a:gd name="T58" fmla="*/ 0 w 166"/>
                <a:gd name="T59" fmla="*/ 660 h 1061"/>
                <a:gd name="T60" fmla="*/ 8 w 166"/>
                <a:gd name="T61" fmla="*/ 730 h 1061"/>
                <a:gd name="T62" fmla="*/ 0 w 166"/>
                <a:gd name="T63" fmla="*/ 730 h 1061"/>
                <a:gd name="T64" fmla="*/ 8 w 166"/>
                <a:gd name="T65" fmla="*/ 754 h 1061"/>
                <a:gd name="T66" fmla="*/ 8 w 166"/>
                <a:gd name="T67" fmla="*/ 778 h 1061"/>
                <a:gd name="T68" fmla="*/ 0 w 166"/>
                <a:gd name="T69" fmla="*/ 801 h 1061"/>
                <a:gd name="T70" fmla="*/ 8 w 166"/>
                <a:gd name="T71" fmla="*/ 872 h 1061"/>
                <a:gd name="T72" fmla="*/ 0 w 166"/>
                <a:gd name="T73" fmla="*/ 872 h 1061"/>
                <a:gd name="T74" fmla="*/ 8 w 166"/>
                <a:gd name="T75" fmla="*/ 896 h 1061"/>
                <a:gd name="T76" fmla="*/ 8 w 166"/>
                <a:gd name="T77" fmla="*/ 919 h 1061"/>
                <a:gd name="T78" fmla="*/ 0 w 166"/>
                <a:gd name="T79" fmla="*/ 943 h 1061"/>
                <a:gd name="T80" fmla="*/ 8 w 166"/>
                <a:gd name="T81" fmla="*/ 1014 h 1061"/>
                <a:gd name="T82" fmla="*/ 0 w 166"/>
                <a:gd name="T83" fmla="*/ 1014 h 1061"/>
                <a:gd name="T84" fmla="*/ 8 w 166"/>
                <a:gd name="T85" fmla="*/ 1037 h 1061"/>
                <a:gd name="T86" fmla="*/ 8 w 166"/>
                <a:gd name="T87" fmla="*/ 1061 h 1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1061">
                  <a:moveTo>
                    <a:pt x="143" y="8"/>
                  </a:moveTo>
                  <a:cubicBezTo>
                    <a:pt x="166" y="8"/>
                    <a:pt x="166" y="8"/>
                    <a:pt x="166" y="8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8"/>
                  </a:lnTo>
                  <a:close/>
                  <a:moveTo>
                    <a:pt x="96" y="8"/>
                  </a:moveTo>
                  <a:cubicBezTo>
                    <a:pt x="119" y="8"/>
                    <a:pt x="119" y="8"/>
                    <a:pt x="119" y="8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96" y="8"/>
                  </a:lnTo>
                  <a:close/>
                  <a:moveTo>
                    <a:pt x="48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8"/>
                  </a:lnTo>
                  <a:close/>
                  <a:moveTo>
                    <a:pt x="12" y="25"/>
                  </a:moveTo>
                  <a:cubicBezTo>
                    <a:pt x="15" y="19"/>
                    <a:pt x="20" y="14"/>
                    <a:pt x="27" y="11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5" y="7"/>
                    <a:pt x="8" y="14"/>
                    <a:pt x="5" y="21"/>
                  </a:cubicBezTo>
                  <a:lnTo>
                    <a:pt x="12" y="25"/>
                  </a:lnTo>
                  <a:close/>
                  <a:moveTo>
                    <a:pt x="8" y="7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8"/>
                    <a:pt x="8" y="47"/>
                    <a:pt x="8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8" y="117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7"/>
                    <a:pt x="0" y="117"/>
                    <a:pt x="0" y="117"/>
                  </a:cubicBezTo>
                  <a:lnTo>
                    <a:pt x="8" y="117"/>
                  </a:lnTo>
                  <a:close/>
                  <a:moveTo>
                    <a:pt x="8" y="164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64"/>
                    <a:pt x="0" y="164"/>
                    <a:pt x="0" y="164"/>
                  </a:cubicBezTo>
                  <a:lnTo>
                    <a:pt x="8" y="164"/>
                  </a:lnTo>
                  <a:close/>
                  <a:moveTo>
                    <a:pt x="8" y="211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8" y="211"/>
                  </a:lnTo>
                  <a:close/>
                  <a:moveTo>
                    <a:pt x="8" y="258"/>
                  </a:moveTo>
                  <a:cubicBezTo>
                    <a:pt x="8" y="235"/>
                    <a:pt x="8" y="235"/>
                    <a:pt x="8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58"/>
                    <a:pt x="0" y="258"/>
                    <a:pt x="0" y="258"/>
                  </a:cubicBezTo>
                  <a:lnTo>
                    <a:pt x="8" y="258"/>
                  </a:lnTo>
                  <a:close/>
                  <a:moveTo>
                    <a:pt x="8" y="306"/>
                  </a:moveTo>
                  <a:cubicBezTo>
                    <a:pt x="8" y="282"/>
                    <a:pt x="8" y="282"/>
                    <a:pt x="8" y="282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306"/>
                    <a:pt x="0" y="306"/>
                    <a:pt x="0" y="306"/>
                  </a:cubicBezTo>
                  <a:lnTo>
                    <a:pt x="8" y="306"/>
                  </a:lnTo>
                  <a:close/>
                  <a:moveTo>
                    <a:pt x="8" y="353"/>
                  </a:moveTo>
                  <a:cubicBezTo>
                    <a:pt x="8" y="329"/>
                    <a:pt x="8" y="329"/>
                    <a:pt x="8" y="329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53"/>
                    <a:pt x="0" y="353"/>
                    <a:pt x="0" y="353"/>
                  </a:cubicBezTo>
                  <a:lnTo>
                    <a:pt x="8" y="353"/>
                  </a:lnTo>
                  <a:close/>
                  <a:moveTo>
                    <a:pt x="8" y="400"/>
                  </a:moveTo>
                  <a:cubicBezTo>
                    <a:pt x="8" y="376"/>
                    <a:pt x="8" y="376"/>
                    <a:pt x="8" y="376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400"/>
                    <a:pt x="0" y="400"/>
                    <a:pt x="0" y="400"/>
                  </a:cubicBezTo>
                  <a:lnTo>
                    <a:pt x="8" y="400"/>
                  </a:lnTo>
                  <a:close/>
                  <a:moveTo>
                    <a:pt x="8" y="447"/>
                  </a:moveTo>
                  <a:cubicBezTo>
                    <a:pt x="8" y="424"/>
                    <a:pt x="8" y="424"/>
                    <a:pt x="8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47"/>
                    <a:pt x="0" y="447"/>
                    <a:pt x="0" y="447"/>
                  </a:cubicBezTo>
                  <a:lnTo>
                    <a:pt x="8" y="447"/>
                  </a:lnTo>
                  <a:close/>
                  <a:moveTo>
                    <a:pt x="8" y="494"/>
                  </a:moveTo>
                  <a:cubicBezTo>
                    <a:pt x="8" y="471"/>
                    <a:pt x="8" y="471"/>
                    <a:pt x="8" y="471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94"/>
                    <a:pt x="0" y="494"/>
                    <a:pt x="0" y="494"/>
                  </a:cubicBezTo>
                  <a:lnTo>
                    <a:pt x="8" y="494"/>
                  </a:lnTo>
                  <a:close/>
                  <a:moveTo>
                    <a:pt x="8" y="542"/>
                  </a:moveTo>
                  <a:cubicBezTo>
                    <a:pt x="8" y="518"/>
                    <a:pt x="8" y="518"/>
                    <a:pt x="8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42"/>
                    <a:pt x="0" y="542"/>
                    <a:pt x="0" y="542"/>
                  </a:cubicBezTo>
                  <a:lnTo>
                    <a:pt x="8" y="542"/>
                  </a:lnTo>
                  <a:close/>
                  <a:moveTo>
                    <a:pt x="8" y="589"/>
                  </a:moveTo>
                  <a:cubicBezTo>
                    <a:pt x="8" y="565"/>
                    <a:pt x="8" y="565"/>
                    <a:pt x="8" y="565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0" y="589"/>
                    <a:pt x="0" y="589"/>
                    <a:pt x="0" y="589"/>
                  </a:cubicBezTo>
                  <a:lnTo>
                    <a:pt x="8" y="589"/>
                  </a:lnTo>
                  <a:close/>
                  <a:moveTo>
                    <a:pt x="8" y="636"/>
                  </a:moveTo>
                  <a:cubicBezTo>
                    <a:pt x="8" y="612"/>
                    <a:pt x="8" y="612"/>
                    <a:pt x="8" y="612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0" y="636"/>
                    <a:pt x="0" y="636"/>
                    <a:pt x="0" y="636"/>
                  </a:cubicBezTo>
                  <a:lnTo>
                    <a:pt x="8" y="636"/>
                  </a:lnTo>
                  <a:close/>
                  <a:moveTo>
                    <a:pt x="8" y="683"/>
                  </a:moveTo>
                  <a:cubicBezTo>
                    <a:pt x="8" y="660"/>
                    <a:pt x="8" y="660"/>
                    <a:pt x="8" y="660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0" y="683"/>
                    <a:pt x="0" y="683"/>
                    <a:pt x="0" y="683"/>
                  </a:cubicBezTo>
                  <a:lnTo>
                    <a:pt x="8" y="683"/>
                  </a:lnTo>
                  <a:close/>
                  <a:moveTo>
                    <a:pt x="8" y="730"/>
                  </a:moveTo>
                  <a:cubicBezTo>
                    <a:pt x="8" y="707"/>
                    <a:pt x="8" y="707"/>
                    <a:pt x="8" y="707"/>
                  </a:cubicBezTo>
                  <a:cubicBezTo>
                    <a:pt x="0" y="707"/>
                    <a:pt x="0" y="707"/>
                    <a:pt x="0" y="707"/>
                  </a:cubicBezTo>
                  <a:cubicBezTo>
                    <a:pt x="0" y="730"/>
                    <a:pt x="0" y="730"/>
                    <a:pt x="0" y="730"/>
                  </a:cubicBezTo>
                  <a:lnTo>
                    <a:pt x="8" y="730"/>
                  </a:lnTo>
                  <a:close/>
                  <a:moveTo>
                    <a:pt x="8" y="778"/>
                  </a:moveTo>
                  <a:cubicBezTo>
                    <a:pt x="8" y="754"/>
                    <a:pt x="8" y="754"/>
                    <a:pt x="8" y="754"/>
                  </a:cubicBezTo>
                  <a:cubicBezTo>
                    <a:pt x="0" y="754"/>
                    <a:pt x="0" y="754"/>
                    <a:pt x="0" y="754"/>
                  </a:cubicBezTo>
                  <a:cubicBezTo>
                    <a:pt x="0" y="778"/>
                    <a:pt x="0" y="778"/>
                    <a:pt x="0" y="778"/>
                  </a:cubicBezTo>
                  <a:lnTo>
                    <a:pt x="8" y="778"/>
                  </a:lnTo>
                  <a:close/>
                  <a:moveTo>
                    <a:pt x="8" y="825"/>
                  </a:moveTo>
                  <a:cubicBezTo>
                    <a:pt x="8" y="801"/>
                    <a:pt x="8" y="801"/>
                    <a:pt x="8" y="801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0" y="825"/>
                    <a:pt x="0" y="825"/>
                    <a:pt x="0" y="825"/>
                  </a:cubicBezTo>
                  <a:lnTo>
                    <a:pt x="8" y="825"/>
                  </a:lnTo>
                  <a:close/>
                  <a:moveTo>
                    <a:pt x="8" y="872"/>
                  </a:moveTo>
                  <a:cubicBezTo>
                    <a:pt x="8" y="848"/>
                    <a:pt x="8" y="848"/>
                    <a:pt x="8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0" y="872"/>
                    <a:pt x="0" y="872"/>
                    <a:pt x="0" y="872"/>
                  </a:cubicBezTo>
                  <a:lnTo>
                    <a:pt x="8" y="872"/>
                  </a:lnTo>
                  <a:close/>
                  <a:moveTo>
                    <a:pt x="8" y="919"/>
                  </a:moveTo>
                  <a:cubicBezTo>
                    <a:pt x="8" y="896"/>
                    <a:pt x="8" y="896"/>
                    <a:pt x="8" y="896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0" y="919"/>
                    <a:pt x="0" y="919"/>
                    <a:pt x="0" y="919"/>
                  </a:cubicBezTo>
                  <a:lnTo>
                    <a:pt x="8" y="919"/>
                  </a:lnTo>
                  <a:close/>
                  <a:moveTo>
                    <a:pt x="8" y="966"/>
                  </a:moveTo>
                  <a:cubicBezTo>
                    <a:pt x="8" y="943"/>
                    <a:pt x="8" y="943"/>
                    <a:pt x="8" y="943"/>
                  </a:cubicBezTo>
                  <a:cubicBezTo>
                    <a:pt x="0" y="943"/>
                    <a:pt x="0" y="943"/>
                    <a:pt x="0" y="943"/>
                  </a:cubicBezTo>
                  <a:cubicBezTo>
                    <a:pt x="0" y="966"/>
                    <a:pt x="0" y="966"/>
                    <a:pt x="0" y="966"/>
                  </a:cubicBezTo>
                  <a:lnTo>
                    <a:pt x="8" y="966"/>
                  </a:lnTo>
                  <a:close/>
                  <a:moveTo>
                    <a:pt x="8" y="1014"/>
                  </a:moveTo>
                  <a:cubicBezTo>
                    <a:pt x="8" y="990"/>
                    <a:pt x="8" y="990"/>
                    <a:pt x="8" y="990"/>
                  </a:cubicBezTo>
                  <a:cubicBezTo>
                    <a:pt x="0" y="990"/>
                    <a:pt x="0" y="990"/>
                    <a:pt x="0" y="990"/>
                  </a:cubicBezTo>
                  <a:cubicBezTo>
                    <a:pt x="0" y="1014"/>
                    <a:pt x="0" y="1014"/>
                    <a:pt x="0" y="1014"/>
                  </a:cubicBezTo>
                  <a:lnTo>
                    <a:pt x="8" y="1014"/>
                  </a:lnTo>
                  <a:close/>
                  <a:moveTo>
                    <a:pt x="8" y="1061"/>
                  </a:moveTo>
                  <a:cubicBezTo>
                    <a:pt x="8" y="1037"/>
                    <a:pt x="8" y="1037"/>
                    <a:pt x="8" y="1037"/>
                  </a:cubicBezTo>
                  <a:cubicBezTo>
                    <a:pt x="0" y="1037"/>
                    <a:pt x="0" y="1037"/>
                    <a:pt x="0" y="1037"/>
                  </a:cubicBezTo>
                  <a:cubicBezTo>
                    <a:pt x="0" y="1061"/>
                    <a:pt x="0" y="1061"/>
                    <a:pt x="0" y="1061"/>
                  </a:cubicBezTo>
                  <a:lnTo>
                    <a:pt x="8" y="10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2" name="íŝļîdè">
              <a:extLst>
                <a:ext uri="{FF2B5EF4-FFF2-40B4-BE49-F238E27FC236}">
                  <a16:creationId xmlns:a16="http://schemas.microsoft.com/office/drawing/2014/main" id="{83AD5E93-CC88-46EC-A371-D4AE353D2674}"/>
                </a:ext>
              </a:extLst>
            </p:cNvPr>
            <p:cNvGrpSpPr/>
            <p:nvPr/>
          </p:nvGrpSpPr>
          <p:grpSpPr>
            <a:xfrm>
              <a:off x="4579403" y="1175581"/>
              <a:ext cx="767514" cy="767520"/>
              <a:chOff x="5371847" y="2312243"/>
              <a:chExt cx="656438" cy="656442"/>
            </a:xfrm>
          </p:grpSpPr>
          <p:sp>
            <p:nvSpPr>
              <p:cNvPr id="61" name="ïslíḑê">
                <a:extLst>
                  <a:ext uri="{FF2B5EF4-FFF2-40B4-BE49-F238E27FC236}">
                    <a16:creationId xmlns:a16="http://schemas.microsoft.com/office/drawing/2014/main" id="{98295142-3696-4937-9DD0-A7E1E9A1B47E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2" name="íṩlïdê">
                <a:extLst>
                  <a:ext uri="{FF2B5EF4-FFF2-40B4-BE49-F238E27FC236}">
                    <a16:creationId xmlns:a16="http://schemas.microsoft.com/office/drawing/2014/main" id="{929C78F6-A65E-43D7-BD62-775DBB35B6DB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3" name="iṣliḓê">
              <a:extLst>
                <a:ext uri="{FF2B5EF4-FFF2-40B4-BE49-F238E27FC236}">
                  <a16:creationId xmlns:a16="http://schemas.microsoft.com/office/drawing/2014/main" id="{ADFC4B4D-49BF-49A1-92CC-D7C065C86A65}"/>
                </a:ext>
              </a:extLst>
            </p:cNvPr>
            <p:cNvGrpSpPr/>
            <p:nvPr/>
          </p:nvGrpSpPr>
          <p:grpSpPr>
            <a:xfrm>
              <a:off x="3222090" y="2735253"/>
              <a:ext cx="767514" cy="767520"/>
              <a:chOff x="5371847" y="2312243"/>
              <a:chExt cx="656438" cy="656442"/>
            </a:xfrm>
          </p:grpSpPr>
          <p:sp>
            <p:nvSpPr>
              <p:cNvPr id="59" name="îš1ïḑé">
                <a:extLst>
                  <a:ext uri="{FF2B5EF4-FFF2-40B4-BE49-F238E27FC236}">
                    <a16:creationId xmlns:a16="http://schemas.microsoft.com/office/drawing/2014/main" id="{D425EE73-EBB8-4EEC-854A-B5F51F0E3146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0" name="išļîḓé">
                <a:extLst>
                  <a:ext uri="{FF2B5EF4-FFF2-40B4-BE49-F238E27FC236}">
                    <a16:creationId xmlns:a16="http://schemas.microsoft.com/office/drawing/2014/main" id="{63CC9DCC-3067-4A3E-A9FC-38BEECEC7824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4" name="îṡļíḍé">
              <a:extLst>
                <a:ext uri="{FF2B5EF4-FFF2-40B4-BE49-F238E27FC236}">
                  <a16:creationId xmlns:a16="http://schemas.microsoft.com/office/drawing/2014/main" id="{8AB00BF9-47CE-41CC-BD41-8635628F648D}"/>
                </a:ext>
              </a:extLst>
            </p:cNvPr>
            <p:cNvGrpSpPr/>
            <p:nvPr/>
          </p:nvGrpSpPr>
          <p:grpSpPr>
            <a:xfrm>
              <a:off x="7919062" y="2876461"/>
              <a:ext cx="767514" cy="767520"/>
              <a:chOff x="5371847" y="2312243"/>
              <a:chExt cx="656438" cy="656442"/>
            </a:xfrm>
          </p:grpSpPr>
          <p:sp>
            <p:nvSpPr>
              <p:cNvPr id="57" name="iṧḷíďê">
                <a:extLst>
                  <a:ext uri="{FF2B5EF4-FFF2-40B4-BE49-F238E27FC236}">
                    <a16:creationId xmlns:a16="http://schemas.microsoft.com/office/drawing/2014/main" id="{9C245F42-9221-4420-81C5-4B9E568B1C48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8" name="îŝ1îḑe">
                <a:extLst>
                  <a:ext uri="{FF2B5EF4-FFF2-40B4-BE49-F238E27FC236}">
                    <a16:creationId xmlns:a16="http://schemas.microsoft.com/office/drawing/2014/main" id="{230067C6-907D-443B-8741-155D05E7AE55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5" name="íşliḓe">
              <a:extLst>
                <a:ext uri="{FF2B5EF4-FFF2-40B4-BE49-F238E27FC236}">
                  <a16:creationId xmlns:a16="http://schemas.microsoft.com/office/drawing/2014/main" id="{C51FE69C-1D10-48D6-9AB6-8AAFA6B67A65}"/>
                </a:ext>
              </a:extLst>
            </p:cNvPr>
            <p:cNvGrpSpPr/>
            <p:nvPr/>
          </p:nvGrpSpPr>
          <p:grpSpPr>
            <a:xfrm>
              <a:off x="7088274" y="1559341"/>
              <a:ext cx="767514" cy="767520"/>
              <a:chOff x="5371847" y="2312243"/>
              <a:chExt cx="656438" cy="656442"/>
            </a:xfrm>
          </p:grpSpPr>
          <p:sp>
            <p:nvSpPr>
              <p:cNvPr id="55" name="íṥḷïďé">
                <a:extLst>
                  <a:ext uri="{FF2B5EF4-FFF2-40B4-BE49-F238E27FC236}">
                    <a16:creationId xmlns:a16="http://schemas.microsoft.com/office/drawing/2014/main" id="{391B02E4-2D12-45F0-9ED5-7D42A635A28B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6" name="íṣḷiḍé">
                <a:extLst>
                  <a:ext uri="{FF2B5EF4-FFF2-40B4-BE49-F238E27FC236}">
                    <a16:creationId xmlns:a16="http://schemas.microsoft.com/office/drawing/2014/main" id="{A29CDFB3-18FE-4782-8FAD-546D22BDDEBB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6" name="ï$ľíḓe">
              <a:extLst>
                <a:ext uri="{FF2B5EF4-FFF2-40B4-BE49-F238E27FC236}">
                  <a16:creationId xmlns:a16="http://schemas.microsoft.com/office/drawing/2014/main" id="{AC5E9A60-2688-43E6-BB8B-AE6D4C3A7835}"/>
                </a:ext>
              </a:extLst>
            </p:cNvPr>
            <p:cNvGrpSpPr/>
            <p:nvPr/>
          </p:nvGrpSpPr>
          <p:grpSpPr>
            <a:xfrm>
              <a:off x="2056942" y="1130300"/>
              <a:ext cx="2454951" cy="1308272"/>
              <a:chOff x="8563614" y="4934816"/>
              <a:chExt cx="2955286" cy="1308272"/>
            </a:xfrm>
          </p:grpSpPr>
          <p:sp>
            <p:nvSpPr>
              <p:cNvPr id="53" name="iṥļiḋê">
                <a:extLst>
                  <a:ext uri="{FF2B5EF4-FFF2-40B4-BE49-F238E27FC236}">
                    <a16:creationId xmlns:a16="http://schemas.microsoft.com/office/drawing/2014/main" id="{FC922048-0AE3-4DAD-9E21-17014A04B539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b="1" dirty="0">
                    <a:latin typeface=""/>
                    <a:ea typeface="微软雅黑" panose="020B0503020204020204" pitchFamily="34" charset="-122"/>
                    <a:sym typeface=""/>
                  </a:rPr>
                  <a:t>A.</a:t>
                </a:r>
                <a:r>
                  <a:rPr lang="zh-CN" altLang="en-US" b="1" dirty="0">
                    <a:latin typeface=""/>
                    <a:ea typeface="微软雅黑" panose="020B0503020204020204" pitchFamily="34" charset="-122"/>
                    <a:sym typeface=""/>
                  </a:rPr>
                  <a:t>结构变化拆解</a:t>
                </a:r>
                <a:endParaRPr lang="en-US" altLang="zh-CN" b="1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4" name="ï$lïḋé">
                <a:extLst>
                  <a:ext uri="{FF2B5EF4-FFF2-40B4-BE49-F238E27FC236}">
                    <a16:creationId xmlns:a16="http://schemas.microsoft.com/office/drawing/2014/main" id="{02F9A1C1-9484-464B-87B0-2B691D31170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32356" cy="8279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为保证结构变化的准确性，对品类整体的结构变化以及份额构成进行拆解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7" name="îSlîḑè">
              <a:extLst>
                <a:ext uri="{FF2B5EF4-FFF2-40B4-BE49-F238E27FC236}">
                  <a16:creationId xmlns:a16="http://schemas.microsoft.com/office/drawing/2014/main" id="{F0370EC1-4344-4493-BF71-75407EC3F5BA}"/>
                </a:ext>
              </a:extLst>
            </p:cNvPr>
            <p:cNvGrpSpPr/>
            <p:nvPr/>
          </p:nvGrpSpPr>
          <p:grpSpPr>
            <a:xfrm>
              <a:off x="673100" y="2464876"/>
              <a:ext cx="2454951" cy="1308272"/>
              <a:chOff x="8563614" y="4934816"/>
              <a:chExt cx="2955286" cy="1308272"/>
            </a:xfrm>
          </p:grpSpPr>
          <p:sp>
            <p:nvSpPr>
              <p:cNvPr id="51" name="išļíḋè">
                <a:extLst>
                  <a:ext uri="{FF2B5EF4-FFF2-40B4-BE49-F238E27FC236}">
                    <a16:creationId xmlns:a16="http://schemas.microsoft.com/office/drawing/2014/main" id="{94852C98-8509-478D-A33E-24B4A444F778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b="1" dirty="0">
                    <a:latin typeface=""/>
                    <a:ea typeface="微软雅黑" panose="020B0503020204020204" pitchFamily="34" charset="-122"/>
                    <a:sym typeface=""/>
                  </a:rPr>
                  <a:t>C.</a:t>
                </a:r>
                <a:r>
                  <a:rPr lang="zh-CN" altLang="en-US" b="1" dirty="0">
                    <a:latin typeface=""/>
                    <a:ea typeface="微软雅黑" panose="020B0503020204020204" pitchFamily="34" charset="-122"/>
                    <a:sym typeface=""/>
                  </a:rPr>
                  <a:t>影响因素变化</a:t>
                </a:r>
                <a:endParaRPr lang="en-US" altLang="zh-CN" b="1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2" name="ïSlïḑe">
                <a:extLst>
                  <a:ext uri="{FF2B5EF4-FFF2-40B4-BE49-F238E27FC236}">
                    <a16:creationId xmlns:a16="http://schemas.microsoft.com/office/drawing/2014/main" id="{CA2AB9BC-531D-4AEC-B2D7-46B6AD202E5C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8279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对历史趋势的变化的变化建模，模拟出未来子因素的占比以及具体数值构成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8" name="ïŝļîḍê">
              <a:extLst>
                <a:ext uri="{FF2B5EF4-FFF2-40B4-BE49-F238E27FC236}">
                  <a16:creationId xmlns:a16="http://schemas.microsoft.com/office/drawing/2014/main" id="{9B47490E-C65E-4A57-9205-4B92CA614AD2}"/>
                </a:ext>
              </a:extLst>
            </p:cNvPr>
            <p:cNvGrpSpPr/>
            <p:nvPr/>
          </p:nvGrpSpPr>
          <p:grpSpPr>
            <a:xfrm>
              <a:off x="7862974" y="1286961"/>
              <a:ext cx="2822061" cy="1308272"/>
              <a:chOff x="8563614" y="4934816"/>
              <a:chExt cx="2955286" cy="1308272"/>
            </a:xfrm>
          </p:grpSpPr>
          <p:sp>
            <p:nvSpPr>
              <p:cNvPr id="49" name="ïṩḻiḋe">
                <a:extLst>
                  <a:ext uri="{FF2B5EF4-FFF2-40B4-BE49-F238E27FC236}">
                    <a16:creationId xmlns:a16="http://schemas.microsoft.com/office/drawing/2014/main" id="{AA6B57C7-92B8-4883-AAE4-D4732BBFF479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b="1" dirty="0">
                    <a:latin typeface=""/>
                    <a:ea typeface="微软雅黑" panose="020B0503020204020204" pitchFamily="34" charset="-122"/>
                    <a:sym typeface=""/>
                  </a:rPr>
                  <a:t>B.</a:t>
                </a:r>
                <a:r>
                  <a:rPr lang="zh-CN" altLang="en-US" b="1" dirty="0">
                    <a:latin typeface=""/>
                    <a:ea typeface="微软雅黑" panose="020B0503020204020204" pitchFamily="34" charset="-122"/>
                    <a:sym typeface=""/>
                  </a:rPr>
                  <a:t>影响因素拆解</a:t>
                </a:r>
                <a:endParaRPr lang="en-US" altLang="zh-CN" b="1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0" name="ïşliḋè">
                <a:extLst>
                  <a:ext uri="{FF2B5EF4-FFF2-40B4-BE49-F238E27FC236}">
                    <a16:creationId xmlns:a16="http://schemas.microsoft.com/office/drawing/2014/main" id="{9C026F64-512F-48B7-A583-6FC418B398E8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8279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渠道变化的影响因素不一种种，需要有确定可用的方法衡量对比不同的影响因素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9" name="íṣḻîḍé">
              <a:extLst>
                <a:ext uri="{FF2B5EF4-FFF2-40B4-BE49-F238E27FC236}">
                  <a16:creationId xmlns:a16="http://schemas.microsoft.com/office/drawing/2014/main" id="{7AFA3DB7-C5EC-4B75-BDAD-FDAA1CC546CF}"/>
                </a:ext>
              </a:extLst>
            </p:cNvPr>
            <p:cNvGrpSpPr/>
            <p:nvPr/>
          </p:nvGrpSpPr>
          <p:grpSpPr>
            <a:xfrm>
              <a:off x="5207794" y="3140076"/>
              <a:ext cx="3280205" cy="3717959"/>
              <a:chOff x="578637" y="2767981"/>
              <a:chExt cx="3582736" cy="4060838"/>
            </a:xfrm>
          </p:grpSpPr>
          <p:sp>
            <p:nvSpPr>
              <p:cNvPr id="20" name="íṡľiḑè">
                <a:extLst>
                  <a:ext uri="{FF2B5EF4-FFF2-40B4-BE49-F238E27FC236}">
                    <a16:creationId xmlns:a16="http://schemas.microsoft.com/office/drawing/2014/main" id="{A13C7931-0BE0-4018-B38B-F1F19097F059}"/>
                  </a:ext>
                </a:extLst>
              </p:cNvPr>
              <p:cNvSpPr/>
              <p:nvPr/>
            </p:nvSpPr>
            <p:spPr bwMode="auto">
              <a:xfrm>
                <a:off x="776283" y="6266924"/>
                <a:ext cx="614900" cy="54290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1" name="ïṥľiḓe">
                <a:extLst>
                  <a:ext uri="{FF2B5EF4-FFF2-40B4-BE49-F238E27FC236}">
                    <a16:creationId xmlns:a16="http://schemas.microsoft.com/office/drawing/2014/main" id="{9B6620F7-3D50-4695-9A19-234617250D04}"/>
                  </a:ext>
                </a:extLst>
              </p:cNvPr>
              <p:cNvSpPr/>
              <p:nvPr/>
            </p:nvSpPr>
            <p:spPr bwMode="auto">
              <a:xfrm>
                <a:off x="597460" y="5282932"/>
                <a:ext cx="1686271" cy="1016567"/>
              </a:xfrm>
              <a:custGeom>
                <a:avLst/>
                <a:gdLst>
                  <a:gd name="T0" fmla="*/ 69 w 272"/>
                  <a:gd name="T1" fmla="*/ 190 h 190"/>
                  <a:gd name="T2" fmla="*/ 12 w 272"/>
                  <a:gd name="T3" fmla="*/ 114 h 190"/>
                  <a:gd name="T4" fmla="*/ 30 w 272"/>
                  <a:gd name="T5" fmla="*/ 95 h 190"/>
                  <a:gd name="T6" fmla="*/ 64 w 272"/>
                  <a:gd name="T7" fmla="*/ 104 h 190"/>
                  <a:gd name="T8" fmla="*/ 69 w 272"/>
                  <a:gd name="T9" fmla="*/ 48 h 190"/>
                  <a:gd name="T10" fmla="*/ 88 w 272"/>
                  <a:gd name="T11" fmla="*/ 66 h 190"/>
                  <a:gd name="T12" fmla="*/ 119 w 272"/>
                  <a:gd name="T13" fmla="*/ 71 h 190"/>
                  <a:gd name="T14" fmla="*/ 155 w 272"/>
                  <a:gd name="T15" fmla="*/ 14 h 190"/>
                  <a:gd name="T16" fmla="*/ 155 w 272"/>
                  <a:gd name="T17" fmla="*/ 63 h 190"/>
                  <a:gd name="T18" fmla="*/ 183 w 272"/>
                  <a:gd name="T19" fmla="*/ 62 h 190"/>
                  <a:gd name="T20" fmla="*/ 254 w 272"/>
                  <a:gd name="T21" fmla="*/ 14 h 190"/>
                  <a:gd name="T22" fmla="*/ 254 w 272"/>
                  <a:gd name="T23" fmla="*/ 65 h 190"/>
                  <a:gd name="T24" fmla="*/ 225 w 272"/>
                  <a:gd name="T25" fmla="*/ 101 h 190"/>
                  <a:gd name="T26" fmla="*/ 191 w 272"/>
                  <a:gd name="T27" fmla="*/ 127 h 190"/>
                  <a:gd name="T28" fmla="*/ 160 w 272"/>
                  <a:gd name="T29" fmla="*/ 142 h 190"/>
                  <a:gd name="T30" fmla="*/ 135 w 272"/>
                  <a:gd name="T31" fmla="*/ 145 h 190"/>
                  <a:gd name="T32" fmla="*/ 149 w 272"/>
                  <a:gd name="T33" fmla="*/ 166 h 190"/>
                  <a:gd name="T34" fmla="*/ 102 w 272"/>
                  <a:gd name="T35" fmla="*/ 164 h 190"/>
                  <a:gd name="T36" fmla="*/ 85 w 272"/>
                  <a:gd name="T37" fmla="*/ 190 h 190"/>
                  <a:gd name="T38" fmla="*/ 69 w 272"/>
                  <a:gd name="T39" fmla="*/ 19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2" h="190">
                    <a:moveTo>
                      <a:pt x="69" y="190"/>
                    </a:moveTo>
                    <a:cubicBezTo>
                      <a:pt x="69" y="190"/>
                      <a:pt x="25" y="142"/>
                      <a:pt x="12" y="114"/>
                    </a:cubicBezTo>
                    <a:cubicBezTo>
                      <a:pt x="0" y="85"/>
                      <a:pt x="20" y="80"/>
                      <a:pt x="30" y="95"/>
                    </a:cubicBezTo>
                    <a:cubicBezTo>
                      <a:pt x="40" y="110"/>
                      <a:pt x="59" y="145"/>
                      <a:pt x="64" y="104"/>
                    </a:cubicBezTo>
                    <a:cubicBezTo>
                      <a:pt x="69" y="62"/>
                      <a:pt x="62" y="53"/>
                      <a:pt x="69" y="48"/>
                    </a:cubicBezTo>
                    <a:cubicBezTo>
                      <a:pt x="75" y="43"/>
                      <a:pt x="83" y="47"/>
                      <a:pt x="88" y="66"/>
                    </a:cubicBezTo>
                    <a:cubicBezTo>
                      <a:pt x="94" y="86"/>
                      <a:pt x="114" y="90"/>
                      <a:pt x="119" y="71"/>
                    </a:cubicBezTo>
                    <a:cubicBezTo>
                      <a:pt x="124" y="53"/>
                      <a:pt x="137" y="12"/>
                      <a:pt x="155" y="14"/>
                    </a:cubicBezTo>
                    <a:cubicBezTo>
                      <a:pt x="174" y="16"/>
                      <a:pt x="155" y="46"/>
                      <a:pt x="155" y="63"/>
                    </a:cubicBezTo>
                    <a:cubicBezTo>
                      <a:pt x="156" y="80"/>
                      <a:pt x="171" y="77"/>
                      <a:pt x="183" y="62"/>
                    </a:cubicBezTo>
                    <a:cubicBezTo>
                      <a:pt x="195" y="47"/>
                      <a:pt x="235" y="0"/>
                      <a:pt x="254" y="14"/>
                    </a:cubicBezTo>
                    <a:cubicBezTo>
                      <a:pt x="272" y="28"/>
                      <a:pt x="246" y="47"/>
                      <a:pt x="254" y="65"/>
                    </a:cubicBezTo>
                    <a:cubicBezTo>
                      <a:pt x="261" y="83"/>
                      <a:pt x="260" y="112"/>
                      <a:pt x="225" y="101"/>
                    </a:cubicBezTo>
                    <a:cubicBezTo>
                      <a:pt x="191" y="89"/>
                      <a:pt x="193" y="122"/>
                      <a:pt x="191" y="127"/>
                    </a:cubicBezTo>
                    <a:cubicBezTo>
                      <a:pt x="190" y="133"/>
                      <a:pt x="181" y="152"/>
                      <a:pt x="160" y="142"/>
                    </a:cubicBezTo>
                    <a:cubicBezTo>
                      <a:pt x="138" y="133"/>
                      <a:pt x="127" y="137"/>
                      <a:pt x="135" y="145"/>
                    </a:cubicBezTo>
                    <a:cubicBezTo>
                      <a:pt x="142" y="153"/>
                      <a:pt x="157" y="162"/>
                      <a:pt x="149" y="166"/>
                    </a:cubicBezTo>
                    <a:cubicBezTo>
                      <a:pt x="142" y="171"/>
                      <a:pt x="114" y="156"/>
                      <a:pt x="102" y="164"/>
                    </a:cubicBezTo>
                    <a:cubicBezTo>
                      <a:pt x="90" y="172"/>
                      <a:pt x="85" y="190"/>
                      <a:pt x="85" y="190"/>
                    </a:cubicBezTo>
                    <a:lnTo>
                      <a:pt x="69" y="190"/>
                    </a:lnTo>
                    <a:close/>
                  </a:path>
                </a:pathLst>
              </a:custGeom>
              <a:solidFill>
                <a:srgbClr val="8C7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2" name="ïSľíḋè">
                <a:extLst>
                  <a:ext uri="{FF2B5EF4-FFF2-40B4-BE49-F238E27FC236}">
                    <a16:creationId xmlns:a16="http://schemas.microsoft.com/office/drawing/2014/main" id="{798FC959-C457-48E8-B20E-0C8F3178C2A5}"/>
                  </a:ext>
                </a:extLst>
              </p:cNvPr>
              <p:cNvSpPr/>
              <p:nvPr/>
            </p:nvSpPr>
            <p:spPr bwMode="auto">
              <a:xfrm>
                <a:off x="1080597" y="5577450"/>
                <a:ext cx="991370" cy="722047"/>
              </a:xfrm>
              <a:custGeom>
                <a:avLst/>
                <a:gdLst>
                  <a:gd name="T0" fmla="*/ 160 w 160"/>
                  <a:gd name="T1" fmla="*/ 0 h 135"/>
                  <a:gd name="T2" fmla="*/ 113 w 160"/>
                  <a:gd name="T3" fmla="*/ 34 h 135"/>
                  <a:gd name="T4" fmla="*/ 100 w 160"/>
                  <a:gd name="T5" fmla="*/ 40 h 135"/>
                  <a:gd name="T6" fmla="*/ 87 w 160"/>
                  <a:gd name="T7" fmla="*/ 45 h 135"/>
                  <a:gd name="T8" fmla="*/ 60 w 160"/>
                  <a:gd name="T9" fmla="*/ 54 h 135"/>
                  <a:gd name="T10" fmla="*/ 33 w 160"/>
                  <a:gd name="T11" fmla="*/ 65 h 135"/>
                  <a:gd name="T12" fmla="*/ 10 w 160"/>
                  <a:gd name="T13" fmla="*/ 80 h 135"/>
                  <a:gd name="T14" fmla="*/ 5 w 160"/>
                  <a:gd name="T15" fmla="*/ 93 h 135"/>
                  <a:gd name="T16" fmla="*/ 3 w 160"/>
                  <a:gd name="T17" fmla="*/ 107 h 135"/>
                  <a:gd name="T18" fmla="*/ 1 w 160"/>
                  <a:gd name="T19" fmla="*/ 135 h 135"/>
                  <a:gd name="T20" fmla="*/ 1 w 160"/>
                  <a:gd name="T21" fmla="*/ 107 h 135"/>
                  <a:gd name="T22" fmla="*/ 3 w 160"/>
                  <a:gd name="T23" fmla="*/ 92 h 135"/>
                  <a:gd name="T24" fmla="*/ 5 w 160"/>
                  <a:gd name="T25" fmla="*/ 85 h 135"/>
                  <a:gd name="T26" fmla="*/ 8 w 160"/>
                  <a:gd name="T27" fmla="*/ 79 h 135"/>
                  <a:gd name="T28" fmla="*/ 32 w 160"/>
                  <a:gd name="T29" fmla="*/ 62 h 135"/>
                  <a:gd name="T30" fmla="*/ 59 w 160"/>
                  <a:gd name="T31" fmla="*/ 51 h 135"/>
                  <a:gd name="T32" fmla="*/ 86 w 160"/>
                  <a:gd name="T33" fmla="*/ 42 h 135"/>
                  <a:gd name="T34" fmla="*/ 99 w 160"/>
                  <a:gd name="T35" fmla="*/ 37 h 135"/>
                  <a:gd name="T36" fmla="*/ 112 w 160"/>
                  <a:gd name="T37" fmla="*/ 31 h 135"/>
                  <a:gd name="T38" fmla="*/ 136 w 160"/>
                  <a:gd name="T39" fmla="*/ 17 h 135"/>
                  <a:gd name="T40" fmla="*/ 160 w 160"/>
                  <a:gd name="T41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35">
                    <a:moveTo>
                      <a:pt x="160" y="0"/>
                    </a:moveTo>
                    <a:cubicBezTo>
                      <a:pt x="145" y="13"/>
                      <a:pt x="130" y="24"/>
                      <a:pt x="113" y="34"/>
                    </a:cubicBezTo>
                    <a:cubicBezTo>
                      <a:pt x="109" y="36"/>
                      <a:pt x="105" y="38"/>
                      <a:pt x="100" y="40"/>
                    </a:cubicBezTo>
                    <a:cubicBezTo>
                      <a:pt x="96" y="42"/>
                      <a:pt x="91" y="44"/>
                      <a:pt x="87" y="45"/>
                    </a:cubicBezTo>
                    <a:cubicBezTo>
                      <a:pt x="60" y="54"/>
                      <a:pt x="60" y="54"/>
                      <a:pt x="60" y="54"/>
                    </a:cubicBezTo>
                    <a:cubicBezTo>
                      <a:pt x="51" y="57"/>
                      <a:pt x="42" y="60"/>
                      <a:pt x="33" y="65"/>
                    </a:cubicBezTo>
                    <a:cubicBezTo>
                      <a:pt x="25" y="69"/>
                      <a:pt x="16" y="73"/>
                      <a:pt x="10" y="80"/>
                    </a:cubicBezTo>
                    <a:cubicBezTo>
                      <a:pt x="8" y="84"/>
                      <a:pt x="6" y="88"/>
                      <a:pt x="5" y="93"/>
                    </a:cubicBezTo>
                    <a:cubicBezTo>
                      <a:pt x="4" y="97"/>
                      <a:pt x="4" y="102"/>
                      <a:pt x="3" y="107"/>
                    </a:cubicBezTo>
                    <a:cubicBezTo>
                      <a:pt x="2" y="116"/>
                      <a:pt x="1" y="126"/>
                      <a:pt x="1" y="135"/>
                    </a:cubicBezTo>
                    <a:cubicBezTo>
                      <a:pt x="0" y="126"/>
                      <a:pt x="1" y="116"/>
                      <a:pt x="1" y="107"/>
                    </a:cubicBezTo>
                    <a:cubicBezTo>
                      <a:pt x="2" y="102"/>
                      <a:pt x="2" y="97"/>
                      <a:pt x="3" y="92"/>
                    </a:cubicBezTo>
                    <a:cubicBezTo>
                      <a:pt x="3" y="90"/>
                      <a:pt x="4" y="88"/>
                      <a:pt x="5" y="85"/>
                    </a:cubicBezTo>
                    <a:cubicBezTo>
                      <a:pt x="6" y="83"/>
                      <a:pt x="7" y="81"/>
                      <a:pt x="8" y="79"/>
                    </a:cubicBezTo>
                    <a:cubicBezTo>
                      <a:pt x="15" y="71"/>
                      <a:pt x="23" y="66"/>
                      <a:pt x="32" y="62"/>
                    </a:cubicBezTo>
                    <a:cubicBezTo>
                      <a:pt x="41" y="57"/>
                      <a:pt x="50" y="54"/>
                      <a:pt x="59" y="51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90" y="41"/>
                      <a:pt x="95" y="39"/>
                      <a:pt x="99" y="37"/>
                    </a:cubicBezTo>
                    <a:cubicBezTo>
                      <a:pt x="104" y="36"/>
                      <a:pt x="108" y="34"/>
                      <a:pt x="112" y="31"/>
                    </a:cubicBezTo>
                    <a:cubicBezTo>
                      <a:pt x="120" y="27"/>
                      <a:pt x="128" y="22"/>
                      <a:pt x="136" y="17"/>
                    </a:cubicBezTo>
                    <a:cubicBezTo>
                      <a:pt x="144" y="11"/>
                      <a:pt x="152" y="6"/>
                      <a:pt x="160" y="0"/>
                    </a:cubicBezTo>
                    <a:close/>
                  </a:path>
                </a:pathLst>
              </a:cu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3" name="í$ḻîḍê">
                <a:extLst>
                  <a:ext uri="{FF2B5EF4-FFF2-40B4-BE49-F238E27FC236}">
                    <a16:creationId xmlns:a16="http://schemas.microsoft.com/office/drawing/2014/main" id="{49EECD16-F199-448A-9995-8001100A918A}"/>
                  </a:ext>
                </a:extLst>
              </p:cNvPr>
              <p:cNvSpPr/>
              <p:nvPr/>
            </p:nvSpPr>
            <p:spPr bwMode="auto">
              <a:xfrm>
                <a:off x="578637" y="6406719"/>
                <a:ext cx="3582736" cy="325736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4" name="ïšḻiďè">
                <a:extLst>
                  <a:ext uri="{FF2B5EF4-FFF2-40B4-BE49-F238E27FC236}">
                    <a16:creationId xmlns:a16="http://schemas.microsoft.com/office/drawing/2014/main" id="{E931FECD-77F6-4079-95B5-8C26BD20162E}"/>
                  </a:ext>
                </a:extLst>
              </p:cNvPr>
              <p:cNvSpPr/>
              <p:nvPr/>
            </p:nvSpPr>
            <p:spPr bwMode="auto">
              <a:xfrm>
                <a:off x="3033533" y="6770457"/>
                <a:ext cx="613332" cy="58362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5" name="íSļidê">
                <a:extLst>
                  <a:ext uri="{FF2B5EF4-FFF2-40B4-BE49-F238E27FC236}">
                    <a16:creationId xmlns:a16="http://schemas.microsoft.com/office/drawing/2014/main" id="{4CEFB0FC-766D-49AD-A691-D53B899596E3}"/>
                  </a:ext>
                </a:extLst>
              </p:cNvPr>
              <p:cNvSpPr/>
              <p:nvPr/>
            </p:nvSpPr>
            <p:spPr bwMode="auto">
              <a:xfrm>
                <a:off x="2035889" y="5390153"/>
                <a:ext cx="48628" cy="705761"/>
              </a:xfrm>
              <a:prstGeom prst="rect">
                <a:avLst/>
              </a:pr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6" name="ïŝľïḋe">
                <a:extLst>
                  <a:ext uri="{FF2B5EF4-FFF2-40B4-BE49-F238E27FC236}">
                    <a16:creationId xmlns:a16="http://schemas.microsoft.com/office/drawing/2014/main" id="{6F045D42-7280-4499-A66A-C60A01A84813}"/>
                  </a:ext>
                </a:extLst>
              </p:cNvPr>
              <p:cNvSpPr/>
              <p:nvPr/>
            </p:nvSpPr>
            <p:spPr bwMode="auto">
              <a:xfrm>
                <a:off x="1905692" y="4742754"/>
                <a:ext cx="1226664" cy="1353161"/>
              </a:xfrm>
              <a:custGeom>
                <a:avLst/>
                <a:gdLst>
                  <a:gd name="T0" fmla="*/ 156 w 198"/>
                  <a:gd name="T1" fmla="*/ 8 h 253"/>
                  <a:gd name="T2" fmla="*/ 43 w 198"/>
                  <a:gd name="T3" fmla="*/ 53 h 253"/>
                  <a:gd name="T4" fmla="*/ 10 w 198"/>
                  <a:gd name="T5" fmla="*/ 145 h 253"/>
                  <a:gd name="T6" fmla="*/ 0 w 198"/>
                  <a:gd name="T7" fmla="*/ 245 h 253"/>
                  <a:gd name="T8" fmla="*/ 21 w 198"/>
                  <a:gd name="T9" fmla="*/ 248 h 253"/>
                  <a:gd name="T10" fmla="*/ 82 w 198"/>
                  <a:gd name="T11" fmla="*/ 67 h 253"/>
                  <a:gd name="T12" fmla="*/ 198 w 198"/>
                  <a:gd name="T13" fmla="*/ 0 h 253"/>
                  <a:gd name="T14" fmla="*/ 156 w 198"/>
                  <a:gd name="T15" fmla="*/ 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8" h="253">
                    <a:moveTo>
                      <a:pt x="156" y="8"/>
                    </a:moveTo>
                    <a:cubicBezTo>
                      <a:pt x="156" y="8"/>
                      <a:pt x="83" y="49"/>
                      <a:pt x="43" y="53"/>
                    </a:cubicBezTo>
                    <a:cubicBezTo>
                      <a:pt x="3" y="57"/>
                      <a:pt x="12" y="132"/>
                      <a:pt x="10" y="145"/>
                    </a:cubicBezTo>
                    <a:cubicBezTo>
                      <a:pt x="9" y="159"/>
                      <a:pt x="0" y="245"/>
                      <a:pt x="0" y="245"/>
                    </a:cubicBezTo>
                    <a:cubicBezTo>
                      <a:pt x="0" y="245"/>
                      <a:pt x="11" y="253"/>
                      <a:pt x="21" y="248"/>
                    </a:cubicBezTo>
                    <a:cubicBezTo>
                      <a:pt x="21" y="248"/>
                      <a:pt x="73" y="118"/>
                      <a:pt x="82" y="67"/>
                    </a:cubicBezTo>
                    <a:cubicBezTo>
                      <a:pt x="82" y="67"/>
                      <a:pt x="163" y="34"/>
                      <a:pt x="198" y="0"/>
                    </a:cubicBezTo>
                    <a:cubicBezTo>
                      <a:pt x="198" y="0"/>
                      <a:pt x="175" y="8"/>
                      <a:pt x="156" y="8"/>
                    </a:cubicBezTo>
                    <a:close/>
                  </a:path>
                </a:pathLst>
              </a:custGeom>
              <a:solidFill>
                <a:srgbClr val="F5D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7" name="îŝḷïdè">
                <a:extLst>
                  <a:ext uri="{FF2B5EF4-FFF2-40B4-BE49-F238E27FC236}">
                    <a16:creationId xmlns:a16="http://schemas.microsoft.com/office/drawing/2014/main" id="{CAAC69B9-CC7A-43B2-B770-8C074782B297}"/>
                  </a:ext>
                </a:extLst>
              </p:cNvPr>
              <p:cNvSpPr/>
              <p:nvPr/>
            </p:nvSpPr>
            <p:spPr bwMode="auto">
              <a:xfrm>
                <a:off x="2103339" y="4715609"/>
                <a:ext cx="1413330" cy="1625964"/>
              </a:xfrm>
              <a:custGeom>
                <a:avLst/>
                <a:gdLst>
                  <a:gd name="T0" fmla="*/ 176 w 228"/>
                  <a:gd name="T1" fmla="*/ 0 h 304"/>
                  <a:gd name="T2" fmla="*/ 176 w 228"/>
                  <a:gd name="T3" fmla="*/ 107 h 304"/>
                  <a:gd name="T4" fmla="*/ 44 w 228"/>
                  <a:gd name="T5" fmla="*/ 140 h 304"/>
                  <a:gd name="T6" fmla="*/ 40 w 228"/>
                  <a:gd name="T7" fmla="*/ 295 h 304"/>
                  <a:gd name="T8" fmla="*/ 14 w 228"/>
                  <a:gd name="T9" fmla="*/ 298 h 304"/>
                  <a:gd name="T10" fmla="*/ 0 w 228"/>
                  <a:gd name="T11" fmla="*/ 222 h 304"/>
                  <a:gd name="T12" fmla="*/ 50 w 228"/>
                  <a:gd name="T13" fmla="*/ 72 h 304"/>
                  <a:gd name="T14" fmla="*/ 166 w 228"/>
                  <a:gd name="T15" fmla="*/ 5 h 304"/>
                  <a:gd name="T16" fmla="*/ 176 w 228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304">
                    <a:moveTo>
                      <a:pt x="176" y="0"/>
                    </a:moveTo>
                    <a:cubicBezTo>
                      <a:pt x="176" y="0"/>
                      <a:pt x="228" y="61"/>
                      <a:pt x="176" y="107"/>
                    </a:cubicBezTo>
                    <a:cubicBezTo>
                      <a:pt x="137" y="137"/>
                      <a:pt x="44" y="140"/>
                      <a:pt x="44" y="140"/>
                    </a:cubicBezTo>
                    <a:cubicBezTo>
                      <a:pt x="44" y="140"/>
                      <a:pt x="57" y="235"/>
                      <a:pt x="40" y="295"/>
                    </a:cubicBezTo>
                    <a:cubicBezTo>
                      <a:pt x="40" y="295"/>
                      <a:pt x="30" y="304"/>
                      <a:pt x="14" y="298"/>
                    </a:cubicBezTo>
                    <a:cubicBezTo>
                      <a:pt x="14" y="298"/>
                      <a:pt x="10" y="256"/>
                      <a:pt x="0" y="222"/>
                    </a:cubicBezTo>
                    <a:cubicBezTo>
                      <a:pt x="0" y="222"/>
                      <a:pt x="42" y="107"/>
                      <a:pt x="50" y="72"/>
                    </a:cubicBezTo>
                    <a:cubicBezTo>
                      <a:pt x="50" y="72"/>
                      <a:pt x="122" y="42"/>
                      <a:pt x="166" y="5"/>
                    </a:cubicBezTo>
                    <a:cubicBezTo>
                      <a:pt x="166" y="5"/>
                      <a:pt x="170" y="2"/>
                      <a:pt x="176" y="0"/>
                    </a:cubicBezTo>
                    <a:close/>
                  </a:path>
                </a:pathLst>
              </a:custGeom>
              <a:solidFill>
                <a:srgbClr val="DBBF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8" name="ïṥļïḓe">
                <a:extLst>
                  <a:ext uri="{FF2B5EF4-FFF2-40B4-BE49-F238E27FC236}">
                    <a16:creationId xmlns:a16="http://schemas.microsoft.com/office/drawing/2014/main" id="{58DE82EA-7488-4B5A-8655-6E6E5C07DFCD}"/>
                  </a:ext>
                </a:extLst>
              </p:cNvPr>
              <p:cNvSpPr/>
              <p:nvPr/>
            </p:nvSpPr>
            <p:spPr bwMode="auto">
              <a:xfrm>
                <a:off x="2059417" y="2767981"/>
                <a:ext cx="1625093" cy="1765759"/>
              </a:xfrm>
              <a:custGeom>
                <a:avLst/>
                <a:gdLst>
                  <a:gd name="T0" fmla="*/ 71 w 262"/>
                  <a:gd name="T1" fmla="*/ 72 h 330"/>
                  <a:gd name="T2" fmla="*/ 48 w 262"/>
                  <a:gd name="T3" fmla="*/ 180 h 330"/>
                  <a:gd name="T4" fmla="*/ 51 w 262"/>
                  <a:gd name="T5" fmla="*/ 240 h 330"/>
                  <a:gd name="T6" fmla="*/ 177 w 262"/>
                  <a:gd name="T7" fmla="*/ 294 h 330"/>
                  <a:gd name="T8" fmla="*/ 244 w 262"/>
                  <a:gd name="T9" fmla="*/ 180 h 330"/>
                  <a:gd name="T10" fmla="*/ 231 w 262"/>
                  <a:gd name="T11" fmla="*/ 110 h 330"/>
                  <a:gd name="T12" fmla="*/ 132 w 262"/>
                  <a:gd name="T13" fmla="*/ 9 h 330"/>
                  <a:gd name="T14" fmla="*/ 71 w 262"/>
                  <a:gd name="T15" fmla="*/ 7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30">
                    <a:moveTo>
                      <a:pt x="71" y="72"/>
                    </a:moveTo>
                    <a:cubicBezTo>
                      <a:pt x="71" y="72"/>
                      <a:pt x="0" y="93"/>
                      <a:pt x="48" y="180"/>
                    </a:cubicBezTo>
                    <a:cubicBezTo>
                      <a:pt x="57" y="200"/>
                      <a:pt x="42" y="213"/>
                      <a:pt x="51" y="240"/>
                    </a:cubicBezTo>
                    <a:cubicBezTo>
                      <a:pt x="60" y="268"/>
                      <a:pt x="93" y="330"/>
                      <a:pt x="177" y="294"/>
                    </a:cubicBezTo>
                    <a:cubicBezTo>
                      <a:pt x="262" y="259"/>
                      <a:pt x="258" y="203"/>
                      <a:pt x="244" y="180"/>
                    </a:cubicBezTo>
                    <a:cubicBezTo>
                      <a:pt x="231" y="156"/>
                      <a:pt x="229" y="152"/>
                      <a:pt x="231" y="110"/>
                    </a:cubicBezTo>
                    <a:cubicBezTo>
                      <a:pt x="234" y="68"/>
                      <a:pt x="199" y="0"/>
                      <a:pt x="132" y="9"/>
                    </a:cubicBezTo>
                    <a:cubicBezTo>
                      <a:pt x="64" y="19"/>
                      <a:pt x="71" y="72"/>
                      <a:pt x="71" y="72"/>
                    </a:cubicBezTo>
                    <a:close/>
                  </a:path>
                </a:pathLst>
              </a:custGeom>
              <a:solidFill>
                <a:srgbClr val="8C7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9" name="íŝḻîdé">
                <a:extLst>
                  <a:ext uri="{FF2B5EF4-FFF2-40B4-BE49-F238E27FC236}">
                    <a16:creationId xmlns:a16="http://schemas.microsoft.com/office/drawing/2014/main" id="{9DBA62AD-8BD4-4D2E-AB1F-BD39F1740BC5}"/>
                  </a:ext>
                </a:extLst>
              </p:cNvPr>
              <p:cNvSpPr/>
              <p:nvPr/>
            </p:nvSpPr>
            <p:spPr bwMode="auto">
              <a:xfrm>
                <a:off x="2437457" y="3298659"/>
                <a:ext cx="917646" cy="593110"/>
              </a:xfrm>
              <a:custGeom>
                <a:avLst/>
                <a:gdLst>
                  <a:gd name="T0" fmla="*/ 5 w 148"/>
                  <a:gd name="T1" fmla="*/ 16 h 111"/>
                  <a:gd name="T2" fmla="*/ 65 w 148"/>
                  <a:gd name="T3" fmla="*/ 107 h 111"/>
                  <a:gd name="T4" fmla="*/ 127 w 148"/>
                  <a:gd name="T5" fmla="*/ 51 h 111"/>
                  <a:gd name="T6" fmla="*/ 128 w 148"/>
                  <a:gd name="T7" fmla="*/ 16 h 111"/>
                  <a:gd name="T8" fmla="*/ 109 w 148"/>
                  <a:gd name="T9" fmla="*/ 26 h 111"/>
                  <a:gd name="T10" fmla="*/ 15 w 148"/>
                  <a:gd name="T11" fmla="*/ 0 h 111"/>
                  <a:gd name="T12" fmla="*/ 5 w 148"/>
                  <a:gd name="T13" fmla="*/ 1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111">
                    <a:moveTo>
                      <a:pt x="5" y="16"/>
                    </a:moveTo>
                    <a:cubicBezTo>
                      <a:pt x="5" y="16"/>
                      <a:pt x="0" y="111"/>
                      <a:pt x="65" y="107"/>
                    </a:cubicBezTo>
                    <a:cubicBezTo>
                      <a:pt x="129" y="102"/>
                      <a:pt x="130" y="55"/>
                      <a:pt x="127" y="51"/>
                    </a:cubicBezTo>
                    <a:cubicBezTo>
                      <a:pt x="127" y="51"/>
                      <a:pt x="148" y="35"/>
                      <a:pt x="128" y="16"/>
                    </a:cubicBezTo>
                    <a:cubicBezTo>
                      <a:pt x="119" y="6"/>
                      <a:pt x="109" y="26"/>
                      <a:pt x="109" y="26"/>
                    </a:cubicBezTo>
                    <a:cubicBezTo>
                      <a:pt x="109" y="26"/>
                      <a:pt x="58" y="45"/>
                      <a:pt x="15" y="0"/>
                    </a:cubicBezTo>
                    <a:cubicBezTo>
                      <a:pt x="15" y="0"/>
                      <a:pt x="13" y="11"/>
                      <a:pt x="5" y="16"/>
                    </a:cubicBezTo>
                    <a:close/>
                  </a:path>
                </a:pathLst>
              </a:custGeom>
              <a:solidFill>
                <a:srgbClr val="FED196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0" name="îṣļiḑé">
                <a:extLst>
                  <a:ext uri="{FF2B5EF4-FFF2-40B4-BE49-F238E27FC236}">
                    <a16:creationId xmlns:a16="http://schemas.microsoft.com/office/drawing/2014/main" id="{B62DCE8E-3185-4062-9713-9ED1F757662C}"/>
                  </a:ext>
                </a:extLst>
              </p:cNvPr>
              <p:cNvSpPr/>
              <p:nvPr/>
            </p:nvSpPr>
            <p:spPr bwMode="auto">
              <a:xfrm>
                <a:off x="2853141" y="3822551"/>
                <a:ext cx="222745" cy="299949"/>
              </a:xfrm>
              <a:custGeom>
                <a:avLst/>
                <a:gdLst>
                  <a:gd name="T0" fmla="*/ 4 w 36"/>
                  <a:gd name="T1" fmla="*/ 8 h 56"/>
                  <a:gd name="T2" fmla="*/ 4 w 36"/>
                  <a:gd name="T3" fmla="*/ 34 h 56"/>
                  <a:gd name="T4" fmla="*/ 24 w 36"/>
                  <a:gd name="T5" fmla="*/ 43 h 56"/>
                  <a:gd name="T6" fmla="*/ 34 w 36"/>
                  <a:gd name="T7" fmla="*/ 21 h 56"/>
                  <a:gd name="T8" fmla="*/ 32 w 36"/>
                  <a:gd name="T9" fmla="*/ 0 h 56"/>
                  <a:gd name="T10" fmla="*/ 4 w 36"/>
                  <a:gd name="T11" fmla="*/ 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56">
                    <a:moveTo>
                      <a:pt x="4" y="8"/>
                    </a:moveTo>
                    <a:cubicBezTo>
                      <a:pt x="4" y="8"/>
                      <a:pt x="8" y="24"/>
                      <a:pt x="4" y="34"/>
                    </a:cubicBezTo>
                    <a:cubicBezTo>
                      <a:pt x="0" y="43"/>
                      <a:pt x="12" y="56"/>
                      <a:pt x="24" y="43"/>
                    </a:cubicBezTo>
                    <a:cubicBezTo>
                      <a:pt x="36" y="30"/>
                      <a:pt x="34" y="21"/>
                      <a:pt x="34" y="21"/>
                    </a:cubicBezTo>
                    <a:cubicBezTo>
                      <a:pt x="34" y="21"/>
                      <a:pt x="31" y="13"/>
                      <a:pt x="32" y="0"/>
                    </a:cubicBezTo>
                    <a:cubicBezTo>
                      <a:pt x="32" y="0"/>
                      <a:pt x="19" y="5"/>
                      <a:pt x="4" y="8"/>
                    </a:cubicBezTo>
                    <a:close/>
                  </a:path>
                </a:pathLst>
              </a:custGeom>
              <a:solidFill>
                <a:srgbClr val="F9BB78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1" name="íŝ1îḍé">
                <a:extLst>
                  <a:ext uri="{FF2B5EF4-FFF2-40B4-BE49-F238E27FC236}">
                    <a16:creationId xmlns:a16="http://schemas.microsoft.com/office/drawing/2014/main" id="{A2FB06A3-CFE2-43C4-AD90-4FE2974A38B6}"/>
                  </a:ext>
                </a:extLst>
              </p:cNvPr>
              <p:cNvSpPr/>
              <p:nvPr/>
            </p:nvSpPr>
            <p:spPr bwMode="auto">
              <a:xfrm>
                <a:off x="1948046" y="3993561"/>
                <a:ext cx="1003919" cy="936490"/>
              </a:xfrm>
              <a:custGeom>
                <a:avLst/>
                <a:gdLst>
                  <a:gd name="T0" fmla="*/ 4 w 162"/>
                  <a:gd name="T1" fmla="*/ 158 h 175"/>
                  <a:gd name="T2" fmla="*/ 107 w 162"/>
                  <a:gd name="T3" fmla="*/ 79 h 175"/>
                  <a:gd name="T4" fmla="*/ 150 w 162"/>
                  <a:gd name="T5" fmla="*/ 2 h 175"/>
                  <a:gd name="T6" fmla="*/ 162 w 162"/>
                  <a:gd name="T7" fmla="*/ 16 h 175"/>
                  <a:gd name="T8" fmla="*/ 104 w 162"/>
                  <a:gd name="T9" fmla="*/ 150 h 175"/>
                  <a:gd name="T10" fmla="*/ 9 w 162"/>
                  <a:gd name="T11" fmla="*/ 175 h 175"/>
                  <a:gd name="T12" fmla="*/ 4 w 162"/>
                  <a:gd name="T13" fmla="*/ 15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75">
                    <a:moveTo>
                      <a:pt x="4" y="158"/>
                    </a:moveTo>
                    <a:cubicBezTo>
                      <a:pt x="4" y="158"/>
                      <a:pt x="93" y="157"/>
                      <a:pt x="107" y="79"/>
                    </a:cubicBezTo>
                    <a:cubicBezTo>
                      <a:pt x="121" y="0"/>
                      <a:pt x="150" y="2"/>
                      <a:pt x="150" y="2"/>
                    </a:cubicBezTo>
                    <a:cubicBezTo>
                      <a:pt x="150" y="2"/>
                      <a:pt x="149" y="15"/>
                      <a:pt x="162" y="16"/>
                    </a:cubicBezTo>
                    <a:cubicBezTo>
                      <a:pt x="162" y="16"/>
                      <a:pt x="129" y="137"/>
                      <a:pt x="104" y="150"/>
                    </a:cubicBezTo>
                    <a:cubicBezTo>
                      <a:pt x="79" y="163"/>
                      <a:pt x="30" y="175"/>
                      <a:pt x="9" y="175"/>
                    </a:cubicBezTo>
                    <a:cubicBezTo>
                      <a:pt x="9" y="175"/>
                      <a:pt x="0" y="166"/>
                      <a:pt x="4" y="158"/>
                    </a:cubicBez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2" name="iṡḻïďê">
                <a:extLst>
                  <a:ext uri="{FF2B5EF4-FFF2-40B4-BE49-F238E27FC236}">
                    <a16:creationId xmlns:a16="http://schemas.microsoft.com/office/drawing/2014/main" id="{AFBC44B3-161F-4096-A507-3B6ED16E9D3F}"/>
                  </a:ext>
                </a:extLst>
              </p:cNvPr>
              <p:cNvSpPr/>
              <p:nvPr/>
            </p:nvSpPr>
            <p:spPr bwMode="auto">
              <a:xfrm>
                <a:off x="2716671" y="3908056"/>
                <a:ext cx="552156" cy="887630"/>
              </a:xfrm>
              <a:custGeom>
                <a:avLst/>
                <a:gdLst>
                  <a:gd name="T0" fmla="*/ 25 w 89"/>
                  <a:gd name="T1" fmla="*/ 164 h 166"/>
                  <a:gd name="T2" fmla="*/ 17 w 89"/>
                  <a:gd name="T3" fmla="*/ 104 h 166"/>
                  <a:gd name="T4" fmla="*/ 9 w 89"/>
                  <a:gd name="T5" fmla="*/ 51 h 166"/>
                  <a:gd name="T6" fmla="*/ 26 w 89"/>
                  <a:gd name="T7" fmla="*/ 18 h 166"/>
                  <a:gd name="T8" fmla="*/ 56 w 89"/>
                  <a:gd name="T9" fmla="*/ 5 h 166"/>
                  <a:gd name="T10" fmla="*/ 89 w 89"/>
                  <a:gd name="T11" fmla="*/ 8 h 166"/>
                  <a:gd name="T12" fmla="*/ 77 w 89"/>
                  <a:gd name="T13" fmla="*/ 151 h 166"/>
                  <a:gd name="T14" fmla="*/ 25 w 89"/>
                  <a:gd name="T15" fmla="*/ 16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5" y="164"/>
                    </a:moveTo>
                    <a:cubicBezTo>
                      <a:pt x="25" y="164"/>
                      <a:pt x="25" y="118"/>
                      <a:pt x="17" y="104"/>
                    </a:cubicBezTo>
                    <a:cubicBezTo>
                      <a:pt x="10" y="91"/>
                      <a:pt x="0" y="75"/>
                      <a:pt x="9" y="51"/>
                    </a:cubicBezTo>
                    <a:cubicBezTo>
                      <a:pt x="17" y="28"/>
                      <a:pt x="26" y="18"/>
                      <a:pt x="26" y="18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5"/>
                      <a:pt x="76" y="0"/>
                      <a:pt x="89" y="8"/>
                    </a:cubicBezTo>
                    <a:cubicBezTo>
                      <a:pt x="77" y="151"/>
                      <a:pt x="77" y="151"/>
                      <a:pt x="77" y="151"/>
                    </a:cubicBezTo>
                    <a:cubicBezTo>
                      <a:pt x="77" y="151"/>
                      <a:pt x="51" y="166"/>
                      <a:pt x="25" y="164"/>
                    </a:cubicBezTo>
                    <a:close/>
                  </a:path>
                </a:pathLst>
              </a:custGeom>
              <a:solidFill>
                <a:srgbClr val="3327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3" name="iSḷîḍè">
                <a:extLst>
                  <a:ext uri="{FF2B5EF4-FFF2-40B4-BE49-F238E27FC236}">
                    <a16:creationId xmlns:a16="http://schemas.microsoft.com/office/drawing/2014/main" id="{69111816-5D6A-4311-8B72-B43D920D9277}"/>
                  </a:ext>
                </a:extLst>
              </p:cNvPr>
              <p:cNvSpPr/>
              <p:nvPr/>
            </p:nvSpPr>
            <p:spPr bwMode="auto">
              <a:xfrm>
                <a:off x="851578" y="5020985"/>
                <a:ext cx="1822741" cy="133009"/>
              </a:xfrm>
              <a:custGeom>
                <a:avLst/>
                <a:gdLst>
                  <a:gd name="T0" fmla="*/ 0 w 294"/>
                  <a:gd name="T1" fmla="*/ 0 h 25"/>
                  <a:gd name="T2" fmla="*/ 0 w 294"/>
                  <a:gd name="T3" fmla="*/ 15 h 25"/>
                  <a:gd name="T4" fmla="*/ 147 w 294"/>
                  <a:gd name="T5" fmla="*/ 25 h 25"/>
                  <a:gd name="T6" fmla="*/ 294 w 294"/>
                  <a:gd name="T7" fmla="*/ 15 h 25"/>
                  <a:gd name="T8" fmla="*/ 294 w 294"/>
                  <a:gd name="T9" fmla="*/ 0 h 25"/>
                  <a:gd name="T10" fmla="*/ 0 w 294"/>
                  <a:gd name="T1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4" h="25">
                    <a:moveTo>
                      <a:pt x="0" y="0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1"/>
                      <a:pt x="66" y="25"/>
                      <a:pt x="147" y="25"/>
                    </a:cubicBezTo>
                    <a:cubicBezTo>
                      <a:pt x="228" y="25"/>
                      <a:pt x="294" y="21"/>
                      <a:pt x="294" y="15"/>
                    </a:cubicBezTo>
                    <a:cubicBezTo>
                      <a:pt x="294" y="0"/>
                      <a:pt x="294" y="0"/>
                      <a:pt x="29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4" name="îṥlíḓè">
                <a:extLst>
                  <a:ext uri="{FF2B5EF4-FFF2-40B4-BE49-F238E27FC236}">
                    <a16:creationId xmlns:a16="http://schemas.microsoft.com/office/drawing/2014/main" id="{FAAF8B89-CC56-4D23-AD27-92CB2A62F48B}"/>
                  </a:ext>
                </a:extLst>
              </p:cNvPr>
              <p:cNvSpPr/>
              <p:nvPr/>
            </p:nvSpPr>
            <p:spPr bwMode="auto">
              <a:xfrm>
                <a:off x="851578" y="4966697"/>
                <a:ext cx="1822741" cy="107222"/>
              </a:xfrm>
              <a:prstGeom prst="ellipse">
                <a:avLst/>
              </a:pr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5" name="ïśļîḍé">
                <a:extLst>
                  <a:ext uri="{FF2B5EF4-FFF2-40B4-BE49-F238E27FC236}">
                    <a16:creationId xmlns:a16="http://schemas.microsoft.com/office/drawing/2014/main" id="{8ABED782-90FD-4A2F-BA9F-4592696D10EC}"/>
                  </a:ext>
                </a:extLst>
              </p:cNvPr>
              <p:cNvSpPr/>
              <p:nvPr/>
            </p:nvSpPr>
            <p:spPr bwMode="auto">
              <a:xfrm>
                <a:off x="1607654" y="4817401"/>
                <a:ext cx="396863" cy="134367"/>
              </a:xfrm>
              <a:custGeom>
                <a:avLst/>
                <a:gdLst>
                  <a:gd name="T0" fmla="*/ 59 w 64"/>
                  <a:gd name="T1" fmla="*/ 4 h 25"/>
                  <a:gd name="T2" fmla="*/ 34 w 64"/>
                  <a:gd name="T3" fmla="*/ 1 h 25"/>
                  <a:gd name="T4" fmla="*/ 9 w 64"/>
                  <a:gd name="T5" fmla="*/ 15 h 25"/>
                  <a:gd name="T6" fmla="*/ 27 w 64"/>
                  <a:gd name="T7" fmla="*/ 23 h 25"/>
                  <a:gd name="T8" fmla="*/ 64 w 64"/>
                  <a:gd name="T9" fmla="*/ 21 h 25"/>
                  <a:gd name="T10" fmla="*/ 59 w 64"/>
                  <a:gd name="T11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25">
                    <a:moveTo>
                      <a:pt x="59" y="4"/>
                    </a:moveTo>
                    <a:cubicBezTo>
                      <a:pt x="59" y="4"/>
                      <a:pt x="40" y="0"/>
                      <a:pt x="34" y="1"/>
                    </a:cubicBezTo>
                    <a:cubicBezTo>
                      <a:pt x="28" y="1"/>
                      <a:pt x="18" y="12"/>
                      <a:pt x="9" y="15"/>
                    </a:cubicBezTo>
                    <a:cubicBezTo>
                      <a:pt x="0" y="18"/>
                      <a:pt x="12" y="25"/>
                      <a:pt x="27" y="23"/>
                    </a:cubicBezTo>
                    <a:cubicBezTo>
                      <a:pt x="41" y="20"/>
                      <a:pt x="50" y="24"/>
                      <a:pt x="64" y="21"/>
                    </a:cubicBezTo>
                    <a:cubicBezTo>
                      <a:pt x="64" y="21"/>
                      <a:pt x="57" y="14"/>
                      <a:pt x="59" y="4"/>
                    </a:cubicBezTo>
                    <a:close/>
                  </a:path>
                </a:pathLst>
              </a:custGeom>
              <a:solidFill>
                <a:srgbClr val="E299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6" name="íṣ1iḑè">
                <a:extLst>
                  <a:ext uri="{FF2B5EF4-FFF2-40B4-BE49-F238E27FC236}">
                    <a16:creationId xmlns:a16="http://schemas.microsoft.com/office/drawing/2014/main" id="{6E88210E-597E-4554-8E82-39557EFECB38}"/>
                  </a:ext>
                </a:extLst>
              </p:cNvPr>
              <p:cNvSpPr/>
              <p:nvPr/>
            </p:nvSpPr>
            <p:spPr bwMode="auto">
              <a:xfrm>
                <a:off x="1042950" y="6512583"/>
                <a:ext cx="1320781" cy="96364"/>
              </a:xfrm>
              <a:custGeom>
                <a:avLst/>
                <a:gdLst>
                  <a:gd name="T0" fmla="*/ 0 w 213"/>
                  <a:gd name="T1" fmla="*/ 0 h 18"/>
                  <a:gd name="T2" fmla="*/ 0 w 213"/>
                  <a:gd name="T3" fmla="*/ 11 h 18"/>
                  <a:gd name="T4" fmla="*/ 106 w 213"/>
                  <a:gd name="T5" fmla="*/ 18 h 18"/>
                  <a:gd name="T6" fmla="*/ 213 w 213"/>
                  <a:gd name="T7" fmla="*/ 11 h 18"/>
                  <a:gd name="T8" fmla="*/ 213 w 213"/>
                  <a:gd name="T9" fmla="*/ 0 h 18"/>
                  <a:gd name="T10" fmla="*/ 0 w 213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3" h="18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0" y="15"/>
                      <a:pt x="48" y="18"/>
                      <a:pt x="106" y="18"/>
                    </a:cubicBezTo>
                    <a:cubicBezTo>
                      <a:pt x="165" y="18"/>
                      <a:pt x="213" y="15"/>
                      <a:pt x="213" y="11"/>
                    </a:cubicBezTo>
                    <a:cubicBezTo>
                      <a:pt x="213" y="0"/>
                      <a:pt x="213" y="0"/>
                      <a:pt x="21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7" name="i$1iḓè">
                <a:extLst>
                  <a:ext uri="{FF2B5EF4-FFF2-40B4-BE49-F238E27FC236}">
                    <a16:creationId xmlns:a16="http://schemas.microsoft.com/office/drawing/2014/main" id="{B612E84B-8227-4F6A-A30B-537A0629FB21}"/>
                  </a:ext>
                </a:extLst>
              </p:cNvPr>
              <p:cNvSpPr/>
              <p:nvPr/>
            </p:nvSpPr>
            <p:spPr bwMode="auto">
              <a:xfrm>
                <a:off x="1000597" y="4426518"/>
                <a:ext cx="1035292" cy="578180"/>
              </a:xfrm>
              <a:custGeom>
                <a:avLst/>
                <a:gdLst>
                  <a:gd name="T0" fmla="*/ 0 w 660"/>
                  <a:gd name="T1" fmla="*/ 0 h 426"/>
                  <a:gd name="T2" fmla="*/ 158 w 660"/>
                  <a:gd name="T3" fmla="*/ 426 h 426"/>
                  <a:gd name="T4" fmla="*/ 660 w 660"/>
                  <a:gd name="T5" fmla="*/ 426 h 426"/>
                  <a:gd name="T6" fmla="*/ 506 w 660"/>
                  <a:gd name="T7" fmla="*/ 0 h 426"/>
                  <a:gd name="T8" fmla="*/ 0 w 660"/>
                  <a:gd name="T9" fmla="*/ 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0" h="426">
                    <a:moveTo>
                      <a:pt x="0" y="0"/>
                    </a:moveTo>
                    <a:lnTo>
                      <a:pt x="158" y="426"/>
                    </a:lnTo>
                    <a:lnTo>
                      <a:pt x="660" y="426"/>
                    </a:lnTo>
                    <a:lnTo>
                      <a:pt x="50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8" name="iṥḷiḑe">
                <a:extLst>
                  <a:ext uri="{FF2B5EF4-FFF2-40B4-BE49-F238E27FC236}">
                    <a16:creationId xmlns:a16="http://schemas.microsoft.com/office/drawing/2014/main" id="{C21F9C45-BE06-46F3-8F36-7A34F81F1A29}"/>
                  </a:ext>
                </a:extLst>
              </p:cNvPr>
              <p:cNvSpPr/>
              <p:nvPr/>
            </p:nvSpPr>
            <p:spPr bwMode="auto">
              <a:xfrm>
                <a:off x="1042950" y="6470508"/>
                <a:ext cx="1320781" cy="80077"/>
              </a:xfrm>
              <a:prstGeom prst="ellipse">
                <a:avLst/>
              </a:pr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9" name="ïşliḍe">
                <a:extLst>
                  <a:ext uri="{FF2B5EF4-FFF2-40B4-BE49-F238E27FC236}">
                    <a16:creationId xmlns:a16="http://schemas.microsoft.com/office/drawing/2014/main" id="{269BE50F-AC42-4A19-955B-C3B4C79168BC}"/>
                  </a:ext>
                </a:extLst>
              </p:cNvPr>
              <p:cNvSpPr/>
              <p:nvPr/>
            </p:nvSpPr>
            <p:spPr bwMode="auto">
              <a:xfrm>
                <a:off x="1645301" y="5153994"/>
                <a:ext cx="117648" cy="13382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0" name="íSḻîḑe">
                <a:extLst>
                  <a:ext uri="{FF2B5EF4-FFF2-40B4-BE49-F238E27FC236}">
                    <a16:creationId xmlns:a16="http://schemas.microsoft.com/office/drawing/2014/main" id="{FF41C1DF-EF42-43A0-93CC-531D576CC50A}"/>
                  </a:ext>
                </a:extLst>
              </p:cNvPr>
              <p:cNvSpPr/>
              <p:nvPr/>
            </p:nvSpPr>
            <p:spPr bwMode="auto">
              <a:xfrm>
                <a:off x="1620203" y="6052482"/>
                <a:ext cx="415686" cy="354237"/>
              </a:xfrm>
              <a:custGeom>
                <a:avLst/>
                <a:gdLst>
                  <a:gd name="T0" fmla="*/ 46 w 67"/>
                  <a:gd name="T1" fmla="*/ 0 h 66"/>
                  <a:gd name="T2" fmla="*/ 13 w 67"/>
                  <a:gd name="T3" fmla="*/ 39 h 66"/>
                  <a:gd name="T4" fmla="*/ 23 w 67"/>
                  <a:gd name="T5" fmla="*/ 55 h 66"/>
                  <a:gd name="T6" fmla="*/ 59 w 67"/>
                  <a:gd name="T7" fmla="*/ 29 h 66"/>
                  <a:gd name="T8" fmla="*/ 67 w 67"/>
                  <a:gd name="T9" fmla="*/ 3 h 66"/>
                  <a:gd name="T10" fmla="*/ 46 w 6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66">
                    <a:moveTo>
                      <a:pt x="46" y="0"/>
                    </a:moveTo>
                    <a:cubicBezTo>
                      <a:pt x="46" y="0"/>
                      <a:pt x="27" y="29"/>
                      <a:pt x="13" y="39"/>
                    </a:cubicBezTo>
                    <a:cubicBezTo>
                      <a:pt x="0" y="48"/>
                      <a:pt x="4" y="66"/>
                      <a:pt x="23" y="55"/>
                    </a:cubicBezTo>
                    <a:cubicBezTo>
                      <a:pt x="42" y="44"/>
                      <a:pt x="52" y="31"/>
                      <a:pt x="59" y="29"/>
                    </a:cubicBezTo>
                    <a:cubicBezTo>
                      <a:pt x="66" y="27"/>
                      <a:pt x="67" y="3"/>
                      <a:pt x="67" y="3"/>
                    </a:cubicBezTo>
                    <a:cubicBezTo>
                      <a:pt x="67" y="3"/>
                      <a:pt x="54" y="4"/>
                      <a:pt x="46" y="0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1" name="iś1íḑe">
                <a:extLst>
                  <a:ext uri="{FF2B5EF4-FFF2-40B4-BE49-F238E27FC236}">
                    <a16:creationId xmlns:a16="http://schemas.microsoft.com/office/drawing/2014/main" id="{2833D819-DA6A-4F13-98A5-990D4E026824}"/>
                  </a:ext>
                </a:extLst>
              </p:cNvPr>
              <p:cNvSpPr/>
              <p:nvPr/>
            </p:nvSpPr>
            <p:spPr bwMode="auto">
              <a:xfrm>
                <a:off x="1899418" y="6294069"/>
                <a:ext cx="470587" cy="251089"/>
              </a:xfrm>
              <a:custGeom>
                <a:avLst/>
                <a:gdLst>
                  <a:gd name="T0" fmla="*/ 51 w 76"/>
                  <a:gd name="T1" fmla="*/ 4 h 47"/>
                  <a:gd name="T2" fmla="*/ 43 w 76"/>
                  <a:gd name="T3" fmla="*/ 19 h 47"/>
                  <a:gd name="T4" fmla="*/ 5 w 76"/>
                  <a:gd name="T5" fmla="*/ 41 h 47"/>
                  <a:gd name="T6" fmla="*/ 55 w 76"/>
                  <a:gd name="T7" fmla="*/ 37 h 47"/>
                  <a:gd name="T8" fmla="*/ 75 w 76"/>
                  <a:gd name="T9" fmla="*/ 24 h 47"/>
                  <a:gd name="T10" fmla="*/ 73 w 76"/>
                  <a:gd name="T11" fmla="*/ 0 h 47"/>
                  <a:gd name="T12" fmla="*/ 51 w 76"/>
                  <a:gd name="T13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47">
                    <a:moveTo>
                      <a:pt x="51" y="4"/>
                    </a:moveTo>
                    <a:cubicBezTo>
                      <a:pt x="51" y="4"/>
                      <a:pt x="59" y="11"/>
                      <a:pt x="43" y="19"/>
                    </a:cubicBezTo>
                    <a:cubicBezTo>
                      <a:pt x="27" y="27"/>
                      <a:pt x="0" y="34"/>
                      <a:pt x="5" y="41"/>
                    </a:cubicBezTo>
                    <a:cubicBezTo>
                      <a:pt x="10" y="47"/>
                      <a:pt x="44" y="38"/>
                      <a:pt x="55" y="37"/>
                    </a:cubicBezTo>
                    <a:cubicBezTo>
                      <a:pt x="65" y="35"/>
                      <a:pt x="76" y="31"/>
                      <a:pt x="75" y="24"/>
                    </a:cubicBezTo>
                    <a:cubicBezTo>
                      <a:pt x="74" y="17"/>
                      <a:pt x="73" y="0"/>
                      <a:pt x="73" y="0"/>
                    </a:cubicBezTo>
                    <a:cubicBezTo>
                      <a:pt x="73" y="0"/>
                      <a:pt x="67" y="7"/>
                      <a:pt x="51" y="4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2" name="îşļíḍe">
                <a:extLst>
                  <a:ext uri="{FF2B5EF4-FFF2-40B4-BE49-F238E27FC236}">
                    <a16:creationId xmlns:a16="http://schemas.microsoft.com/office/drawing/2014/main" id="{ADCD6B7B-A045-40E7-8CFC-CFE8A504B679}"/>
                  </a:ext>
                </a:extLst>
              </p:cNvPr>
              <p:cNvSpPr/>
              <p:nvPr/>
            </p:nvSpPr>
            <p:spPr bwMode="auto">
              <a:xfrm>
                <a:off x="2023340" y="4977554"/>
                <a:ext cx="533332" cy="27145"/>
              </a:xfrm>
              <a:custGeom>
                <a:avLst/>
                <a:gdLst>
                  <a:gd name="T0" fmla="*/ 8 w 340"/>
                  <a:gd name="T1" fmla="*/ 20 h 20"/>
                  <a:gd name="T2" fmla="*/ 340 w 340"/>
                  <a:gd name="T3" fmla="*/ 20 h 20"/>
                  <a:gd name="T4" fmla="*/ 340 w 340"/>
                  <a:gd name="T5" fmla="*/ 0 h 20"/>
                  <a:gd name="T6" fmla="*/ 0 w 340"/>
                  <a:gd name="T7" fmla="*/ 0 h 20"/>
                  <a:gd name="T8" fmla="*/ 8 w 340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0" h="20">
                    <a:moveTo>
                      <a:pt x="8" y="20"/>
                    </a:moveTo>
                    <a:lnTo>
                      <a:pt x="340" y="20"/>
                    </a:lnTo>
                    <a:lnTo>
                      <a:pt x="340" y="0"/>
                    </a:lnTo>
                    <a:lnTo>
                      <a:pt x="0" y="0"/>
                    </a:lnTo>
                    <a:lnTo>
                      <a:pt x="8" y="2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3" name="íṥḷïḋè">
                <a:extLst>
                  <a:ext uri="{FF2B5EF4-FFF2-40B4-BE49-F238E27FC236}">
                    <a16:creationId xmlns:a16="http://schemas.microsoft.com/office/drawing/2014/main" id="{547B3F2A-0D83-45C9-B0AC-A7EA638A7520}"/>
                  </a:ext>
                </a:extLst>
              </p:cNvPr>
              <p:cNvSpPr/>
              <p:nvPr/>
            </p:nvSpPr>
            <p:spPr bwMode="auto">
              <a:xfrm>
                <a:off x="2624122" y="3555175"/>
                <a:ext cx="98824" cy="176440"/>
              </a:xfrm>
              <a:custGeom>
                <a:avLst/>
                <a:gdLst>
                  <a:gd name="T0" fmla="*/ 5 w 16"/>
                  <a:gd name="T1" fmla="*/ 0 h 33"/>
                  <a:gd name="T2" fmla="*/ 3 w 16"/>
                  <a:gd name="T3" fmla="*/ 20 h 33"/>
                  <a:gd name="T4" fmla="*/ 10 w 16"/>
                  <a:gd name="T5" fmla="*/ 32 h 33"/>
                  <a:gd name="T6" fmla="*/ 16 w 16"/>
                  <a:gd name="T7" fmla="*/ 29 h 33"/>
                  <a:gd name="T8" fmla="*/ 5 w 16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3">
                    <a:moveTo>
                      <a:pt x="5" y="0"/>
                    </a:moveTo>
                    <a:cubicBezTo>
                      <a:pt x="5" y="0"/>
                      <a:pt x="6" y="12"/>
                      <a:pt x="3" y="20"/>
                    </a:cubicBezTo>
                    <a:cubicBezTo>
                      <a:pt x="0" y="27"/>
                      <a:pt x="6" y="33"/>
                      <a:pt x="10" y="32"/>
                    </a:cubicBezTo>
                    <a:cubicBezTo>
                      <a:pt x="14" y="31"/>
                      <a:pt x="16" y="29"/>
                      <a:pt x="16" y="29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4" name="îṧḷíḓè">
                <a:extLst>
                  <a:ext uri="{FF2B5EF4-FFF2-40B4-BE49-F238E27FC236}">
                    <a16:creationId xmlns:a16="http://schemas.microsoft.com/office/drawing/2014/main" id="{75FCEDF4-C8F7-4E0A-8C00-5421BAD63F8F}"/>
                  </a:ext>
                </a:extLst>
              </p:cNvPr>
              <p:cNvSpPr/>
              <p:nvPr/>
            </p:nvSpPr>
            <p:spPr bwMode="auto">
              <a:xfrm>
                <a:off x="2500201" y="3950130"/>
                <a:ext cx="949017" cy="1112930"/>
              </a:xfrm>
              <a:custGeom>
                <a:avLst/>
                <a:gdLst>
                  <a:gd name="T0" fmla="*/ 4 w 153"/>
                  <a:gd name="T1" fmla="*/ 197 h 208"/>
                  <a:gd name="T2" fmla="*/ 114 w 153"/>
                  <a:gd name="T3" fmla="*/ 122 h 208"/>
                  <a:gd name="T4" fmla="*/ 111 w 153"/>
                  <a:gd name="T5" fmla="*/ 16 h 208"/>
                  <a:gd name="T6" fmla="*/ 124 w 153"/>
                  <a:gd name="T7" fmla="*/ 0 h 208"/>
                  <a:gd name="T8" fmla="*/ 150 w 153"/>
                  <a:gd name="T9" fmla="*/ 29 h 208"/>
                  <a:gd name="T10" fmla="*/ 119 w 153"/>
                  <a:gd name="T11" fmla="*/ 162 h 208"/>
                  <a:gd name="T12" fmla="*/ 10 w 153"/>
                  <a:gd name="T13" fmla="*/ 208 h 208"/>
                  <a:gd name="T14" fmla="*/ 4 w 153"/>
                  <a:gd name="T15" fmla="*/ 197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208">
                    <a:moveTo>
                      <a:pt x="4" y="197"/>
                    </a:moveTo>
                    <a:cubicBezTo>
                      <a:pt x="4" y="197"/>
                      <a:pt x="111" y="153"/>
                      <a:pt x="114" y="122"/>
                    </a:cubicBezTo>
                    <a:cubicBezTo>
                      <a:pt x="117" y="91"/>
                      <a:pt x="104" y="31"/>
                      <a:pt x="111" y="16"/>
                    </a:cubicBezTo>
                    <a:cubicBezTo>
                      <a:pt x="117" y="1"/>
                      <a:pt x="124" y="0"/>
                      <a:pt x="124" y="0"/>
                    </a:cubicBezTo>
                    <a:cubicBezTo>
                      <a:pt x="124" y="0"/>
                      <a:pt x="147" y="0"/>
                      <a:pt x="150" y="29"/>
                    </a:cubicBezTo>
                    <a:cubicBezTo>
                      <a:pt x="153" y="57"/>
                      <a:pt x="152" y="141"/>
                      <a:pt x="119" y="162"/>
                    </a:cubicBezTo>
                    <a:cubicBezTo>
                      <a:pt x="85" y="183"/>
                      <a:pt x="10" y="208"/>
                      <a:pt x="10" y="208"/>
                    </a:cubicBezTo>
                    <a:cubicBezTo>
                      <a:pt x="10" y="208"/>
                      <a:pt x="0" y="206"/>
                      <a:pt x="4" y="197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5" name="í$liḓè">
                <a:extLst>
                  <a:ext uri="{FF2B5EF4-FFF2-40B4-BE49-F238E27FC236}">
                    <a16:creationId xmlns:a16="http://schemas.microsoft.com/office/drawing/2014/main" id="{45C9A66C-BA18-44C1-B372-02AB868F2465}"/>
                  </a:ext>
                </a:extLst>
              </p:cNvPr>
              <p:cNvSpPr/>
              <p:nvPr/>
            </p:nvSpPr>
            <p:spPr bwMode="auto">
              <a:xfrm>
                <a:off x="2172359" y="4999270"/>
                <a:ext cx="389018" cy="154724"/>
              </a:xfrm>
              <a:custGeom>
                <a:avLst/>
                <a:gdLst>
                  <a:gd name="T0" fmla="*/ 57 w 63"/>
                  <a:gd name="T1" fmla="*/ 1 h 29"/>
                  <a:gd name="T2" fmla="*/ 33 w 63"/>
                  <a:gd name="T3" fmla="*/ 1 h 29"/>
                  <a:gd name="T4" fmla="*/ 7 w 63"/>
                  <a:gd name="T5" fmla="*/ 16 h 29"/>
                  <a:gd name="T6" fmla="*/ 6 w 63"/>
                  <a:gd name="T7" fmla="*/ 25 h 29"/>
                  <a:gd name="T8" fmla="*/ 30 w 63"/>
                  <a:gd name="T9" fmla="*/ 25 h 29"/>
                  <a:gd name="T10" fmla="*/ 63 w 63"/>
                  <a:gd name="T11" fmla="*/ 12 h 29"/>
                  <a:gd name="T12" fmla="*/ 57 w 63"/>
                  <a:gd name="T1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9">
                    <a:moveTo>
                      <a:pt x="57" y="1"/>
                    </a:moveTo>
                    <a:cubicBezTo>
                      <a:pt x="57" y="1"/>
                      <a:pt x="40" y="0"/>
                      <a:pt x="33" y="1"/>
                    </a:cubicBezTo>
                    <a:cubicBezTo>
                      <a:pt x="26" y="1"/>
                      <a:pt x="14" y="12"/>
                      <a:pt x="7" y="16"/>
                    </a:cubicBezTo>
                    <a:cubicBezTo>
                      <a:pt x="0" y="20"/>
                      <a:pt x="2" y="25"/>
                      <a:pt x="6" y="25"/>
                    </a:cubicBezTo>
                    <a:cubicBezTo>
                      <a:pt x="6" y="25"/>
                      <a:pt x="15" y="29"/>
                      <a:pt x="30" y="25"/>
                    </a:cubicBezTo>
                    <a:cubicBezTo>
                      <a:pt x="45" y="22"/>
                      <a:pt x="63" y="12"/>
                      <a:pt x="63" y="12"/>
                    </a:cubicBezTo>
                    <a:cubicBezTo>
                      <a:pt x="63" y="12"/>
                      <a:pt x="54" y="9"/>
                      <a:pt x="57" y="1"/>
                    </a:cubicBezTo>
                    <a:close/>
                  </a:path>
                </a:pathLst>
              </a:custGeom>
              <a:solidFill>
                <a:srgbClr val="E299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6" name="îṥļïďè">
                <a:extLst>
                  <a:ext uri="{FF2B5EF4-FFF2-40B4-BE49-F238E27FC236}">
                    <a16:creationId xmlns:a16="http://schemas.microsoft.com/office/drawing/2014/main" id="{176ACC6B-D4BD-44B3-8404-CD60BE27ED16}"/>
                  </a:ext>
                </a:extLst>
              </p:cNvPr>
              <p:cNvSpPr/>
              <p:nvPr/>
            </p:nvSpPr>
            <p:spPr bwMode="auto">
              <a:xfrm>
                <a:off x="2519024" y="3586392"/>
                <a:ext cx="92549" cy="43432"/>
              </a:xfrm>
              <a:custGeom>
                <a:avLst/>
                <a:gdLst>
                  <a:gd name="T0" fmla="*/ 0 w 15"/>
                  <a:gd name="T1" fmla="*/ 0 h 8"/>
                  <a:gd name="T2" fmla="*/ 5 w 15"/>
                  <a:gd name="T3" fmla="*/ 2 h 8"/>
                  <a:gd name="T4" fmla="*/ 8 w 15"/>
                  <a:gd name="T5" fmla="*/ 3 h 8"/>
                  <a:gd name="T6" fmla="*/ 10 w 15"/>
                  <a:gd name="T7" fmla="*/ 2 h 8"/>
                  <a:gd name="T8" fmla="*/ 12 w 15"/>
                  <a:gd name="T9" fmla="*/ 1 h 8"/>
                  <a:gd name="T10" fmla="*/ 15 w 15"/>
                  <a:gd name="T11" fmla="*/ 0 h 8"/>
                  <a:gd name="T12" fmla="*/ 13 w 15"/>
                  <a:gd name="T13" fmla="*/ 5 h 8"/>
                  <a:gd name="T14" fmla="*/ 7 w 15"/>
                  <a:gd name="T15" fmla="*/ 8 h 8"/>
                  <a:gd name="T16" fmla="*/ 2 w 15"/>
                  <a:gd name="T17" fmla="*/ 5 h 8"/>
                  <a:gd name="T18" fmla="*/ 0 w 15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2" y="0"/>
                      <a:pt x="3" y="1"/>
                      <a:pt x="5" y="2"/>
                    </a:cubicBezTo>
                    <a:cubicBezTo>
                      <a:pt x="6" y="3"/>
                      <a:pt x="7" y="3"/>
                      <a:pt x="8" y="3"/>
                    </a:cubicBezTo>
                    <a:cubicBezTo>
                      <a:pt x="8" y="3"/>
                      <a:pt x="9" y="3"/>
                      <a:pt x="10" y="2"/>
                    </a:cubicBezTo>
                    <a:cubicBezTo>
                      <a:pt x="11" y="2"/>
                      <a:pt x="12" y="2"/>
                      <a:pt x="12" y="1"/>
                    </a:cubicBezTo>
                    <a:cubicBezTo>
                      <a:pt x="13" y="1"/>
                      <a:pt x="14" y="0"/>
                      <a:pt x="15" y="0"/>
                    </a:cubicBezTo>
                    <a:cubicBezTo>
                      <a:pt x="15" y="2"/>
                      <a:pt x="14" y="3"/>
                      <a:pt x="13" y="5"/>
                    </a:cubicBezTo>
                    <a:cubicBezTo>
                      <a:pt x="12" y="7"/>
                      <a:pt x="10" y="8"/>
                      <a:pt x="7" y="8"/>
                    </a:cubicBezTo>
                    <a:cubicBezTo>
                      <a:pt x="5" y="8"/>
                      <a:pt x="3" y="6"/>
                      <a:pt x="2" y="5"/>
                    </a:cubicBezTo>
                    <a:cubicBezTo>
                      <a:pt x="1" y="3"/>
                      <a:pt x="0" y="2"/>
                      <a:pt x="0" y="0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7" name="íŝ1îḍé">
                <a:extLst>
                  <a:ext uri="{FF2B5EF4-FFF2-40B4-BE49-F238E27FC236}">
                    <a16:creationId xmlns:a16="http://schemas.microsoft.com/office/drawing/2014/main" id="{7E28C472-D962-4EBA-A128-54CE4D5FA5F0}"/>
                  </a:ext>
                </a:extLst>
              </p:cNvPr>
              <p:cNvSpPr/>
              <p:nvPr/>
            </p:nvSpPr>
            <p:spPr bwMode="auto">
              <a:xfrm>
                <a:off x="2748044" y="3490028"/>
                <a:ext cx="130196" cy="81433"/>
              </a:xfrm>
              <a:custGeom>
                <a:avLst/>
                <a:gdLst>
                  <a:gd name="T0" fmla="*/ 0 w 21"/>
                  <a:gd name="T1" fmla="*/ 10 h 15"/>
                  <a:gd name="T2" fmla="*/ 12 w 21"/>
                  <a:gd name="T3" fmla="*/ 9 h 15"/>
                  <a:gd name="T4" fmla="*/ 16 w 21"/>
                  <a:gd name="T5" fmla="*/ 5 h 15"/>
                  <a:gd name="T6" fmla="*/ 19 w 21"/>
                  <a:gd name="T7" fmla="*/ 3 h 15"/>
                  <a:gd name="T8" fmla="*/ 21 w 21"/>
                  <a:gd name="T9" fmla="*/ 0 h 15"/>
                  <a:gd name="T10" fmla="*/ 21 w 21"/>
                  <a:gd name="T11" fmla="*/ 4 h 15"/>
                  <a:gd name="T12" fmla="*/ 20 w 21"/>
                  <a:gd name="T13" fmla="*/ 7 h 15"/>
                  <a:gd name="T14" fmla="*/ 14 w 21"/>
                  <a:gd name="T15" fmla="*/ 13 h 15"/>
                  <a:gd name="T16" fmla="*/ 7 w 21"/>
                  <a:gd name="T17" fmla="*/ 14 h 15"/>
                  <a:gd name="T18" fmla="*/ 0 w 21"/>
                  <a:gd name="T1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5">
                    <a:moveTo>
                      <a:pt x="0" y="10"/>
                    </a:moveTo>
                    <a:cubicBezTo>
                      <a:pt x="5" y="11"/>
                      <a:pt x="9" y="10"/>
                      <a:pt x="12" y="9"/>
                    </a:cubicBezTo>
                    <a:cubicBezTo>
                      <a:pt x="14" y="8"/>
                      <a:pt x="15" y="6"/>
                      <a:pt x="16" y="5"/>
                    </a:cubicBezTo>
                    <a:cubicBezTo>
                      <a:pt x="17" y="4"/>
                      <a:pt x="18" y="3"/>
                      <a:pt x="19" y="3"/>
                    </a:cubicBezTo>
                    <a:cubicBezTo>
                      <a:pt x="19" y="2"/>
                      <a:pt x="20" y="1"/>
                      <a:pt x="21" y="0"/>
                    </a:cubicBezTo>
                    <a:cubicBezTo>
                      <a:pt x="21" y="1"/>
                      <a:pt x="21" y="2"/>
                      <a:pt x="21" y="4"/>
                    </a:cubicBezTo>
                    <a:cubicBezTo>
                      <a:pt x="20" y="5"/>
                      <a:pt x="20" y="6"/>
                      <a:pt x="20" y="7"/>
                    </a:cubicBezTo>
                    <a:cubicBezTo>
                      <a:pt x="18" y="9"/>
                      <a:pt x="17" y="11"/>
                      <a:pt x="14" y="13"/>
                    </a:cubicBezTo>
                    <a:cubicBezTo>
                      <a:pt x="12" y="14"/>
                      <a:pt x="9" y="15"/>
                      <a:pt x="7" y="14"/>
                    </a:cubicBezTo>
                    <a:cubicBezTo>
                      <a:pt x="4" y="14"/>
                      <a:pt x="2" y="12"/>
                      <a:pt x="0" y="10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8" name="îṣļiďê">
                <a:extLst>
                  <a:ext uri="{FF2B5EF4-FFF2-40B4-BE49-F238E27FC236}">
                    <a16:creationId xmlns:a16="http://schemas.microsoft.com/office/drawing/2014/main" id="{CC0B5310-6908-43EB-BAF5-3049CE0BFC78}"/>
                  </a:ext>
                </a:extLst>
              </p:cNvPr>
              <p:cNvSpPr/>
              <p:nvPr/>
            </p:nvSpPr>
            <p:spPr bwMode="auto">
              <a:xfrm>
                <a:off x="2748044" y="3671897"/>
                <a:ext cx="86275" cy="90935"/>
              </a:xfrm>
              <a:custGeom>
                <a:avLst/>
                <a:gdLst>
                  <a:gd name="T0" fmla="*/ 0 w 14"/>
                  <a:gd name="T1" fmla="*/ 16 h 17"/>
                  <a:gd name="T2" fmla="*/ 8 w 14"/>
                  <a:gd name="T3" fmla="*/ 10 h 17"/>
                  <a:gd name="T4" fmla="*/ 10 w 14"/>
                  <a:gd name="T5" fmla="*/ 6 h 17"/>
                  <a:gd name="T6" fmla="*/ 11 w 14"/>
                  <a:gd name="T7" fmla="*/ 0 h 17"/>
                  <a:gd name="T8" fmla="*/ 14 w 14"/>
                  <a:gd name="T9" fmla="*/ 6 h 17"/>
                  <a:gd name="T10" fmla="*/ 12 w 14"/>
                  <a:gd name="T11" fmla="*/ 12 h 17"/>
                  <a:gd name="T12" fmla="*/ 6 w 14"/>
                  <a:gd name="T13" fmla="*/ 16 h 17"/>
                  <a:gd name="T14" fmla="*/ 0 w 1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7">
                    <a:moveTo>
                      <a:pt x="0" y="16"/>
                    </a:moveTo>
                    <a:cubicBezTo>
                      <a:pt x="4" y="14"/>
                      <a:pt x="6" y="12"/>
                      <a:pt x="8" y="10"/>
                    </a:cubicBezTo>
                    <a:cubicBezTo>
                      <a:pt x="9" y="9"/>
                      <a:pt x="9" y="7"/>
                      <a:pt x="10" y="6"/>
                    </a:cubicBezTo>
                    <a:cubicBezTo>
                      <a:pt x="10" y="4"/>
                      <a:pt x="10" y="2"/>
                      <a:pt x="11" y="0"/>
                    </a:cubicBezTo>
                    <a:cubicBezTo>
                      <a:pt x="12" y="2"/>
                      <a:pt x="13" y="4"/>
                      <a:pt x="14" y="6"/>
                    </a:cubicBezTo>
                    <a:cubicBezTo>
                      <a:pt x="14" y="8"/>
                      <a:pt x="13" y="11"/>
                      <a:pt x="12" y="12"/>
                    </a:cubicBezTo>
                    <a:cubicBezTo>
                      <a:pt x="10" y="14"/>
                      <a:pt x="9" y="16"/>
                      <a:pt x="6" y="16"/>
                    </a:cubicBezTo>
                    <a:cubicBezTo>
                      <a:pt x="4" y="17"/>
                      <a:pt x="2" y="17"/>
                      <a:pt x="0" y="16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</p:grpSp>
      <p:sp>
        <p:nvSpPr>
          <p:cNvPr id="65" name="ïşliḋè">
            <a:extLst>
              <a:ext uri="{FF2B5EF4-FFF2-40B4-BE49-F238E27FC236}">
                <a16:creationId xmlns:a16="http://schemas.microsoft.com/office/drawing/2014/main" id="{3D89BCD5-6400-4A14-AAA9-7E180EECAAA6}"/>
              </a:ext>
            </a:extLst>
          </p:cNvPr>
          <p:cNvSpPr/>
          <p:nvPr/>
        </p:nvSpPr>
        <p:spPr bwMode="auto">
          <a:xfrm>
            <a:off x="8679784" y="3242967"/>
            <a:ext cx="2822061" cy="143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针对不同品类的不同影响因素，通过趋势预推方式对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18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及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夏预估，得到结构准确率；确保模型可用。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分段份额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=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（分段结构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+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分段结构变化）*（分段份额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+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分段份额变化）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总份额占比 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=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分段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1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份额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+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分段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2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份额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+….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17B53709-06F1-4D99-BF29-95B64399638D}"/>
              </a:ext>
            </a:extLst>
          </p:cNvPr>
          <p:cNvSpPr txBox="1"/>
          <p:nvPr/>
        </p:nvSpPr>
        <p:spPr>
          <a:xfrm>
            <a:off x="7494172" y="576229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根据前面图形得到最终建模思路：拆解</a:t>
            </a:r>
          </a:p>
        </p:txBody>
      </p:sp>
    </p:spTree>
    <p:extLst>
      <p:ext uri="{BB962C8B-B14F-4D97-AF65-F5344CB8AC3E}">
        <p14:creationId xmlns:p14="http://schemas.microsoft.com/office/powerpoint/2010/main" val="14033924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4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9" name="44e5106d-e551-42dc-be5a-1f8da4653f86" descr="9BYAAB+LCAAAAAAABADlmMGO2jAQht/FbW9oFWIDITcCpUVVu6uC2kPFwU0McZs4KDEruivefW2Igw2Bek8tQVxgPOP5//HoO/AM3vI/KwJ8ME1xzkcUL3OcTjhJQQtMIuCzdZK0QEBZRNnyQ56tVwXwfzxXZfrJd8rjbzhZE1nLKKc42f/0T/JV2mfKaLpOyzTnzhEhvNFCbWcfpFGUED1twjjJH6sObRnbfZ/yXDQYZ3mKuWj47GzfgfII+Kh352xlcUQ2oqgFZntZSk8pTw6g1qc8kDYfsoLTjB0qHrCYGxGSasweFR1ShSyScxriZJDQJUsJk4qDjPNMzv9jltOnjHHzWPgjPIzF+SdCVuUAp/RJNFzgpCBqDDFekS+ikXK3C7RF2VeSYE4fjQwj1gbbyleVJMdxnNYybp5X0zxMR3gVqo0hb1tnBzQjG/66kcoKfZ51j3/OzE6OvECXXkqo0z2vUV7t/TBLsvzve6/STs7vFwsakllMUqJyZpTxAYuE6EgtfZDTZcwZKYoycP/zFwm5VuZ3ZNa6iMWdb8bjYAi7qA+UPWdbt/yqoe3yH+XbvNOuRH8o4bcgfBCGYsyl8r2hXfzEp5J/6SnNpQxw+Ft/WCXaeNl98MJG/jOr7qu29pK5i2v7n+O64+m4dm8O164Nrl07XLsGrt3rxbXbJFz3DFzDdq/njWpx7TYS166Oa7fJuLY1d8247nV0XMObwzW0wTW0wzU0cA2vF9ewSbj2DFyPukPPC2pxDRuJa6jjGjYZ17bmrhnXXl/HNbo5XCMbXCM7XCMD1+h6cY2ahOv+Ea6778/8GYIaiWuk4xo1Gde25ubi8wKF2MCJ9BYAAA==">
            <a:extLst>
              <a:ext uri="{FF2B5EF4-FFF2-40B4-BE49-F238E27FC236}">
                <a16:creationId xmlns:a16="http://schemas.microsoft.com/office/drawing/2014/main" id="{4EC40521-A829-413D-9486-39A28FC87B67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85693"/>
            <a:ext cx="5494902" cy="4697777"/>
            <a:chOff x="3261032" y="1080112"/>
            <a:chExt cx="5669936" cy="4697777"/>
          </a:xfrm>
        </p:grpSpPr>
        <p:sp>
          <p:nvSpPr>
            <p:cNvPr id="10" name="ExtraShape1">
              <a:extLst>
                <a:ext uri="{FF2B5EF4-FFF2-40B4-BE49-F238E27FC236}">
                  <a16:creationId xmlns:a16="http://schemas.microsoft.com/office/drawing/2014/main" id="{AD15EE27-6A0E-4C80-8F2B-A501EC09BC3B}"/>
                </a:ext>
              </a:extLst>
            </p:cNvPr>
            <p:cNvSpPr/>
            <p:nvPr/>
          </p:nvSpPr>
          <p:spPr bwMode="auto">
            <a:xfrm flipH="1">
              <a:off x="3547750" y="4793882"/>
              <a:ext cx="426201" cy="286718"/>
            </a:xfrm>
            <a:custGeom>
              <a:avLst/>
              <a:gdLst>
                <a:gd name="T0" fmla="*/ 121 w 121"/>
                <a:gd name="T1" fmla="*/ 42 h 82"/>
                <a:gd name="T2" fmla="*/ 43 w 121"/>
                <a:gd name="T3" fmla="*/ 82 h 82"/>
                <a:gd name="T4" fmla="*/ 35 w 121"/>
                <a:gd name="T5" fmla="*/ 43 h 82"/>
                <a:gd name="T6" fmla="*/ 46 w 121"/>
                <a:gd name="T7" fmla="*/ 42 h 82"/>
                <a:gd name="T8" fmla="*/ 64 w 121"/>
                <a:gd name="T9" fmla="*/ 26 h 82"/>
                <a:gd name="T10" fmla="*/ 81 w 121"/>
                <a:gd name="T11" fmla="*/ 11 h 82"/>
                <a:gd name="T12" fmla="*/ 86 w 121"/>
                <a:gd name="T13" fmla="*/ 1 h 82"/>
                <a:gd name="T14" fmla="*/ 114 w 121"/>
                <a:gd name="T15" fmla="*/ 0 h 82"/>
                <a:gd name="T16" fmla="*/ 117 w 121"/>
                <a:gd name="T17" fmla="*/ 27 h 82"/>
                <a:gd name="T18" fmla="*/ 117 w 121"/>
                <a:gd name="T19" fmla="*/ 33 h 82"/>
                <a:gd name="T20" fmla="*/ 121 w 121"/>
                <a:gd name="T21" fmla="*/ 4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" h="82">
                  <a:moveTo>
                    <a:pt x="121" y="42"/>
                  </a:moveTo>
                  <a:cubicBezTo>
                    <a:pt x="102" y="66"/>
                    <a:pt x="73" y="81"/>
                    <a:pt x="43" y="82"/>
                  </a:cubicBezTo>
                  <a:cubicBezTo>
                    <a:pt x="0" y="82"/>
                    <a:pt x="21" y="43"/>
                    <a:pt x="35" y="43"/>
                  </a:cubicBezTo>
                  <a:cubicBezTo>
                    <a:pt x="39" y="43"/>
                    <a:pt x="43" y="42"/>
                    <a:pt x="46" y="4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1"/>
                    <a:pt x="110" y="7"/>
                    <a:pt x="114" y="0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9" y="35"/>
                    <a:pt x="120" y="38"/>
                    <a:pt x="121" y="42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ExtraShape2">
              <a:extLst>
                <a:ext uri="{FF2B5EF4-FFF2-40B4-BE49-F238E27FC236}">
                  <a16:creationId xmlns:a16="http://schemas.microsoft.com/office/drawing/2014/main" id="{C40336B1-9B84-4677-B2E1-EB777CB48192}"/>
                </a:ext>
              </a:extLst>
            </p:cNvPr>
            <p:cNvSpPr/>
            <p:nvPr/>
          </p:nvSpPr>
          <p:spPr bwMode="auto">
            <a:xfrm flipH="1">
              <a:off x="3913896" y="4786133"/>
              <a:ext cx="441700" cy="246036"/>
            </a:xfrm>
            <a:custGeom>
              <a:avLst/>
              <a:gdLst>
                <a:gd name="T0" fmla="*/ 126 w 126"/>
                <a:gd name="T1" fmla="*/ 42 h 70"/>
                <a:gd name="T2" fmla="*/ 42 w 126"/>
                <a:gd name="T3" fmla="*/ 70 h 70"/>
                <a:gd name="T4" fmla="*/ 34 w 126"/>
                <a:gd name="T5" fmla="*/ 30 h 70"/>
                <a:gd name="T6" fmla="*/ 48 w 126"/>
                <a:gd name="T7" fmla="*/ 30 h 70"/>
                <a:gd name="T8" fmla="*/ 56 w 126"/>
                <a:gd name="T9" fmla="*/ 26 h 70"/>
                <a:gd name="T10" fmla="*/ 86 w 126"/>
                <a:gd name="T11" fmla="*/ 11 h 70"/>
                <a:gd name="T12" fmla="*/ 91 w 126"/>
                <a:gd name="T13" fmla="*/ 1 h 70"/>
                <a:gd name="T14" fmla="*/ 119 w 126"/>
                <a:gd name="T15" fmla="*/ 0 h 70"/>
                <a:gd name="T16" fmla="*/ 122 w 126"/>
                <a:gd name="T17" fmla="*/ 27 h 70"/>
                <a:gd name="T18" fmla="*/ 122 w 126"/>
                <a:gd name="T19" fmla="*/ 32 h 70"/>
                <a:gd name="T20" fmla="*/ 126 w 126"/>
                <a:gd name="T21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70">
                  <a:moveTo>
                    <a:pt x="126" y="42"/>
                  </a:moveTo>
                  <a:cubicBezTo>
                    <a:pt x="126" y="46"/>
                    <a:pt x="83" y="70"/>
                    <a:pt x="42" y="70"/>
                  </a:cubicBezTo>
                  <a:cubicBezTo>
                    <a:pt x="0" y="70"/>
                    <a:pt x="20" y="30"/>
                    <a:pt x="34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1" y="1"/>
                    <a:pt x="115" y="6"/>
                    <a:pt x="119" y="0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4" y="35"/>
                    <a:pt x="125" y="38"/>
                    <a:pt x="126" y="42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ExtraShape3">
              <a:extLst>
                <a:ext uri="{FF2B5EF4-FFF2-40B4-BE49-F238E27FC236}">
                  <a16:creationId xmlns:a16="http://schemas.microsoft.com/office/drawing/2014/main" id="{5AEFF0BB-A3CC-4694-AAC3-C53E04B0FFEB}"/>
                </a:ext>
              </a:extLst>
            </p:cNvPr>
            <p:cNvSpPr/>
            <p:nvPr/>
          </p:nvSpPr>
          <p:spPr bwMode="auto">
            <a:xfrm flipH="1">
              <a:off x="3917771" y="4877183"/>
              <a:ext cx="441700" cy="154982"/>
            </a:xfrm>
            <a:custGeom>
              <a:avLst/>
              <a:gdLst>
                <a:gd name="T0" fmla="*/ 124 w 126"/>
                <a:gd name="T1" fmla="*/ 6 h 44"/>
                <a:gd name="T2" fmla="*/ 126 w 126"/>
                <a:gd name="T3" fmla="*/ 16 h 44"/>
                <a:gd name="T4" fmla="*/ 42 w 126"/>
                <a:gd name="T5" fmla="*/ 44 h 44"/>
                <a:gd name="T6" fmla="*/ 34 w 126"/>
                <a:gd name="T7" fmla="*/ 4 h 44"/>
                <a:gd name="T8" fmla="*/ 48 w 126"/>
                <a:gd name="T9" fmla="*/ 4 h 44"/>
                <a:gd name="T10" fmla="*/ 56 w 126"/>
                <a:gd name="T11" fmla="*/ 0 h 44"/>
                <a:gd name="T12" fmla="*/ 123 w 126"/>
                <a:gd name="T13" fmla="*/ 1 h 44"/>
                <a:gd name="T14" fmla="*/ 124 w 126"/>
                <a:gd name="T15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44">
                  <a:moveTo>
                    <a:pt x="124" y="6"/>
                  </a:moveTo>
                  <a:cubicBezTo>
                    <a:pt x="125" y="9"/>
                    <a:pt x="126" y="12"/>
                    <a:pt x="126" y="16"/>
                  </a:cubicBezTo>
                  <a:cubicBezTo>
                    <a:pt x="126" y="20"/>
                    <a:pt x="83" y="44"/>
                    <a:pt x="42" y="44"/>
                  </a:cubicBezTo>
                  <a:cubicBezTo>
                    <a:pt x="0" y="44"/>
                    <a:pt x="20" y="4"/>
                    <a:pt x="34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23" y="1"/>
                    <a:pt x="123" y="1"/>
                    <a:pt x="123" y="1"/>
                  </a:cubicBezTo>
                  <a:lnTo>
                    <a:pt x="124" y="6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ExtraShape4">
              <a:extLst>
                <a:ext uri="{FF2B5EF4-FFF2-40B4-BE49-F238E27FC236}">
                  <a16:creationId xmlns:a16="http://schemas.microsoft.com/office/drawing/2014/main" id="{167754B9-6A1B-424D-9AD7-BF6082CAA786}"/>
                </a:ext>
              </a:extLst>
            </p:cNvPr>
            <p:cNvSpPr/>
            <p:nvPr/>
          </p:nvSpPr>
          <p:spPr bwMode="auto">
            <a:xfrm flipH="1">
              <a:off x="4090189" y="4877183"/>
              <a:ext cx="191791" cy="108488"/>
            </a:xfrm>
            <a:custGeom>
              <a:avLst/>
              <a:gdLst>
                <a:gd name="T0" fmla="*/ 43 w 55"/>
                <a:gd name="T1" fmla="*/ 29 h 31"/>
                <a:gd name="T2" fmla="*/ 12 w 55"/>
                <a:gd name="T3" fmla="*/ 29 h 31"/>
                <a:gd name="T4" fmla="*/ 0 w 55"/>
                <a:gd name="T5" fmla="*/ 16 h 31"/>
                <a:gd name="T6" fmla="*/ 28 w 55"/>
                <a:gd name="T7" fmla="*/ 6 h 31"/>
                <a:gd name="T8" fmla="*/ 55 w 55"/>
                <a:gd name="T9" fmla="*/ 23 h 31"/>
                <a:gd name="T10" fmla="*/ 43 w 55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31">
                  <a:moveTo>
                    <a:pt x="43" y="29"/>
                  </a:moveTo>
                  <a:cubicBezTo>
                    <a:pt x="33" y="31"/>
                    <a:pt x="22" y="31"/>
                    <a:pt x="12" y="29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12"/>
                    <a:pt x="6" y="0"/>
                    <a:pt x="28" y="6"/>
                  </a:cubicBezTo>
                  <a:cubicBezTo>
                    <a:pt x="51" y="11"/>
                    <a:pt x="55" y="23"/>
                    <a:pt x="55" y="23"/>
                  </a:cubicBezTo>
                  <a:lnTo>
                    <a:pt x="43" y="29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ExtraShape5">
              <a:extLst>
                <a:ext uri="{FF2B5EF4-FFF2-40B4-BE49-F238E27FC236}">
                  <a16:creationId xmlns:a16="http://schemas.microsoft.com/office/drawing/2014/main" id="{20B81D85-6BB4-4A4B-8A0E-CBF1A24A0AB1}"/>
                </a:ext>
              </a:extLst>
            </p:cNvPr>
            <p:cNvSpPr/>
            <p:nvPr/>
          </p:nvSpPr>
          <p:spPr bwMode="auto">
            <a:xfrm flipH="1">
              <a:off x="3547750" y="4884933"/>
              <a:ext cx="426201" cy="195666"/>
            </a:xfrm>
            <a:custGeom>
              <a:avLst/>
              <a:gdLst>
                <a:gd name="T0" fmla="*/ 121 w 121"/>
                <a:gd name="T1" fmla="*/ 16 h 56"/>
                <a:gd name="T2" fmla="*/ 43 w 121"/>
                <a:gd name="T3" fmla="*/ 56 h 56"/>
                <a:gd name="T4" fmla="*/ 35 w 121"/>
                <a:gd name="T5" fmla="*/ 17 h 56"/>
                <a:gd name="T6" fmla="*/ 46 w 121"/>
                <a:gd name="T7" fmla="*/ 16 h 56"/>
                <a:gd name="T8" fmla="*/ 64 w 121"/>
                <a:gd name="T9" fmla="*/ 0 h 56"/>
                <a:gd name="T10" fmla="*/ 117 w 121"/>
                <a:gd name="T11" fmla="*/ 1 h 56"/>
                <a:gd name="T12" fmla="*/ 117 w 121"/>
                <a:gd name="T13" fmla="*/ 7 h 56"/>
                <a:gd name="T14" fmla="*/ 121 w 121"/>
                <a:gd name="T15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56">
                  <a:moveTo>
                    <a:pt x="121" y="16"/>
                  </a:moveTo>
                  <a:cubicBezTo>
                    <a:pt x="102" y="40"/>
                    <a:pt x="73" y="55"/>
                    <a:pt x="43" y="56"/>
                  </a:cubicBezTo>
                  <a:cubicBezTo>
                    <a:pt x="0" y="56"/>
                    <a:pt x="21" y="17"/>
                    <a:pt x="35" y="17"/>
                  </a:cubicBezTo>
                  <a:cubicBezTo>
                    <a:pt x="39" y="17"/>
                    <a:pt x="43" y="16"/>
                    <a:pt x="46" y="1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9" y="9"/>
                    <a:pt x="120" y="12"/>
                    <a:pt x="121" y="16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ExtraShape6">
              <a:extLst>
                <a:ext uri="{FF2B5EF4-FFF2-40B4-BE49-F238E27FC236}">
                  <a16:creationId xmlns:a16="http://schemas.microsoft.com/office/drawing/2014/main" id="{AB9BC497-7EFD-4D0F-BDBF-BB2FD63A3991}"/>
                </a:ext>
              </a:extLst>
            </p:cNvPr>
            <p:cNvSpPr/>
            <p:nvPr/>
          </p:nvSpPr>
          <p:spPr bwMode="auto">
            <a:xfrm flipH="1">
              <a:off x="3698857" y="4923679"/>
              <a:ext cx="193728" cy="108488"/>
            </a:xfrm>
            <a:custGeom>
              <a:avLst/>
              <a:gdLst>
                <a:gd name="T0" fmla="*/ 43 w 55"/>
                <a:gd name="T1" fmla="*/ 28 h 31"/>
                <a:gd name="T2" fmla="*/ 12 w 55"/>
                <a:gd name="T3" fmla="*/ 28 h 31"/>
                <a:gd name="T4" fmla="*/ 0 w 55"/>
                <a:gd name="T5" fmla="*/ 15 h 31"/>
                <a:gd name="T6" fmla="*/ 28 w 55"/>
                <a:gd name="T7" fmla="*/ 5 h 31"/>
                <a:gd name="T8" fmla="*/ 55 w 55"/>
                <a:gd name="T9" fmla="*/ 22 h 31"/>
                <a:gd name="T10" fmla="*/ 43 w 55"/>
                <a:gd name="T11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31">
                  <a:moveTo>
                    <a:pt x="43" y="28"/>
                  </a:moveTo>
                  <a:cubicBezTo>
                    <a:pt x="33" y="31"/>
                    <a:pt x="22" y="31"/>
                    <a:pt x="12" y="28"/>
                  </a:cubicBezTo>
                  <a:cubicBezTo>
                    <a:pt x="3" y="23"/>
                    <a:pt x="0" y="19"/>
                    <a:pt x="0" y="15"/>
                  </a:cubicBezTo>
                  <a:cubicBezTo>
                    <a:pt x="1" y="11"/>
                    <a:pt x="6" y="0"/>
                    <a:pt x="28" y="5"/>
                  </a:cubicBezTo>
                  <a:cubicBezTo>
                    <a:pt x="51" y="11"/>
                    <a:pt x="55" y="22"/>
                    <a:pt x="55" y="22"/>
                  </a:cubicBezTo>
                  <a:lnTo>
                    <a:pt x="43" y="28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ExtraShape7">
              <a:extLst>
                <a:ext uri="{FF2B5EF4-FFF2-40B4-BE49-F238E27FC236}">
                  <a16:creationId xmlns:a16="http://schemas.microsoft.com/office/drawing/2014/main" id="{17D2E80A-BC55-4ECA-92A1-5D0ED1C657C4}"/>
                </a:ext>
              </a:extLst>
            </p:cNvPr>
            <p:cNvSpPr/>
            <p:nvPr/>
          </p:nvSpPr>
          <p:spPr bwMode="auto">
            <a:xfrm flipH="1">
              <a:off x="3495442" y="3307986"/>
              <a:ext cx="724543" cy="1542075"/>
            </a:xfrm>
            <a:custGeom>
              <a:avLst/>
              <a:gdLst>
                <a:gd name="T0" fmla="*/ 0 w 206"/>
                <a:gd name="T1" fmla="*/ 2 h 439"/>
                <a:gd name="T2" fmla="*/ 42 w 206"/>
                <a:gd name="T3" fmla="*/ 421 h 439"/>
                <a:gd name="T4" fmla="*/ 83 w 206"/>
                <a:gd name="T5" fmla="*/ 421 h 439"/>
                <a:gd name="T6" fmla="*/ 100 w 206"/>
                <a:gd name="T7" fmla="*/ 91 h 439"/>
                <a:gd name="T8" fmla="*/ 150 w 206"/>
                <a:gd name="T9" fmla="*/ 424 h 439"/>
                <a:gd name="T10" fmla="*/ 187 w 206"/>
                <a:gd name="T11" fmla="*/ 422 h 439"/>
                <a:gd name="T12" fmla="*/ 206 w 206"/>
                <a:gd name="T13" fmla="*/ 0 h 439"/>
                <a:gd name="T14" fmla="*/ 0 w 206"/>
                <a:gd name="T15" fmla="*/ 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6" h="439">
                  <a:moveTo>
                    <a:pt x="0" y="2"/>
                  </a:moveTo>
                  <a:cubicBezTo>
                    <a:pt x="42" y="421"/>
                    <a:pt x="42" y="421"/>
                    <a:pt x="42" y="421"/>
                  </a:cubicBezTo>
                  <a:cubicBezTo>
                    <a:pt x="42" y="421"/>
                    <a:pt x="70" y="431"/>
                    <a:pt x="83" y="42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50" y="424"/>
                    <a:pt x="150" y="424"/>
                    <a:pt x="150" y="424"/>
                  </a:cubicBezTo>
                  <a:cubicBezTo>
                    <a:pt x="150" y="424"/>
                    <a:pt x="173" y="439"/>
                    <a:pt x="187" y="422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6" y="0"/>
                    <a:pt x="58" y="30"/>
                    <a:pt x="0" y="2"/>
                  </a:cubicBez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ExtraShape8">
              <a:extLst>
                <a:ext uri="{FF2B5EF4-FFF2-40B4-BE49-F238E27FC236}">
                  <a16:creationId xmlns:a16="http://schemas.microsoft.com/office/drawing/2014/main" id="{B425E79A-93E2-4F27-87BB-32F76339CE20}"/>
                </a:ext>
              </a:extLst>
            </p:cNvPr>
            <p:cNvSpPr/>
            <p:nvPr/>
          </p:nvSpPr>
          <p:spPr bwMode="auto">
            <a:xfrm flipH="1">
              <a:off x="3261032" y="1926706"/>
              <a:ext cx="958955" cy="1518829"/>
            </a:xfrm>
            <a:custGeom>
              <a:avLst/>
              <a:gdLst>
                <a:gd name="T0" fmla="*/ 148 w 273"/>
                <a:gd name="T1" fmla="*/ 0 h 433"/>
                <a:gd name="T2" fmla="*/ 166 w 273"/>
                <a:gd name="T3" fmla="*/ 11 h 433"/>
                <a:gd name="T4" fmla="*/ 214 w 273"/>
                <a:gd name="T5" fmla="*/ 29 h 433"/>
                <a:gd name="T6" fmla="*/ 248 w 273"/>
                <a:gd name="T7" fmla="*/ 92 h 433"/>
                <a:gd name="T8" fmla="*/ 272 w 273"/>
                <a:gd name="T9" fmla="*/ 209 h 433"/>
                <a:gd name="T10" fmla="*/ 240 w 273"/>
                <a:gd name="T11" fmla="*/ 251 h 433"/>
                <a:gd name="T12" fmla="*/ 205 w 273"/>
                <a:gd name="T13" fmla="*/ 268 h 433"/>
                <a:gd name="T14" fmla="*/ 206 w 273"/>
                <a:gd name="T15" fmla="*/ 393 h 433"/>
                <a:gd name="T16" fmla="*/ 0 w 273"/>
                <a:gd name="T17" fmla="*/ 395 h 433"/>
                <a:gd name="T18" fmla="*/ 6 w 273"/>
                <a:gd name="T19" fmla="*/ 227 h 433"/>
                <a:gd name="T20" fmla="*/ 30 w 273"/>
                <a:gd name="T21" fmla="*/ 43 h 433"/>
                <a:gd name="T22" fmla="*/ 99 w 273"/>
                <a:gd name="T23" fmla="*/ 11 h 433"/>
                <a:gd name="T24" fmla="*/ 148 w 273"/>
                <a:gd name="T25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" h="433">
                  <a:moveTo>
                    <a:pt x="148" y="0"/>
                  </a:moveTo>
                  <a:cubicBezTo>
                    <a:pt x="154" y="4"/>
                    <a:pt x="160" y="8"/>
                    <a:pt x="166" y="11"/>
                  </a:cubicBezTo>
                  <a:cubicBezTo>
                    <a:pt x="181" y="20"/>
                    <a:pt x="197" y="26"/>
                    <a:pt x="214" y="29"/>
                  </a:cubicBezTo>
                  <a:cubicBezTo>
                    <a:pt x="236" y="31"/>
                    <a:pt x="245" y="73"/>
                    <a:pt x="248" y="92"/>
                  </a:cubicBezTo>
                  <a:cubicBezTo>
                    <a:pt x="251" y="112"/>
                    <a:pt x="272" y="209"/>
                    <a:pt x="272" y="209"/>
                  </a:cubicBezTo>
                  <a:cubicBezTo>
                    <a:pt x="273" y="229"/>
                    <a:pt x="260" y="247"/>
                    <a:pt x="240" y="251"/>
                  </a:cubicBezTo>
                  <a:cubicBezTo>
                    <a:pt x="204" y="263"/>
                    <a:pt x="205" y="268"/>
                    <a:pt x="205" y="268"/>
                  </a:cubicBezTo>
                  <a:cubicBezTo>
                    <a:pt x="206" y="393"/>
                    <a:pt x="206" y="393"/>
                    <a:pt x="206" y="393"/>
                  </a:cubicBezTo>
                  <a:cubicBezTo>
                    <a:pt x="206" y="393"/>
                    <a:pt x="44" y="433"/>
                    <a:pt x="0" y="395"/>
                  </a:cubicBezTo>
                  <a:cubicBezTo>
                    <a:pt x="6" y="227"/>
                    <a:pt x="6" y="227"/>
                    <a:pt x="6" y="227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99" y="11"/>
                    <a:pt x="99" y="11"/>
                    <a:pt x="99" y="11"/>
                  </a:cubicBezTo>
                  <a:lnTo>
                    <a:pt x="148" y="0"/>
                  </a:lnTo>
                  <a:close/>
                </a:path>
              </a:pathLst>
            </a:custGeom>
            <a:solidFill>
              <a:srgbClr val="597E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ExtraShape9">
              <a:extLst>
                <a:ext uri="{FF2B5EF4-FFF2-40B4-BE49-F238E27FC236}">
                  <a16:creationId xmlns:a16="http://schemas.microsoft.com/office/drawing/2014/main" id="{54BE75AC-2CCC-474C-89FB-55FBDD558ADB}"/>
                </a:ext>
              </a:extLst>
            </p:cNvPr>
            <p:cNvSpPr/>
            <p:nvPr/>
          </p:nvSpPr>
          <p:spPr bwMode="auto">
            <a:xfrm flipH="1">
              <a:off x="3265565" y="1926423"/>
              <a:ext cx="958955" cy="1518829"/>
            </a:xfrm>
            <a:custGeom>
              <a:avLst/>
              <a:gdLst>
                <a:gd name="T0" fmla="*/ 148 w 273"/>
                <a:gd name="T1" fmla="*/ 0 h 433"/>
                <a:gd name="T2" fmla="*/ 166 w 273"/>
                <a:gd name="T3" fmla="*/ 11 h 433"/>
                <a:gd name="T4" fmla="*/ 214 w 273"/>
                <a:gd name="T5" fmla="*/ 29 h 433"/>
                <a:gd name="T6" fmla="*/ 248 w 273"/>
                <a:gd name="T7" fmla="*/ 92 h 433"/>
                <a:gd name="T8" fmla="*/ 272 w 273"/>
                <a:gd name="T9" fmla="*/ 209 h 433"/>
                <a:gd name="T10" fmla="*/ 240 w 273"/>
                <a:gd name="T11" fmla="*/ 251 h 433"/>
                <a:gd name="T12" fmla="*/ 205 w 273"/>
                <a:gd name="T13" fmla="*/ 268 h 433"/>
                <a:gd name="T14" fmla="*/ 206 w 273"/>
                <a:gd name="T15" fmla="*/ 393 h 433"/>
                <a:gd name="T16" fmla="*/ 0 w 273"/>
                <a:gd name="T17" fmla="*/ 395 h 433"/>
                <a:gd name="T18" fmla="*/ 6 w 273"/>
                <a:gd name="T19" fmla="*/ 227 h 433"/>
                <a:gd name="T20" fmla="*/ 30 w 273"/>
                <a:gd name="T21" fmla="*/ 43 h 433"/>
                <a:gd name="T22" fmla="*/ 99 w 273"/>
                <a:gd name="T23" fmla="*/ 11 h 433"/>
                <a:gd name="T24" fmla="*/ 148 w 273"/>
                <a:gd name="T25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" h="433">
                  <a:moveTo>
                    <a:pt x="148" y="0"/>
                  </a:moveTo>
                  <a:cubicBezTo>
                    <a:pt x="154" y="4"/>
                    <a:pt x="160" y="8"/>
                    <a:pt x="166" y="11"/>
                  </a:cubicBezTo>
                  <a:cubicBezTo>
                    <a:pt x="181" y="20"/>
                    <a:pt x="197" y="26"/>
                    <a:pt x="214" y="29"/>
                  </a:cubicBezTo>
                  <a:cubicBezTo>
                    <a:pt x="236" y="31"/>
                    <a:pt x="245" y="73"/>
                    <a:pt x="248" y="92"/>
                  </a:cubicBezTo>
                  <a:cubicBezTo>
                    <a:pt x="251" y="112"/>
                    <a:pt x="272" y="209"/>
                    <a:pt x="272" y="209"/>
                  </a:cubicBezTo>
                  <a:cubicBezTo>
                    <a:pt x="273" y="229"/>
                    <a:pt x="260" y="247"/>
                    <a:pt x="240" y="251"/>
                  </a:cubicBezTo>
                  <a:cubicBezTo>
                    <a:pt x="204" y="263"/>
                    <a:pt x="205" y="268"/>
                    <a:pt x="205" y="268"/>
                  </a:cubicBezTo>
                  <a:cubicBezTo>
                    <a:pt x="206" y="393"/>
                    <a:pt x="206" y="393"/>
                    <a:pt x="206" y="393"/>
                  </a:cubicBezTo>
                  <a:cubicBezTo>
                    <a:pt x="206" y="393"/>
                    <a:pt x="44" y="433"/>
                    <a:pt x="0" y="395"/>
                  </a:cubicBezTo>
                  <a:cubicBezTo>
                    <a:pt x="6" y="227"/>
                    <a:pt x="6" y="227"/>
                    <a:pt x="6" y="227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99" y="11"/>
                    <a:pt x="99" y="11"/>
                    <a:pt x="99" y="11"/>
                  </a:cubicBezTo>
                  <a:lnTo>
                    <a:pt x="148" y="0"/>
                  </a:lnTo>
                  <a:close/>
                </a:path>
              </a:pathLst>
            </a:custGeom>
            <a:gradFill>
              <a:gsLst>
                <a:gs pos="0">
                  <a:srgbClr val="3D5773"/>
                </a:gs>
                <a:gs pos="100000">
                  <a:srgbClr val="54789E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ExtraShape10">
              <a:extLst>
                <a:ext uri="{FF2B5EF4-FFF2-40B4-BE49-F238E27FC236}">
                  <a16:creationId xmlns:a16="http://schemas.microsoft.com/office/drawing/2014/main" id="{FE90EA31-D134-452B-9EA1-1E11B8FB5E9C}"/>
                </a:ext>
              </a:extLst>
            </p:cNvPr>
            <p:cNvSpPr/>
            <p:nvPr/>
          </p:nvSpPr>
          <p:spPr bwMode="auto">
            <a:xfrm flipH="1">
              <a:off x="3677548" y="1913143"/>
              <a:ext cx="348710" cy="282843"/>
            </a:xfrm>
            <a:custGeom>
              <a:avLst/>
              <a:gdLst>
                <a:gd name="T0" fmla="*/ 93 w 99"/>
                <a:gd name="T1" fmla="*/ 0 h 81"/>
                <a:gd name="T2" fmla="*/ 37 w 99"/>
                <a:gd name="T3" fmla="*/ 21 h 81"/>
                <a:gd name="T4" fmla="*/ 35 w 99"/>
                <a:gd name="T5" fmla="*/ 20 h 81"/>
                <a:gd name="T6" fmla="*/ 51 w 99"/>
                <a:gd name="T7" fmla="*/ 74 h 81"/>
                <a:gd name="T8" fmla="*/ 99 w 99"/>
                <a:gd name="T9" fmla="*/ 8 h 81"/>
                <a:gd name="T10" fmla="*/ 93 w 9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81">
                  <a:moveTo>
                    <a:pt x="93" y="0"/>
                  </a:moveTo>
                  <a:cubicBezTo>
                    <a:pt x="84" y="21"/>
                    <a:pt x="58" y="31"/>
                    <a:pt x="37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0" y="81"/>
                    <a:pt x="51" y="74"/>
                  </a:cubicBezTo>
                  <a:cubicBezTo>
                    <a:pt x="77" y="70"/>
                    <a:pt x="95" y="27"/>
                    <a:pt x="99" y="8"/>
                  </a:cubicBezTo>
                  <a:lnTo>
                    <a:pt x="93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ExtraShape11">
              <a:extLst>
                <a:ext uri="{FF2B5EF4-FFF2-40B4-BE49-F238E27FC236}">
                  <a16:creationId xmlns:a16="http://schemas.microsoft.com/office/drawing/2014/main" id="{EECBFDF4-A95E-4650-B3C8-9F64CFB6D4E9}"/>
                </a:ext>
              </a:extLst>
            </p:cNvPr>
            <p:cNvSpPr/>
            <p:nvPr/>
          </p:nvSpPr>
          <p:spPr bwMode="auto">
            <a:xfrm flipH="1">
              <a:off x="3507066" y="2319973"/>
              <a:ext cx="480446" cy="455261"/>
            </a:xfrm>
            <a:custGeom>
              <a:avLst/>
              <a:gdLst>
                <a:gd name="T0" fmla="*/ 94 w 137"/>
                <a:gd name="T1" fmla="*/ 94 h 130"/>
                <a:gd name="T2" fmla="*/ 132 w 137"/>
                <a:gd name="T3" fmla="*/ 82 h 130"/>
                <a:gd name="T4" fmla="*/ 126 w 137"/>
                <a:gd name="T5" fmla="*/ 0 h 130"/>
                <a:gd name="T6" fmla="*/ 40 w 137"/>
                <a:gd name="T7" fmla="*/ 94 h 130"/>
                <a:gd name="T8" fmla="*/ 68 w 137"/>
                <a:gd name="T9" fmla="*/ 130 h 130"/>
                <a:gd name="T10" fmla="*/ 94 w 137"/>
                <a:gd name="T11" fmla="*/ 9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130">
                  <a:moveTo>
                    <a:pt x="94" y="94"/>
                  </a:moveTo>
                  <a:cubicBezTo>
                    <a:pt x="107" y="91"/>
                    <a:pt x="120" y="87"/>
                    <a:pt x="132" y="82"/>
                  </a:cubicBezTo>
                  <a:cubicBezTo>
                    <a:pt x="137" y="79"/>
                    <a:pt x="126" y="0"/>
                    <a:pt x="126" y="0"/>
                  </a:cubicBezTo>
                  <a:cubicBezTo>
                    <a:pt x="126" y="0"/>
                    <a:pt x="122" y="64"/>
                    <a:pt x="40" y="94"/>
                  </a:cubicBezTo>
                  <a:cubicBezTo>
                    <a:pt x="0" y="109"/>
                    <a:pt x="68" y="130"/>
                    <a:pt x="68" y="130"/>
                  </a:cubicBezTo>
                  <a:lnTo>
                    <a:pt x="94" y="94"/>
                  </a:ln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ExtraShape12">
              <a:extLst>
                <a:ext uri="{FF2B5EF4-FFF2-40B4-BE49-F238E27FC236}">
                  <a16:creationId xmlns:a16="http://schemas.microsoft.com/office/drawing/2014/main" id="{272A8F70-30DD-4800-9D3F-A1C071844FB5}"/>
                </a:ext>
              </a:extLst>
            </p:cNvPr>
            <p:cNvSpPr/>
            <p:nvPr/>
          </p:nvSpPr>
          <p:spPr bwMode="auto">
            <a:xfrm flipH="1">
              <a:off x="3499317" y="2631876"/>
              <a:ext cx="703234" cy="579248"/>
            </a:xfrm>
            <a:custGeom>
              <a:avLst/>
              <a:gdLst>
                <a:gd name="T0" fmla="*/ 147 w 200"/>
                <a:gd name="T1" fmla="*/ 57 h 165"/>
                <a:gd name="T2" fmla="*/ 200 w 200"/>
                <a:gd name="T3" fmla="*/ 68 h 165"/>
                <a:gd name="T4" fmla="*/ 200 w 200"/>
                <a:gd name="T5" fmla="*/ 165 h 165"/>
                <a:gd name="T6" fmla="*/ 87 w 200"/>
                <a:gd name="T7" fmla="*/ 80 h 165"/>
                <a:gd name="T8" fmla="*/ 0 w 200"/>
                <a:gd name="T9" fmla="*/ 66 h 165"/>
                <a:gd name="T10" fmla="*/ 0 w 200"/>
                <a:gd name="T11" fmla="*/ 40 h 165"/>
                <a:gd name="T12" fmla="*/ 132 w 200"/>
                <a:gd name="T13" fmla="*/ 24 h 165"/>
                <a:gd name="T14" fmla="*/ 147 w 200"/>
                <a:gd name="T15" fmla="*/ 5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0" h="165">
                  <a:moveTo>
                    <a:pt x="147" y="57"/>
                  </a:moveTo>
                  <a:cubicBezTo>
                    <a:pt x="147" y="57"/>
                    <a:pt x="191" y="74"/>
                    <a:pt x="200" y="68"/>
                  </a:cubicBezTo>
                  <a:cubicBezTo>
                    <a:pt x="200" y="165"/>
                    <a:pt x="200" y="165"/>
                    <a:pt x="200" y="165"/>
                  </a:cubicBezTo>
                  <a:cubicBezTo>
                    <a:pt x="200" y="165"/>
                    <a:pt x="87" y="92"/>
                    <a:pt x="87" y="80"/>
                  </a:cubicBezTo>
                  <a:cubicBezTo>
                    <a:pt x="87" y="69"/>
                    <a:pt x="0" y="66"/>
                    <a:pt x="0" y="6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2" y="24"/>
                    <a:pt x="160" y="0"/>
                    <a:pt x="147" y="57"/>
                  </a:cubicBez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ExtraShape13">
              <a:extLst>
                <a:ext uri="{FF2B5EF4-FFF2-40B4-BE49-F238E27FC236}">
                  <a16:creationId xmlns:a16="http://schemas.microsoft.com/office/drawing/2014/main" id="{E7D19EC8-5E1A-40F2-80E8-1EC36E33A5BB}"/>
                </a:ext>
              </a:extLst>
            </p:cNvPr>
            <p:cNvSpPr/>
            <p:nvPr/>
          </p:nvSpPr>
          <p:spPr bwMode="auto">
            <a:xfrm flipH="1">
              <a:off x="3660111" y="2641562"/>
              <a:ext cx="56182" cy="220851"/>
            </a:xfrm>
            <a:custGeom>
              <a:avLst/>
              <a:gdLst>
                <a:gd name="T0" fmla="*/ 16 w 16"/>
                <a:gd name="T1" fmla="*/ 0 h 63"/>
                <a:gd name="T2" fmla="*/ 10 w 16"/>
                <a:gd name="T3" fmla="*/ 52 h 63"/>
                <a:gd name="T4" fmla="*/ 0 w 16"/>
                <a:gd name="T5" fmla="*/ 24 h 63"/>
                <a:gd name="T6" fmla="*/ 16 w 16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63">
                  <a:moveTo>
                    <a:pt x="16" y="0"/>
                  </a:moveTo>
                  <a:cubicBezTo>
                    <a:pt x="16" y="0"/>
                    <a:pt x="16" y="40"/>
                    <a:pt x="10" y="52"/>
                  </a:cubicBezTo>
                  <a:cubicBezTo>
                    <a:pt x="4" y="63"/>
                    <a:pt x="0" y="24"/>
                    <a:pt x="0" y="24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033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ExtraShape14">
              <a:extLst>
                <a:ext uri="{FF2B5EF4-FFF2-40B4-BE49-F238E27FC236}">
                  <a16:creationId xmlns:a16="http://schemas.microsoft.com/office/drawing/2014/main" id="{8A77B69F-8A27-4692-8316-BFC9A66411F1}"/>
                </a:ext>
              </a:extLst>
            </p:cNvPr>
            <p:cNvSpPr/>
            <p:nvPr/>
          </p:nvSpPr>
          <p:spPr bwMode="auto">
            <a:xfrm flipH="1">
              <a:off x="3689171" y="1740727"/>
              <a:ext cx="246036" cy="406830"/>
            </a:xfrm>
            <a:custGeom>
              <a:avLst/>
              <a:gdLst>
                <a:gd name="T0" fmla="*/ 70 w 70"/>
                <a:gd name="T1" fmla="*/ 0 h 116"/>
                <a:gd name="T2" fmla="*/ 69 w 70"/>
                <a:gd name="T3" fmla="*/ 21 h 116"/>
                <a:gd name="T4" fmla="*/ 67 w 70"/>
                <a:gd name="T5" fmla="*/ 53 h 116"/>
                <a:gd name="T6" fmla="*/ 47 w 70"/>
                <a:gd name="T7" fmla="*/ 97 h 116"/>
                <a:gd name="T8" fmla="*/ 22 w 70"/>
                <a:gd name="T9" fmla="*/ 114 h 116"/>
                <a:gd name="T10" fmla="*/ 5 w 70"/>
                <a:gd name="T11" fmla="*/ 106 h 116"/>
                <a:gd name="T12" fmla="*/ 5 w 70"/>
                <a:gd name="T13" fmla="*/ 98 h 116"/>
                <a:gd name="T14" fmla="*/ 10 w 70"/>
                <a:gd name="T15" fmla="*/ 75 h 116"/>
                <a:gd name="T16" fmla="*/ 10 w 70"/>
                <a:gd name="T17" fmla="*/ 66 h 116"/>
                <a:gd name="T18" fmla="*/ 8 w 70"/>
                <a:gd name="T19" fmla="*/ 50 h 116"/>
                <a:gd name="T20" fmla="*/ 69 w 70"/>
                <a:gd name="T21" fmla="*/ 1 h 116"/>
                <a:gd name="T22" fmla="*/ 70 w 70"/>
                <a:gd name="T2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16">
                  <a:moveTo>
                    <a:pt x="70" y="0"/>
                  </a:moveTo>
                  <a:cubicBezTo>
                    <a:pt x="70" y="0"/>
                    <a:pt x="70" y="9"/>
                    <a:pt x="69" y="21"/>
                  </a:cubicBezTo>
                  <a:cubicBezTo>
                    <a:pt x="68" y="31"/>
                    <a:pt x="68" y="43"/>
                    <a:pt x="67" y="53"/>
                  </a:cubicBezTo>
                  <a:cubicBezTo>
                    <a:pt x="66" y="70"/>
                    <a:pt x="59" y="85"/>
                    <a:pt x="47" y="97"/>
                  </a:cubicBezTo>
                  <a:cubicBezTo>
                    <a:pt x="40" y="104"/>
                    <a:pt x="31" y="110"/>
                    <a:pt x="22" y="114"/>
                  </a:cubicBezTo>
                  <a:cubicBezTo>
                    <a:pt x="15" y="116"/>
                    <a:pt x="8" y="113"/>
                    <a:pt x="5" y="106"/>
                  </a:cubicBezTo>
                  <a:cubicBezTo>
                    <a:pt x="5" y="103"/>
                    <a:pt x="4" y="101"/>
                    <a:pt x="5" y="98"/>
                  </a:cubicBezTo>
                  <a:cubicBezTo>
                    <a:pt x="8" y="91"/>
                    <a:pt x="9" y="83"/>
                    <a:pt x="10" y="75"/>
                  </a:cubicBezTo>
                  <a:cubicBezTo>
                    <a:pt x="10" y="72"/>
                    <a:pt x="10" y="69"/>
                    <a:pt x="10" y="66"/>
                  </a:cubicBezTo>
                  <a:cubicBezTo>
                    <a:pt x="10" y="61"/>
                    <a:pt x="9" y="55"/>
                    <a:pt x="8" y="50"/>
                  </a:cubicBezTo>
                  <a:cubicBezTo>
                    <a:pt x="0" y="31"/>
                    <a:pt x="62" y="4"/>
                    <a:pt x="69" y="1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ExtraShape15">
              <a:extLst>
                <a:ext uri="{FF2B5EF4-FFF2-40B4-BE49-F238E27FC236}">
                  <a16:creationId xmlns:a16="http://schemas.microsoft.com/office/drawing/2014/main" id="{02571BE4-6D24-4566-90BF-D8809AD156B9}"/>
                </a:ext>
              </a:extLst>
            </p:cNvPr>
            <p:cNvSpPr/>
            <p:nvPr/>
          </p:nvSpPr>
          <p:spPr bwMode="auto">
            <a:xfrm flipH="1">
              <a:off x="3693045" y="1744602"/>
              <a:ext cx="242161" cy="259595"/>
            </a:xfrm>
            <a:custGeom>
              <a:avLst/>
              <a:gdLst>
                <a:gd name="T0" fmla="*/ 69 w 69"/>
                <a:gd name="T1" fmla="*/ 0 h 74"/>
                <a:gd name="T2" fmla="*/ 52 w 69"/>
                <a:gd name="T3" fmla="*/ 44 h 74"/>
                <a:gd name="T4" fmla="*/ 10 w 69"/>
                <a:gd name="T5" fmla="*/ 74 h 74"/>
                <a:gd name="T6" fmla="*/ 10 w 69"/>
                <a:gd name="T7" fmla="*/ 65 h 74"/>
                <a:gd name="T8" fmla="*/ 8 w 69"/>
                <a:gd name="T9" fmla="*/ 49 h 74"/>
                <a:gd name="T10" fmla="*/ 69 w 69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4">
                  <a:moveTo>
                    <a:pt x="69" y="0"/>
                  </a:moveTo>
                  <a:cubicBezTo>
                    <a:pt x="66" y="9"/>
                    <a:pt x="65" y="26"/>
                    <a:pt x="52" y="44"/>
                  </a:cubicBezTo>
                  <a:cubicBezTo>
                    <a:pt x="46" y="52"/>
                    <a:pt x="29" y="70"/>
                    <a:pt x="10" y="74"/>
                  </a:cubicBezTo>
                  <a:cubicBezTo>
                    <a:pt x="10" y="71"/>
                    <a:pt x="10" y="68"/>
                    <a:pt x="10" y="65"/>
                  </a:cubicBezTo>
                  <a:cubicBezTo>
                    <a:pt x="10" y="60"/>
                    <a:pt x="9" y="54"/>
                    <a:pt x="8" y="49"/>
                  </a:cubicBezTo>
                  <a:cubicBezTo>
                    <a:pt x="0" y="30"/>
                    <a:pt x="62" y="3"/>
                    <a:pt x="69" y="0"/>
                  </a:cubicBezTo>
                  <a:close/>
                </a:path>
              </a:pathLst>
            </a:custGeom>
            <a:solidFill>
              <a:srgbClr val="FFC8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ExtraShape16">
              <a:extLst>
                <a:ext uri="{FF2B5EF4-FFF2-40B4-BE49-F238E27FC236}">
                  <a16:creationId xmlns:a16="http://schemas.microsoft.com/office/drawing/2014/main" id="{74AB5BA3-54E4-4619-8E9D-CD1500FACA49}"/>
                </a:ext>
              </a:extLst>
            </p:cNvPr>
            <p:cNvSpPr/>
            <p:nvPr/>
          </p:nvSpPr>
          <p:spPr bwMode="auto">
            <a:xfrm flipH="1">
              <a:off x="3601991" y="1318399"/>
              <a:ext cx="528879" cy="674174"/>
            </a:xfrm>
            <a:custGeom>
              <a:avLst/>
              <a:gdLst>
                <a:gd name="T0" fmla="*/ 65 w 151"/>
                <a:gd name="T1" fmla="*/ 1 h 192"/>
                <a:gd name="T2" fmla="*/ 1 w 151"/>
                <a:gd name="T3" fmla="*/ 71 h 192"/>
                <a:gd name="T4" fmla="*/ 1 w 151"/>
                <a:gd name="T5" fmla="*/ 71 h 192"/>
                <a:gd name="T6" fmla="*/ 2 w 151"/>
                <a:gd name="T7" fmla="*/ 76 h 192"/>
                <a:gd name="T8" fmla="*/ 23 w 151"/>
                <a:gd name="T9" fmla="*/ 155 h 192"/>
                <a:gd name="T10" fmla="*/ 109 w 151"/>
                <a:gd name="T11" fmla="*/ 146 h 192"/>
                <a:gd name="T12" fmla="*/ 137 w 151"/>
                <a:gd name="T13" fmla="*/ 42 h 192"/>
                <a:gd name="T14" fmla="*/ 65 w 151"/>
                <a:gd name="T15" fmla="*/ 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192">
                  <a:moveTo>
                    <a:pt x="65" y="1"/>
                  </a:moveTo>
                  <a:cubicBezTo>
                    <a:pt x="28" y="3"/>
                    <a:pt x="0" y="34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3"/>
                    <a:pt x="2" y="75"/>
                    <a:pt x="2" y="76"/>
                  </a:cubicBezTo>
                  <a:cubicBezTo>
                    <a:pt x="4" y="104"/>
                    <a:pt x="11" y="130"/>
                    <a:pt x="23" y="155"/>
                  </a:cubicBezTo>
                  <a:cubicBezTo>
                    <a:pt x="45" y="192"/>
                    <a:pt x="100" y="161"/>
                    <a:pt x="109" y="146"/>
                  </a:cubicBezTo>
                  <a:cubicBezTo>
                    <a:pt x="117" y="131"/>
                    <a:pt x="151" y="61"/>
                    <a:pt x="137" y="42"/>
                  </a:cubicBezTo>
                  <a:cubicBezTo>
                    <a:pt x="128" y="29"/>
                    <a:pt x="101" y="0"/>
                    <a:pt x="65" y="1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" name="ExtraShape17">
              <a:extLst>
                <a:ext uri="{FF2B5EF4-FFF2-40B4-BE49-F238E27FC236}">
                  <a16:creationId xmlns:a16="http://schemas.microsoft.com/office/drawing/2014/main" id="{EA693227-630C-4BCE-ACE3-B9FF66882FF3}"/>
                </a:ext>
              </a:extLst>
            </p:cNvPr>
            <p:cNvSpPr/>
            <p:nvPr/>
          </p:nvSpPr>
          <p:spPr bwMode="auto">
            <a:xfrm flipH="1">
              <a:off x="3551623" y="1080112"/>
              <a:ext cx="695485" cy="699360"/>
            </a:xfrm>
            <a:custGeom>
              <a:avLst/>
              <a:gdLst>
                <a:gd name="T0" fmla="*/ 40 w 198"/>
                <a:gd name="T1" fmla="*/ 43 h 199"/>
                <a:gd name="T2" fmla="*/ 51 w 198"/>
                <a:gd name="T3" fmla="*/ 49 h 199"/>
                <a:gd name="T4" fmla="*/ 16 w 198"/>
                <a:gd name="T5" fmla="*/ 65 h 199"/>
                <a:gd name="T6" fmla="*/ 0 w 198"/>
                <a:gd name="T7" fmla="*/ 104 h 199"/>
                <a:gd name="T8" fmla="*/ 19 w 198"/>
                <a:gd name="T9" fmla="*/ 95 h 199"/>
                <a:gd name="T10" fmla="*/ 54 w 198"/>
                <a:gd name="T11" fmla="*/ 121 h 199"/>
                <a:gd name="T12" fmla="*/ 129 w 198"/>
                <a:gd name="T13" fmla="*/ 124 h 199"/>
                <a:gd name="T14" fmla="*/ 117 w 198"/>
                <a:gd name="T15" fmla="*/ 107 h 199"/>
                <a:gd name="T16" fmla="*/ 143 w 198"/>
                <a:gd name="T17" fmla="*/ 124 h 199"/>
                <a:gd name="T18" fmla="*/ 151 w 198"/>
                <a:gd name="T19" fmla="*/ 165 h 199"/>
                <a:gd name="T20" fmla="*/ 164 w 198"/>
                <a:gd name="T21" fmla="*/ 147 h 199"/>
                <a:gd name="T22" fmla="*/ 155 w 198"/>
                <a:gd name="T23" fmla="*/ 178 h 199"/>
                <a:gd name="T24" fmla="*/ 151 w 198"/>
                <a:gd name="T25" fmla="*/ 198 h 199"/>
                <a:gd name="T26" fmla="*/ 174 w 198"/>
                <a:gd name="T27" fmla="*/ 173 h 199"/>
                <a:gd name="T28" fmla="*/ 184 w 198"/>
                <a:gd name="T29" fmla="*/ 87 h 199"/>
                <a:gd name="T30" fmla="*/ 193 w 198"/>
                <a:gd name="T31" fmla="*/ 86 h 199"/>
                <a:gd name="T32" fmla="*/ 175 w 198"/>
                <a:gd name="T33" fmla="*/ 79 h 199"/>
                <a:gd name="T34" fmla="*/ 40 w 198"/>
                <a:gd name="T35" fmla="*/ 4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199">
                  <a:moveTo>
                    <a:pt x="40" y="43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37" y="49"/>
                    <a:pt x="24" y="55"/>
                    <a:pt x="16" y="65"/>
                  </a:cubicBezTo>
                  <a:cubicBezTo>
                    <a:pt x="6" y="76"/>
                    <a:pt x="0" y="90"/>
                    <a:pt x="0" y="104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7" y="119"/>
                    <a:pt x="54" y="121"/>
                  </a:cubicBezTo>
                  <a:cubicBezTo>
                    <a:pt x="90" y="123"/>
                    <a:pt x="129" y="124"/>
                    <a:pt x="129" y="124"/>
                  </a:cubicBezTo>
                  <a:cubicBezTo>
                    <a:pt x="117" y="107"/>
                    <a:pt x="117" y="107"/>
                    <a:pt x="117" y="107"/>
                  </a:cubicBezTo>
                  <a:cubicBezTo>
                    <a:pt x="117" y="107"/>
                    <a:pt x="140" y="116"/>
                    <a:pt x="143" y="124"/>
                  </a:cubicBezTo>
                  <a:cubicBezTo>
                    <a:pt x="147" y="138"/>
                    <a:pt x="150" y="151"/>
                    <a:pt x="151" y="165"/>
                  </a:cubicBezTo>
                  <a:cubicBezTo>
                    <a:pt x="151" y="165"/>
                    <a:pt x="160" y="142"/>
                    <a:pt x="164" y="147"/>
                  </a:cubicBezTo>
                  <a:cubicBezTo>
                    <a:pt x="167" y="152"/>
                    <a:pt x="160" y="173"/>
                    <a:pt x="155" y="178"/>
                  </a:cubicBezTo>
                  <a:cubicBezTo>
                    <a:pt x="150" y="183"/>
                    <a:pt x="151" y="197"/>
                    <a:pt x="151" y="198"/>
                  </a:cubicBezTo>
                  <a:cubicBezTo>
                    <a:pt x="150" y="199"/>
                    <a:pt x="173" y="180"/>
                    <a:pt x="174" y="173"/>
                  </a:cubicBezTo>
                  <a:cubicBezTo>
                    <a:pt x="176" y="167"/>
                    <a:pt x="198" y="100"/>
                    <a:pt x="184" y="87"/>
                  </a:cubicBezTo>
                  <a:cubicBezTo>
                    <a:pt x="193" y="86"/>
                    <a:pt x="193" y="86"/>
                    <a:pt x="193" y="86"/>
                  </a:cubicBezTo>
                  <a:cubicBezTo>
                    <a:pt x="187" y="82"/>
                    <a:pt x="181" y="80"/>
                    <a:pt x="175" y="79"/>
                  </a:cubicBezTo>
                  <a:cubicBezTo>
                    <a:pt x="175" y="79"/>
                    <a:pt x="115" y="0"/>
                    <a:pt x="40" y="43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" name="ExtraShape18">
              <a:extLst>
                <a:ext uri="{FF2B5EF4-FFF2-40B4-BE49-F238E27FC236}">
                  <a16:creationId xmlns:a16="http://schemas.microsoft.com/office/drawing/2014/main" id="{BA8F4852-725C-4439-8E4B-28F32376702C}"/>
                </a:ext>
              </a:extLst>
            </p:cNvPr>
            <p:cNvSpPr/>
            <p:nvPr/>
          </p:nvSpPr>
          <p:spPr bwMode="auto">
            <a:xfrm flipH="1">
              <a:off x="4113435" y="2081688"/>
              <a:ext cx="408767" cy="784600"/>
            </a:xfrm>
            <a:custGeom>
              <a:avLst/>
              <a:gdLst>
                <a:gd name="T0" fmla="*/ 116 w 116"/>
                <a:gd name="T1" fmla="*/ 0 h 224"/>
                <a:gd name="T2" fmla="*/ 84 w 116"/>
                <a:gd name="T3" fmla="*/ 68 h 224"/>
                <a:gd name="T4" fmla="*/ 65 w 116"/>
                <a:gd name="T5" fmla="*/ 174 h 224"/>
                <a:gd name="T6" fmla="*/ 0 w 116"/>
                <a:gd name="T7" fmla="*/ 177 h 224"/>
                <a:gd name="T8" fmla="*/ 32 w 116"/>
                <a:gd name="T9" fmla="*/ 201 h 224"/>
                <a:gd name="T10" fmla="*/ 72 w 116"/>
                <a:gd name="T11" fmla="*/ 219 h 224"/>
                <a:gd name="T12" fmla="*/ 93 w 116"/>
                <a:gd name="T13" fmla="*/ 224 h 224"/>
                <a:gd name="T14" fmla="*/ 116 w 116"/>
                <a:gd name="T1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224">
                  <a:moveTo>
                    <a:pt x="116" y="0"/>
                  </a:moveTo>
                  <a:cubicBezTo>
                    <a:pt x="116" y="0"/>
                    <a:pt x="88" y="12"/>
                    <a:pt x="84" y="68"/>
                  </a:cubicBezTo>
                  <a:cubicBezTo>
                    <a:pt x="81" y="104"/>
                    <a:pt x="75" y="139"/>
                    <a:pt x="65" y="174"/>
                  </a:cubicBezTo>
                  <a:cubicBezTo>
                    <a:pt x="43" y="176"/>
                    <a:pt x="22" y="177"/>
                    <a:pt x="0" y="177"/>
                  </a:cubicBezTo>
                  <a:cubicBezTo>
                    <a:pt x="32" y="201"/>
                    <a:pt x="32" y="201"/>
                    <a:pt x="32" y="201"/>
                  </a:cubicBezTo>
                  <a:cubicBezTo>
                    <a:pt x="43" y="210"/>
                    <a:pt x="57" y="216"/>
                    <a:pt x="72" y="219"/>
                  </a:cubicBezTo>
                  <a:cubicBezTo>
                    <a:pt x="93" y="224"/>
                    <a:pt x="93" y="224"/>
                    <a:pt x="93" y="224"/>
                  </a:cubicBezTo>
                  <a:lnTo>
                    <a:pt x="116" y="0"/>
                  </a:lnTo>
                  <a:close/>
                </a:path>
              </a:pathLst>
            </a:custGeom>
            <a:solidFill>
              <a:srgbClr val="5478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" name="ExtraShape19">
              <a:extLst>
                <a:ext uri="{FF2B5EF4-FFF2-40B4-BE49-F238E27FC236}">
                  <a16:creationId xmlns:a16="http://schemas.microsoft.com/office/drawing/2014/main" id="{A0465154-2519-4681-8618-782594968940}"/>
                </a:ext>
              </a:extLst>
            </p:cNvPr>
            <p:cNvSpPr/>
            <p:nvPr/>
          </p:nvSpPr>
          <p:spPr bwMode="auto">
            <a:xfrm flipH="1">
              <a:off x="3745351" y="2203735"/>
              <a:ext cx="993827" cy="588934"/>
            </a:xfrm>
            <a:custGeom>
              <a:avLst/>
              <a:gdLst>
                <a:gd name="T0" fmla="*/ 283 w 283"/>
                <a:gd name="T1" fmla="*/ 156 h 168"/>
                <a:gd name="T2" fmla="*/ 283 w 283"/>
                <a:gd name="T3" fmla="*/ 157 h 168"/>
                <a:gd name="T4" fmla="*/ 271 w 283"/>
                <a:gd name="T5" fmla="*/ 167 h 168"/>
                <a:gd name="T6" fmla="*/ 59 w 283"/>
                <a:gd name="T7" fmla="*/ 155 h 168"/>
                <a:gd name="T8" fmla="*/ 54 w 283"/>
                <a:gd name="T9" fmla="*/ 154 h 168"/>
                <a:gd name="T10" fmla="*/ 48 w 283"/>
                <a:gd name="T11" fmla="*/ 148 h 168"/>
                <a:gd name="T12" fmla="*/ 2 w 283"/>
                <a:gd name="T13" fmla="*/ 16 h 168"/>
                <a:gd name="T14" fmla="*/ 3 w 283"/>
                <a:gd name="T15" fmla="*/ 5 h 168"/>
                <a:gd name="T16" fmla="*/ 13 w 283"/>
                <a:gd name="T17" fmla="*/ 0 h 168"/>
                <a:gd name="T18" fmla="*/ 160 w 283"/>
                <a:gd name="T19" fmla="*/ 3 h 168"/>
                <a:gd name="T20" fmla="*/ 171 w 283"/>
                <a:gd name="T21" fmla="*/ 11 h 168"/>
                <a:gd name="T22" fmla="*/ 203 w 283"/>
                <a:gd name="T23" fmla="*/ 127 h 168"/>
                <a:gd name="T24" fmla="*/ 213 w 283"/>
                <a:gd name="T25" fmla="*/ 135 h 168"/>
                <a:gd name="T26" fmla="*/ 273 w 283"/>
                <a:gd name="T27" fmla="*/ 144 h 168"/>
                <a:gd name="T28" fmla="*/ 283 w 283"/>
                <a:gd name="T2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3" h="168">
                  <a:moveTo>
                    <a:pt x="283" y="156"/>
                  </a:moveTo>
                  <a:cubicBezTo>
                    <a:pt x="283" y="156"/>
                    <a:pt x="283" y="157"/>
                    <a:pt x="283" y="157"/>
                  </a:cubicBezTo>
                  <a:cubicBezTo>
                    <a:pt x="282" y="163"/>
                    <a:pt x="277" y="168"/>
                    <a:pt x="271" y="167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55"/>
                    <a:pt x="56" y="155"/>
                    <a:pt x="54" y="154"/>
                  </a:cubicBezTo>
                  <a:cubicBezTo>
                    <a:pt x="51" y="153"/>
                    <a:pt x="49" y="151"/>
                    <a:pt x="48" y="14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5" y="2"/>
                    <a:pt x="9" y="0"/>
                    <a:pt x="13" y="0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5" y="3"/>
                    <a:pt x="170" y="6"/>
                    <a:pt x="171" y="11"/>
                  </a:cubicBezTo>
                  <a:cubicBezTo>
                    <a:pt x="203" y="127"/>
                    <a:pt x="203" y="127"/>
                    <a:pt x="203" y="127"/>
                  </a:cubicBezTo>
                  <a:cubicBezTo>
                    <a:pt x="204" y="132"/>
                    <a:pt x="208" y="135"/>
                    <a:pt x="213" y="135"/>
                  </a:cubicBezTo>
                  <a:cubicBezTo>
                    <a:pt x="273" y="144"/>
                    <a:pt x="273" y="144"/>
                    <a:pt x="273" y="144"/>
                  </a:cubicBezTo>
                  <a:cubicBezTo>
                    <a:pt x="279" y="145"/>
                    <a:pt x="283" y="150"/>
                    <a:pt x="283" y="156"/>
                  </a:cubicBezTo>
                  <a:close/>
                </a:path>
              </a:pathLst>
            </a:custGeom>
            <a:gradFill>
              <a:gsLst>
                <a:gs pos="0">
                  <a:srgbClr val="476484"/>
                </a:gs>
                <a:gs pos="100000">
                  <a:srgbClr val="7694B6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" name="ExtraShape20">
              <a:extLst>
                <a:ext uri="{FF2B5EF4-FFF2-40B4-BE49-F238E27FC236}">
                  <a16:creationId xmlns:a16="http://schemas.microsoft.com/office/drawing/2014/main" id="{66D64FCF-F60F-451B-8234-777645AB0D47}"/>
                </a:ext>
              </a:extLst>
            </p:cNvPr>
            <p:cNvSpPr/>
            <p:nvPr/>
          </p:nvSpPr>
          <p:spPr bwMode="auto">
            <a:xfrm flipH="1">
              <a:off x="3654299" y="2589255"/>
              <a:ext cx="346775" cy="141422"/>
            </a:xfrm>
            <a:custGeom>
              <a:avLst/>
              <a:gdLst>
                <a:gd name="T0" fmla="*/ 96 w 99"/>
                <a:gd name="T1" fmla="*/ 39 h 40"/>
                <a:gd name="T2" fmla="*/ 85 w 99"/>
                <a:gd name="T3" fmla="*/ 39 h 40"/>
                <a:gd name="T4" fmla="*/ 75 w 99"/>
                <a:gd name="T5" fmla="*/ 36 h 40"/>
                <a:gd name="T6" fmla="*/ 45 w 99"/>
                <a:gd name="T7" fmla="*/ 24 h 40"/>
                <a:gd name="T8" fmla="*/ 13 w 99"/>
                <a:gd name="T9" fmla="*/ 26 h 40"/>
                <a:gd name="T10" fmla="*/ 4 w 99"/>
                <a:gd name="T11" fmla="*/ 24 h 40"/>
                <a:gd name="T12" fmla="*/ 0 w 99"/>
                <a:gd name="T13" fmla="*/ 19 h 40"/>
                <a:gd name="T14" fmla="*/ 42 w 99"/>
                <a:gd name="T15" fmla="*/ 0 h 40"/>
                <a:gd name="T16" fmla="*/ 84 w 99"/>
                <a:gd name="T17" fmla="*/ 8 h 40"/>
                <a:gd name="T18" fmla="*/ 93 w 99"/>
                <a:gd name="T19" fmla="*/ 14 h 40"/>
                <a:gd name="T20" fmla="*/ 94 w 99"/>
                <a:gd name="T21" fmla="*/ 14 h 40"/>
                <a:gd name="T22" fmla="*/ 99 w 99"/>
                <a:gd name="T23" fmla="*/ 17 h 40"/>
                <a:gd name="T24" fmla="*/ 96 w 99"/>
                <a:gd name="T25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40">
                  <a:moveTo>
                    <a:pt x="96" y="39"/>
                  </a:moveTo>
                  <a:cubicBezTo>
                    <a:pt x="93" y="40"/>
                    <a:pt x="89" y="40"/>
                    <a:pt x="85" y="39"/>
                  </a:cubicBezTo>
                  <a:cubicBezTo>
                    <a:pt x="82" y="39"/>
                    <a:pt x="79" y="37"/>
                    <a:pt x="75" y="36"/>
                  </a:cubicBezTo>
                  <a:cubicBezTo>
                    <a:pt x="70" y="33"/>
                    <a:pt x="57" y="21"/>
                    <a:pt x="45" y="24"/>
                  </a:cubicBezTo>
                  <a:cubicBezTo>
                    <a:pt x="35" y="27"/>
                    <a:pt x="24" y="27"/>
                    <a:pt x="13" y="26"/>
                  </a:cubicBezTo>
                  <a:cubicBezTo>
                    <a:pt x="9" y="25"/>
                    <a:pt x="9" y="24"/>
                    <a:pt x="4" y="24"/>
                  </a:cubicBezTo>
                  <a:cubicBezTo>
                    <a:pt x="0" y="25"/>
                    <a:pt x="0" y="19"/>
                    <a:pt x="0" y="19"/>
                  </a:cubicBezTo>
                  <a:cubicBezTo>
                    <a:pt x="13" y="11"/>
                    <a:pt x="27" y="4"/>
                    <a:pt x="42" y="0"/>
                  </a:cubicBezTo>
                  <a:cubicBezTo>
                    <a:pt x="56" y="0"/>
                    <a:pt x="70" y="3"/>
                    <a:pt x="84" y="8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9" y="17"/>
                    <a:pt x="99" y="37"/>
                    <a:pt x="96" y="39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" name="ExtraShape21">
              <a:extLst>
                <a:ext uri="{FF2B5EF4-FFF2-40B4-BE49-F238E27FC236}">
                  <a16:creationId xmlns:a16="http://schemas.microsoft.com/office/drawing/2014/main" id="{39001E85-4569-45F4-AFCD-435D959209F3}"/>
                </a:ext>
              </a:extLst>
            </p:cNvPr>
            <p:cNvSpPr/>
            <p:nvPr/>
          </p:nvSpPr>
          <p:spPr bwMode="auto">
            <a:xfrm flipH="1">
              <a:off x="3815095" y="2550510"/>
              <a:ext cx="81366" cy="42621"/>
            </a:xfrm>
            <a:custGeom>
              <a:avLst/>
              <a:gdLst>
                <a:gd name="T0" fmla="*/ 23 w 23"/>
                <a:gd name="T1" fmla="*/ 11 h 12"/>
                <a:gd name="T2" fmla="*/ 3 w 23"/>
                <a:gd name="T3" fmla="*/ 0 h 12"/>
                <a:gd name="T4" fmla="*/ 2 w 23"/>
                <a:gd name="T5" fmla="*/ 8 h 12"/>
                <a:gd name="T6" fmla="*/ 6 w 23"/>
                <a:gd name="T7" fmla="*/ 12 h 12"/>
                <a:gd name="T8" fmla="*/ 23 w 23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23" y="1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6"/>
                    <a:pt x="2" y="8"/>
                  </a:cubicBezTo>
                  <a:cubicBezTo>
                    <a:pt x="3" y="10"/>
                    <a:pt x="4" y="11"/>
                    <a:pt x="6" y="12"/>
                  </a:cubicBezTo>
                  <a:cubicBezTo>
                    <a:pt x="11" y="11"/>
                    <a:pt x="17" y="10"/>
                    <a:pt x="23" y="11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" name="ExtraShape22">
              <a:extLst>
                <a:ext uri="{FF2B5EF4-FFF2-40B4-BE49-F238E27FC236}">
                  <a16:creationId xmlns:a16="http://schemas.microsoft.com/office/drawing/2014/main" id="{D55A7361-65A9-4EB1-A4FA-F119983CD127}"/>
                </a:ext>
              </a:extLst>
            </p:cNvPr>
            <p:cNvSpPr/>
            <p:nvPr/>
          </p:nvSpPr>
          <p:spPr bwMode="auto">
            <a:xfrm flipH="1">
              <a:off x="3983638" y="2761672"/>
              <a:ext cx="358397" cy="91052"/>
            </a:xfrm>
            <a:custGeom>
              <a:avLst/>
              <a:gdLst>
                <a:gd name="T0" fmla="*/ 0 w 102"/>
                <a:gd name="T1" fmla="*/ 0 h 26"/>
                <a:gd name="T2" fmla="*/ 30 w 102"/>
                <a:gd name="T3" fmla="*/ 20 h 26"/>
                <a:gd name="T4" fmla="*/ 89 w 102"/>
                <a:gd name="T5" fmla="*/ 12 h 26"/>
                <a:gd name="T6" fmla="*/ 99 w 102"/>
                <a:gd name="T7" fmla="*/ 6 h 26"/>
                <a:gd name="T8" fmla="*/ 36 w 102"/>
                <a:gd name="T9" fmla="*/ 2 h 26"/>
                <a:gd name="T10" fmla="*/ 0 w 102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26">
                  <a:moveTo>
                    <a:pt x="0" y="0"/>
                  </a:moveTo>
                  <a:cubicBezTo>
                    <a:pt x="8" y="9"/>
                    <a:pt x="18" y="16"/>
                    <a:pt x="30" y="20"/>
                  </a:cubicBezTo>
                  <a:cubicBezTo>
                    <a:pt x="51" y="26"/>
                    <a:pt x="89" y="12"/>
                    <a:pt x="89" y="12"/>
                  </a:cubicBezTo>
                  <a:cubicBezTo>
                    <a:pt x="89" y="12"/>
                    <a:pt x="102" y="7"/>
                    <a:pt x="99" y="6"/>
                  </a:cubicBezTo>
                  <a:cubicBezTo>
                    <a:pt x="97" y="4"/>
                    <a:pt x="36" y="2"/>
                    <a:pt x="3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" name="ExtraShape23">
              <a:extLst>
                <a:ext uri="{FF2B5EF4-FFF2-40B4-BE49-F238E27FC236}">
                  <a16:creationId xmlns:a16="http://schemas.microsoft.com/office/drawing/2014/main" id="{B276BE39-5BB5-4675-9220-146E149EC2FF}"/>
                </a:ext>
              </a:extLst>
            </p:cNvPr>
            <p:cNvSpPr/>
            <p:nvPr/>
          </p:nvSpPr>
          <p:spPr bwMode="auto">
            <a:xfrm flipH="1">
              <a:off x="3923583" y="4824878"/>
              <a:ext cx="263470" cy="154982"/>
            </a:xfrm>
            <a:custGeom>
              <a:avLst/>
              <a:gdLst>
                <a:gd name="T0" fmla="*/ 0 w 75"/>
                <a:gd name="T1" fmla="*/ 19 h 44"/>
                <a:gd name="T2" fmla="*/ 15 w 75"/>
                <a:gd name="T3" fmla="*/ 38 h 44"/>
                <a:gd name="T4" fmla="*/ 16 w 75"/>
                <a:gd name="T5" fmla="*/ 44 h 44"/>
                <a:gd name="T6" fmla="*/ 75 w 75"/>
                <a:gd name="T7" fmla="*/ 21 h 44"/>
                <a:gd name="T8" fmla="*/ 73 w 75"/>
                <a:gd name="T9" fmla="*/ 3 h 44"/>
                <a:gd name="T10" fmla="*/ 48 w 75"/>
                <a:gd name="T11" fmla="*/ 12 h 44"/>
                <a:gd name="T12" fmla="*/ 38 w 75"/>
                <a:gd name="T13" fmla="*/ 0 h 44"/>
                <a:gd name="T14" fmla="*/ 0 w 75"/>
                <a:gd name="T15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44">
                  <a:moveTo>
                    <a:pt x="0" y="19"/>
                  </a:moveTo>
                  <a:cubicBezTo>
                    <a:pt x="0" y="19"/>
                    <a:pt x="14" y="26"/>
                    <a:pt x="15" y="38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69" y="33"/>
                    <a:pt x="75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66" y="10"/>
                    <a:pt x="57" y="13"/>
                    <a:pt x="48" y="12"/>
                  </a:cubicBezTo>
                  <a:cubicBezTo>
                    <a:pt x="36" y="8"/>
                    <a:pt x="38" y="0"/>
                    <a:pt x="3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686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" name="ExtraShape24">
              <a:extLst>
                <a:ext uri="{FF2B5EF4-FFF2-40B4-BE49-F238E27FC236}">
                  <a16:creationId xmlns:a16="http://schemas.microsoft.com/office/drawing/2014/main" id="{CDBA759F-CC1E-4D4A-9CF7-333E44ECE73B}"/>
                </a:ext>
              </a:extLst>
            </p:cNvPr>
            <p:cNvSpPr/>
            <p:nvPr/>
          </p:nvSpPr>
          <p:spPr bwMode="auto">
            <a:xfrm flipH="1">
              <a:off x="3559372" y="4832627"/>
              <a:ext cx="249911" cy="191791"/>
            </a:xfrm>
            <a:custGeom>
              <a:avLst/>
              <a:gdLst>
                <a:gd name="T0" fmla="*/ 4 w 71"/>
                <a:gd name="T1" fmla="*/ 33 h 55"/>
                <a:gd name="T2" fmla="*/ 0 w 71"/>
                <a:gd name="T3" fmla="*/ 31 h 55"/>
                <a:gd name="T4" fmla="*/ 34 w 71"/>
                <a:gd name="T5" fmla="*/ 0 h 55"/>
                <a:gd name="T6" fmla="*/ 68 w 71"/>
                <a:gd name="T7" fmla="*/ 3 h 55"/>
                <a:gd name="T8" fmla="*/ 71 w 71"/>
                <a:gd name="T9" fmla="*/ 21 h 55"/>
                <a:gd name="T10" fmla="*/ 16 w 71"/>
                <a:gd name="T11" fmla="*/ 55 h 55"/>
                <a:gd name="T12" fmla="*/ 4 w 71"/>
                <a:gd name="T1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55">
                  <a:moveTo>
                    <a:pt x="4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42" y="18"/>
                    <a:pt x="68" y="3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56" y="37"/>
                    <a:pt x="37" y="49"/>
                    <a:pt x="16" y="55"/>
                  </a:cubicBezTo>
                  <a:cubicBezTo>
                    <a:pt x="15" y="46"/>
                    <a:pt x="11" y="38"/>
                    <a:pt x="4" y="33"/>
                  </a:cubicBezTo>
                  <a:close/>
                </a:path>
              </a:pathLst>
            </a:custGeom>
            <a:solidFill>
              <a:srgbClr val="686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" name="ExtraShape25">
              <a:extLst>
                <a:ext uri="{FF2B5EF4-FFF2-40B4-BE49-F238E27FC236}">
                  <a16:creationId xmlns:a16="http://schemas.microsoft.com/office/drawing/2014/main" id="{67EC537F-9FC4-429A-91FF-AAAC881D3890}"/>
                </a:ext>
              </a:extLst>
            </p:cNvPr>
            <p:cNvSpPr/>
            <p:nvPr/>
          </p:nvSpPr>
          <p:spPr bwMode="auto">
            <a:xfrm flipH="1">
              <a:off x="3923583" y="4824878"/>
              <a:ext cx="263470" cy="154982"/>
            </a:xfrm>
            <a:custGeom>
              <a:avLst/>
              <a:gdLst>
                <a:gd name="T0" fmla="*/ 0 w 75"/>
                <a:gd name="T1" fmla="*/ 19 h 44"/>
                <a:gd name="T2" fmla="*/ 15 w 75"/>
                <a:gd name="T3" fmla="*/ 38 h 44"/>
                <a:gd name="T4" fmla="*/ 16 w 75"/>
                <a:gd name="T5" fmla="*/ 44 h 44"/>
                <a:gd name="T6" fmla="*/ 75 w 75"/>
                <a:gd name="T7" fmla="*/ 21 h 44"/>
                <a:gd name="T8" fmla="*/ 73 w 75"/>
                <a:gd name="T9" fmla="*/ 3 h 44"/>
                <a:gd name="T10" fmla="*/ 48 w 75"/>
                <a:gd name="T11" fmla="*/ 12 h 44"/>
                <a:gd name="T12" fmla="*/ 38 w 75"/>
                <a:gd name="T13" fmla="*/ 0 h 44"/>
                <a:gd name="T14" fmla="*/ 0 w 75"/>
                <a:gd name="T15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44">
                  <a:moveTo>
                    <a:pt x="0" y="19"/>
                  </a:moveTo>
                  <a:cubicBezTo>
                    <a:pt x="0" y="19"/>
                    <a:pt x="14" y="26"/>
                    <a:pt x="15" y="38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69" y="33"/>
                    <a:pt x="75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66" y="10"/>
                    <a:pt x="57" y="13"/>
                    <a:pt x="48" y="12"/>
                  </a:cubicBezTo>
                  <a:cubicBezTo>
                    <a:pt x="36" y="8"/>
                    <a:pt x="38" y="0"/>
                    <a:pt x="3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" name="ExtraShape26">
              <a:extLst>
                <a:ext uri="{FF2B5EF4-FFF2-40B4-BE49-F238E27FC236}">
                  <a16:creationId xmlns:a16="http://schemas.microsoft.com/office/drawing/2014/main" id="{DAC009B9-8E81-4E01-BBCC-B8A08FE7F883}"/>
                </a:ext>
              </a:extLst>
            </p:cNvPr>
            <p:cNvSpPr/>
            <p:nvPr/>
          </p:nvSpPr>
          <p:spPr bwMode="auto">
            <a:xfrm flipH="1">
              <a:off x="3559372" y="4832627"/>
              <a:ext cx="249911" cy="191791"/>
            </a:xfrm>
            <a:custGeom>
              <a:avLst/>
              <a:gdLst>
                <a:gd name="T0" fmla="*/ 4 w 71"/>
                <a:gd name="T1" fmla="*/ 33 h 55"/>
                <a:gd name="T2" fmla="*/ 0 w 71"/>
                <a:gd name="T3" fmla="*/ 31 h 55"/>
                <a:gd name="T4" fmla="*/ 34 w 71"/>
                <a:gd name="T5" fmla="*/ 0 h 55"/>
                <a:gd name="T6" fmla="*/ 68 w 71"/>
                <a:gd name="T7" fmla="*/ 3 h 55"/>
                <a:gd name="T8" fmla="*/ 71 w 71"/>
                <a:gd name="T9" fmla="*/ 21 h 55"/>
                <a:gd name="T10" fmla="*/ 16 w 71"/>
                <a:gd name="T11" fmla="*/ 55 h 55"/>
                <a:gd name="T12" fmla="*/ 4 w 71"/>
                <a:gd name="T1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55">
                  <a:moveTo>
                    <a:pt x="4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42" y="18"/>
                    <a:pt x="68" y="3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56" y="37"/>
                    <a:pt x="37" y="49"/>
                    <a:pt x="16" y="55"/>
                  </a:cubicBezTo>
                  <a:cubicBezTo>
                    <a:pt x="15" y="46"/>
                    <a:pt x="11" y="38"/>
                    <a:pt x="4" y="33"/>
                  </a:cubicBez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" name="ExtraShape27">
              <a:extLst>
                <a:ext uri="{FF2B5EF4-FFF2-40B4-BE49-F238E27FC236}">
                  <a16:creationId xmlns:a16="http://schemas.microsoft.com/office/drawing/2014/main" id="{07360CB5-C709-4A55-AEAB-2B1C6BC4F6E3}"/>
                </a:ext>
              </a:extLst>
            </p:cNvPr>
            <p:cNvSpPr/>
            <p:nvPr/>
          </p:nvSpPr>
          <p:spPr bwMode="auto">
            <a:xfrm flipH="1">
              <a:off x="4008819" y="2246356"/>
              <a:ext cx="722608" cy="525004"/>
            </a:xfrm>
            <a:custGeom>
              <a:avLst/>
              <a:gdLst>
                <a:gd name="T0" fmla="*/ 206 w 206"/>
                <a:gd name="T1" fmla="*/ 150 h 150"/>
                <a:gd name="T2" fmla="*/ 126 w 206"/>
                <a:gd name="T3" fmla="*/ 145 h 150"/>
                <a:gd name="T4" fmla="*/ 51 w 206"/>
                <a:gd name="T5" fmla="*/ 141 h 150"/>
                <a:gd name="T6" fmla="*/ 46 w 206"/>
                <a:gd name="T7" fmla="*/ 136 h 150"/>
                <a:gd name="T8" fmla="*/ 41 w 206"/>
                <a:gd name="T9" fmla="*/ 122 h 150"/>
                <a:gd name="T10" fmla="*/ 25 w 206"/>
                <a:gd name="T11" fmla="*/ 75 h 150"/>
                <a:gd name="T12" fmla="*/ 0 w 206"/>
                <a:gd name="T13" fmla="*/ 4 h 150"/>
                <a:gd name="T14" fmla="*/ 2 w 206"/>
                <a:gd name="T15" fmla="*/ 0 h 150"/>
                <a:gd name="T16" fmla="*/ 75 w 206"/>
                <a:gd name="T17" fmla="*/ 1 h 150"/>
                <a:gd name="T18" fmla="*/ 153 w 206"/>
                <a:gd name="T19" fmla="*/ 2 h 150"/>
                <a:gd name="T20" fmla="*/ 161 w 206"/>
                <a:gd name="T21" fmla="*/ 10 h 150"/>
                <a:gd name="T22" fmla="*/ 193 w 206"/>
                <a:gd name="T23" fmla="*/ 135 h 150"/>
                <a:gd name="T24" fmla="*/ 206 w 206"/>
                <a:gd name="T2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150">
                  <a:moveTo>
                    <a:pt x="206" y="150"/>
                  </a:moveTo>
                  <a:cubicBezTo>
                    <a:pt x="126" y="145"/>
                    <a:pt x="126" y="145"/>
                    <a:pt x="126" y="145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49" y="140"/>
                    <a:pt x="47" y="138"/>
                    <a:pt x="46" y="136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153" y="2"/>
                    <a:pt x="153" y="2"/>
                    <a:pt x="153" y="2"/>
                  </a:cubicBezTo>
                  <a:cubicBezTo>
                    <a:pt x="157" y="2"/>
                    <a:pt x="161" y="6"/>
                    <a:pt x="161" y="10"/>
                  </a:cubicBezTo>
                  <a:cubicBezTo>
                    <a:pt x="162" y="17"/>
                    <a:pt x="193" y="135"/>
                    <a:pt x="193" y="135"/>
                  </a:cubicBezTo>
                  <a:cubicBezTo>
                    <a:pt x="195" y="141"/>
                    <a:pt x="200" y="147"/>
                    <a:pt x="206" y="150"/>
                  </a:cubicBezTo>
                  <a:close/>
                </a:path>
              </a:pathLst>
            </a:custGeom>
            <a:gradFill>
              <a:gsLst>
                <a:gs pos="0">
                  <a:srgbClr val="476484"/>
                </a:gs>
                <a:gs pos="100000">
                  <a:srgbClr val="8FA8C3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" name="ExtraShape28">
              <a:extLst>
                <a:ext uri="{FF2B5EF4-FFF2-40B4-BE49-F238E27FC236}">
                  <a16:creationId xmlns:a16="http://schemas.microsoft.com/office/drawing/2014/main" id="{3645B307-5B91-4FC1-8704-EF41704DCDDA}"/>
                </a:ext>
              </a:extLst>
            </p:cNvPr>
            <p:cNvSpPr/>
            <p:nvPr/>
          </p:nvSpPr>
          <p:spPr bwMode="auto">
            <a:xfrm flipH="1">
              <a:off x="3758912" y="2688056"/>
              <a:ext cx="249911" cy="91052"/>
            </a:xfrm>
            <a:custGeom>
              <a:avLst/>
              <a:gdLst>
                <a:gd name="T0" fmla="*/ 0 w 71"/>
                <a:gd name="T1" fmla="*/ 0 h 26"/>
                <a:gd name="T2" fmla="*/ 0 w 71"/>
                <a:gd name="T3" fmla="*/ 24 h 26"/>
                <a:gd name="T4" fmla="*/ 64 w 71"/>
                <a:gd name="T5" fmla="*/ 26 h 26"/>
                <a:gd name="T6" fmla="*/ 70 w 71"/>
                <a:gd name="T7" fmla="*/ 19 h 26"/>
                <a:gd name="T8" fmla="*/ 64 w 71"/>
                <a:gd name="T9" fmla="*/ 9 h 26"/>
                <a:gd name="T10" fmla="*/ 3 w 71"/>
                <a:gd name="T11" fmla="*/ 1 h 26"/>
                <a:gd name="T12" fmla="*/ 0 w 7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6">
                  <a:moveTo>
                    <a:pt x="0" y="0"/>
                  </a:moveTo>
                  <a:cubicBezTo>
                    <a:pt x="0" y="0"/>
                    <a:pt x="10" y="22"/>
                    <a:pt x="0" y="24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71" y="25"/>
                    <a:pt x="70" y="19"/>
                  </a:cubicBezTo>
                  <a:cubicBezTo>
                    <a:pt x="69" y="15"/>
                    <a:pt x="67" y="12"/>
                    <a:pt x="64" y="9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" name="ExtraShape29">
              <a:extLst>
                <a:ext uri="{FF2B5EF4-FFF2-40B4-BE49-F238E27FC236}">
                  <a16:creationId xmlns:a16="http://schemas.microsoft.com/office/drawing/2014/main" id="{6C99D95E-8838-4B93-987B-808B44A24E2D}"/>
                </a:ext>
              </a:extLst>
            </p:cNvPr>
            <p:cNvSpPr/>
            <p:nvPr/>
          </p:nvSpPr>
          <p:spPr bwMode="auto">
            <a:xfrm flipH="1">
              <a:off x="4001074" y="2713241"/>
              <a:ext cx="25185" cy="44558"/>
            </a:xfrm>
            <a:custGeom>
              <a:avLst/>
              <a:gdLst>
                <a:gd name="T0" fmla="*/ 4 w 7"/>
                <a:gd name="T1" fmla="*/ 12 h 13"/>
                <a:gd name="T2" fmla="*/ 6 w 7"/>
                <a:gd name="T3" fmla="*/ 6 h 13"/>
                <a:gd name="T4" fmla="*/ 2 w 7"/>
                <a:gd name="T5" fmla="*/ 0 h 13"/>
                <a:gd name="T6" fmla="*/ 0 w 7"/>
                <a:gd name="T7" fmla="*/ 7 h 13"/>
                <a:gd name="T8" fmla="*/ 4 w 7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3">
                  <a:moveTo>
                    <a:pt x="4" y="12"/>
                  </a:moveTo>
                  <a:cubicBezTo>
                    <a:pt x="6" y="12"/>
                    <a:pt x="7" y="9"/>
                    <a:pt x="6" y="6"/>
                  </a:cubicBezTo>
                  <a:cubicBezTo>
                    <a:pt x="5" y="2"/>
                    <a:pt x="3" y="0"/>
                    <a:pt x="2" y="0"/>
                  </a:cubicBezTo>
                  <a:cubicBezTo>
                    <a:pt x="0" y="1"/>
                    <a:pt x="0" y="4"/>
                    <a:pt x="0" y="7"/>
                  </a:cubicBezTo>
                  <a:cubicBezTo>
                    <a:pt x="1" y="10"/>
                    <a:pt x="3" y="13"/>
                    <a:pt x="4" y="12"/>
                  </a:cubicBezTo>
                  <a:close/>
                </a:path>
              </a:pathLst>
            </a:custGeom>
            <a:solidFill>
              <a:srgbClr val="C7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" name="ExtraShape30">
              <a:extLst>
                <a:ext uri="{FF2B5EF4-FFF2-40B4-BE49-F238E27FC236}">
                  <a16:creationId xmlns:a16="http://schemas.microsoft.com/office/drawing/2014/main" id="{4F419A28-417D-40AF-8EEA-164A2754C2D4}"/>
                </a:ext>
              </a:extLst>
            </p:cNvPr>
            <p:cNvSpPr/>
            <p:nvPr/>
          </p:nvSpPr>
          <p:spPr bwMode="auto">
            <a:xfrm flipH="1">
              <a:off x="4053381" y="2680307"/>
              <a:ext cx="526940" cy="91052"/>
            </a:xfrm>
            <a:custGeom>
              <a:avLst/>
              <a:gdLst>
                <a:gd name="T0" fmla="*/ 150 w 150"/>
                <a:gd name="T1" fmla="*/ 26 h 26"/>
                <a:gd name="T2" fmla="*/ 85 w 150"/>
                <a:gd name="T3" fmla="*/ 23 h 26"/>
                <a:gd name="T4" fmla="*/ 10 w 150"/>
                <a:gd name="T5" fmla="*/ 19 h 26"/>
                <a:gd name="T6" fmla="*/ 5 w 150"/>
                <a:gd name="T7" fmla="*/ 13 h 26"/>
                <a:gd name="T8" fmla="*/ 0 w 150"/>
                <a:gd name="T9" fmla="*/ 0 h 26"/>
                <a:gd name="T10" fmla="*/ 139 w 150"/>
                <a:gd name="T11" fmla="*/ 3 h 26"/>
                <a:gd name="T12" fmla="*/ 150 w 150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6">
                  <a:moveTo>
                    <a:pt x="150" y="26"/>
                  </a:moveTo>
                  <a:cubicBezTo>
                    <a:pt x="85" y="23"/>
                    <a:pt x="85" y="23"/>
                    <a:pt x="85" y="23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8" y="18"/>
                    <a:pt x="6" y="16"/>
                    <a:pt x="5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9" y="3"/>
                    <a:pt x="139" y="3"/>
                    <a:pt x="139" y="3"/>
                  </a:cubicBezTo>
                  <a:cubicBezTo>
                    <a:pt x="141" y="11"/>
                    <a:pt x="145" y="19"/>
                    <a:pt x="150" y="26"/>
                  </a:cubicBezTo>
                  <a:close/>
                </a:path>
              </a:pathLst>
            </a:custGeom>
            <a:solidFill>
              <a:srgbClr val="3D5773">
                <a:alpha val="3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" name="ExtraShape31">
              <a:extLst>
                <a:ext uri="{FF2B5EF4-FFF2-40B4-BE49-F238E27FC236}">
                  <a16:creationId xmlns:a16="http://schemas.microsoft.com/office/drawing/2014/main" id="{58735A07-D6E7-4540-AF34-1777E709F6C0}"/>
                </a:ext>
              </a:extLst>
            </p:cNvPr>
            <p:cNvSpPr/>
            <p:nvPr/>
          </p:nvSpPr>
          <p:spPr bwMode="auto">
            <a:xfrm flipH="1">
              <a:off x="3867400" y="3389351"/>
              <a:ext cx="77491" cy="238287"/>
            </a:xfrm>
            <a:custGeom>
              <a:avLst/>
              <a:gdLst>
                <a:gd name="T0" fmla="*/ 0 w 22"/>
                <a:gd name="T1" fmla="*/ 0 h 68"/>
                <a:gd name="T2" fmla="*/ 22 w 22"/>
                <a:gd name="T3" fmla="*/ 68 h 68"/>
                <a:gd name="T4" fmla="*/ 18 w 22"/>
                <a:gd name="T5" fmla="*/ 1 h 68"/>
                <a:gd name="T6" fmla="*/ 0 w 2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8">
                  <a:moveTo>
                    <a:pt x="0" y="0"/>
                  </a:moveTo>
                  <a:cubicBezTo>
                    <a:pt x="0" y="0"/>
                    <a:pt x="7" y="56"/>
                    <a:pt x="22" y="68"/>
                  </a:cubicBezTo>
                  <a:cubicBezTo>
                    <a:pt x="18" y="1"/>
                    <a:pt x="18" y="1"/>
                    <a:pt x="18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" name="ExtraShape32">
              <a:extLst>
                <a:ext uri="{FF2B5EF4-FFF2-40B4-BE49-F238E27FC236}">
                  <a16:creationId xmlns:a16="http://schemas.microsoft.com/office/drawing/2014/main" id="{81539255-684E-42AA-A82B-71F5A3416805}"/>
                </a:ext>
              </a:extLst>
            </p:cNvPr>
            <p:cNvSpPr/>
            <p:nvPr/>
          </p:nvSpPr>
          <p:spPr bwMode="auto">
            <a:xfrm flipH="1">
              <a:off x="3495444" y="3306050"/>
              <a:ext cx="98801" cy="1487832"/>
            </a:xfrm>
            <a:custGeom>
              <a:avLst/>
              <a:gdLst>
                <a:gd name="T0" fmla="*/ 0 w 51"/>
                <a:gd name="T1" fmla="*/ 11 h 768"/>
                <a:gd name="T2" fmla="*/ 13 w 51"/>
                <a:gd name="T3" fmla="*/ 768 h 768"/>
                <a:gd name="T4" fmla="*/ 51 w 51"/>
                <a:gd name="T5" fmla="*/ 0 h 768"/>
                <a:gd name="T6" fmla="*/ 0 w 51"/>
                <a:gd name="T7" fmla="*/ 11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68">
                  <a:moveTo>
                    <a:pt x="0" y="11"/>
                  </a:moveTo>
                  <a:lnTo>
                    <a:pt x="13" y="768"/>
                  </a:lnTo>
                  <a:lnTo>
                    <a:pt x="5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" name="ExtraShape33">
              <a:extLst>
                <a:ext uri="{FF2B5EF4-FFF2-40B4-BE49-F238E27FC236}">
                  <a16:creationId xmlns:a16="http://schemas.microsoft.com/office/drawing/2014/main" id="{E0712B4F-02C7-44D4-A12B-56B551F56603}"/>
                </a:ext>
              </a:extLst>
            </p:cNvPr>
            <p:cNvSpPr/>
            <p:nvPr/>
          </p:nvSpPr>
          <p:spPr bwMode="auto">
            <a:xfrm flipH="1">
              <a:off x="3654299" y="2639625"/>
              <a:ext cx="48433" cy="91052"/>
            </a:xfrm>
            <a:custGeom>
              <a:avLst/>
              <a:gdLst>
                <a:gd name="T0" fmla="*/ 11 w 14"/>
                <a:gd name="T1" fmla="*/ 25 h 26"/>
                <a:gd name="T2" fmla="*/ 0 w 14"/>
                <a:gd name="T3" fmla="*/ 25 h 26"/>
                <a:gd name="T4" fmla="*/ 8 w 14"/>
                <a:gd name="T5" fmla="*/ 0 h 26"/>
                <a:gd name="T6" fmla="*/ 9 w 14"/>
                <a:gd name="T7" fmla="*/ 0 h 26"/>
                <a:gd name="T8" fmla="*/ 14 w 14"/>
                <a:gd name="T9" fmla="*/ 3 h 26"/>
                <a:gd name="T10" fmla="*/ 11 w 14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8" y="26"/>
                    <a:pt x="4" y="26"/>
                    <a:pt x="0" y="25"/>
                  </a:cubicBezTo>
                  <a:cubicBezTo>
                    <a:pt x="10" y="23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23"/>
                    <a:pt x="11" y="25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" name="ExtraShape34">
              <a:extLst>
                <a:ext uri="{FF2B5EF4-FFF2-40B4-BE49-F238E27FC236}">
                  <a16:creationId xmlns:a16="http://schemas.microsoft.com/office/drawing/2014/main" id="{65A20479-A067-472C-B521-56576B5EB31C}"/>
                </a:ext>
              </a:extLst>
            </p:cNvPr>
            <p:cNvSpPr/>
            <p:nvPr/>
          </p:nvSpPr>
          <p:spPr bwMode="auto">
            <a:xfrm flipH="1">
              <a:off x="3865465" y="3492029"/>
              <a:ext cx="100739" cy="1303790"/>
            </a:xfrm>
            <a:custGeom>
              <a:avLst/>
              <a:gdLst>
                <a:gd name="T0" fmla="*/ 11 w 29"/>
                <a:gd name="T1" fmla="*/ 0 h 372"/>
                <a:gd name="T2" fmla="*/ 0 w 29"/>
                <a:gd name="T3" fmla="*/ 372 h 372"/>
                <a:gd name="T4" fmla="*/ 11 w 29"/>
                <a:gd name="T5" fmla="*/ 369 h 372"/>
                <a:gd name="T6" fmla="*/ 29 w 29"/>
                <a:gd name="T7" fmla="*/ 39 h 372"/>
                <a:gd name="T8" fmla="*/ 11 w 29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72">
                  <a:moveTo>
                    <a:pt x="11" y="0"/>
                  </a:moveTo>
                  <a:cubicBezTo>
                    <a:pt x="0" y="372"/>
                    <a:pt x="0" y="372"/>
                    <a:pt x="0" y="372"/>
                  </a:cubicBezTo>
                  <a:cubicBezTo>
                    <a:pt x="4" y="372"/>
                    <a:pt x="8" y="371"/>
                    <a:pt x="11" y="369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4" name="ExtraShape35">
              <a:extLst>
                <a:ext uri="{FF2B5EF4-FFF2-40B4-BE49-F238E27FC236}">
                  <a16:creationId xmlns:a16="http://schemas.microsoft.com/office/drawing/2014/main" id="{9FAF37A8-CD46-426A-A256-A4BA172BCC5B}"/>
                </a:ext>
              </a:extLst>
            </p:cNvPr>
            <p:cNvSpPr/>
            <p:nvPr/>
          </p:nvSpPr>
          <p:spPr bwMode="auto">
            <a:xfrm flipH="1">
              <a:off x="4467959" y="2246356"/>
              <a:ext cx="263470" cy="280906"/>
            </a:xfrm>
            <a:custGeom>
              <a:avLst/>
              <a:gdLst>
                <a:gd name="T0" fmla="*/ 75 w 75"/>
                <a:gd name="T1" fmla="*/ 1 h 80"/>
                <a:gd name="T2" fmla="*/ 73 w 75"/>
                <a:gd name="T3" fmla="*/ 7 h 80"/>
                <a:gd name="T4" fmla="*/ 30 w 75"/>
                <a:gd name="T5" fmla="*/ 80 h 80"/>
                <a:gd name="T6" fmla="*/ 25 w 75"/>
                <a:gd name="T7" fmla="*/ 75 h 80"/>
                <a:gd name="T8" fmla="*/ 0 w 75"/>
                <a:gd name="T9" fmla="*/ 4 h 80"/>
                <a:gd name="T10" fmla="*/ 2 w 75"/>
                <a:gd name="T11" fmla="*/ 0 h 80"/>
                <a:gd name="T12" fmla="*/ 75 w 75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80">
                  <a:moveTo>
                    <a:pt x="75" y="1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0"/>
                  </a:cubicBezTo>
                  <a:lnTo>
                    <a:pt x="75" y="1"/>
                  </a:lnTo>
                  <a:close/>
                </a:path>
              </a:pathLst>
            </a:custGeom>
            <a:solidFill>
              <a:srgbClr val="FFFFFF">
                <a:alpha val="24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5" name="ExtraShape1">
              <a:extLst>
                <a:ext uri="{FF2B5EF4-FFF2-40B4-BE49-F238E27FC236}">
                  <a16:creationId xmlns:a16="http://schemas.microsoft.com/office/drawing/2014/main" id="{C679D493-A266-4436-B060-AEF182461575}"/>
                </a:ext>
              </a:extLst>
            </p:cNvPr>
            <p:cNvSpPr/>
            <p:nvPr/>
          </p:nvSpPr>
          <p:spPr bwMode="auto">
            <a:xfrm>
              <a:off x="5012688" y="4186481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6" name="ExtraShape2">
              <a:extLst>
                <a:ext uri="{FF2B5EF4-FFF2-40B4-BE49-F238E27FC236}">
                  <a16:creationId xmlns:a16="http://schemas.microsoft.com/office/drawing/2014/main" id="{417AF82E-C182-4B67-A11C-E24AF621B6D8}"/>
                </a:ext>
              </a:extLst>
            </p:cNvPr>
            <p:cNvSpPr/>
            <p:nvPr/>
          </p:nvSpPr>
          <p:spPr bwMode="auto">
            <a:xfrm>
              <a:off x="5012688" y="3679203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7" name="ExtraShape3">
              <a:extLst>
                <a:ext uri="{FF2B5EF4-FFF2-40B4-BE49-F238E27FC236}">
                  <a16:creationId xmlns:a16="http://schemas.microsoft.com/office/drawing/2014/main" id="{5F732505-47C7-432B-93B5-F4534A3DED87}"/>
                </a:ext>
              </a:extLst>
            </p:cNvPr>
            <p:cNvSpPr/>
            <p:nvPr/>
          </p:nvSpPr>
          <p:spPr bwMode="auto">
            <a:xfrm>
              <a:off x="5012688" y="3164928"/>
              <a:ext cx="3918280" cy="279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8" name="ExtraShape4">
              <a:extLst>
                <a:ext uri="{FF2B5EF4-FFF2-40B4-BE49-F238E27FC236}">
                  <a16:creationId xmlns:a16="http://schemas.microsoft.com/office/drawing/2014/main" id="{635DF46D-206F-49AD-9E17-D0AF0F168E07}"/>
                </a:ext>
              </a:extLst>
            </p:cNvPr>
            <p:cNvSpPr/>
            <p:nvPr/>
          </p:nvSpPr>
          <p:spPr bwMode="auto">
            <a:xfrm>
              <a:off x="5012688" y="2657652"/>
              <a:ext cx="3918280" cy="279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9" name="ExtraShape5">
              <a:extLst>
                <a:ext uri="{FF2B5EF4-FFF2-40B4-BE49-F238E27FC236}">
                  <a16:creationId xmlns:a16="http://schemas.microsoft.com/office/drawing/2014/main" id="{24D8E60B-79D2-4BE5-B6DB-147CC33DB5CA}"/>
                </a:ext>
              </a:extLst>
            </p:cNvPr>
            <p:cNvSpPr/>
            <p:nvPr/>
          </p:nvSpPr>
          <p:spPr bwMode="auto">
            <a:xfrm>
              <a:off x="5012688" y="2146875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0" name="ExtraShape6">
              <a:extLst>
                <a:ext uri="{FF2B5EF4-FFF2-40B4-BE49-F238E27FC236}">
                  <a16:creationId xmlns:a16="http://schemas.microsoft.com/office/drawing/2014/main" id="{D01B7356-4559-45A0-BAE0-E174A226A3FD}"/>
                </a:ext>
              </a:extLst>
            </p:cNvPr>
            <p:cNvSpPr/>
            <p:nvPr/>
          </p:nvSpPr>
          <p:spPr bwMode="auto">
            <a:xfrm>
              <a:off x="4911230" y="1734056"/>
              <a:ext cx="4019735" cy="3015675"/>
            </a:xfrm>
            <a:custGeom>
              <a:avLst/>
              <a:gdLst>
                <a:gd name="T0" fmla="*/ 22 w 1149"/>
                <a:gd name="T1" fmla="*/ 0 h 862"/>
                <a:gd name="T2" fmla="*/ 0 w 1149"/>
                <a:gd name="T3" fmla="*/ 0 h 862"/>
                <a:gd name="T4" fmla="*/ 0 w 1149"/>
                <a:gd name="T5" fmla="*/ 862 h 862"/>
                <a:gd name="T6" fmla="*/ 1149 w 1149"/>
                <a:gd name="T7" fmla="*/ 862 h 862"/>
                <a:gd name="T8" fmla="*/ 1149 w 1149"/>
                <a:gd name="T9" fmla="*/ 840 h 862"/>
                <a:gd name="T10" fmla="*/ 22 w 1149"/>
                <a:gd name="T11" fmla="*/ 840 h 862"/>
                <a:gd name="T12" fmla="*/ 22 w 1149"/>
                <a:gd name="T13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862">
                  <a:moveTo>
                    <a:pt x="22" y="0"/>
                  </a:moveTo>
                  <a:lnTo>
                    <a:pt x="0" y="0"/>
                  </a:lnTo>
                  <a:lnTo>
                    <a:pt x="0" y="862"/>
                  </a:lnTo>
                  <a:lnTo>
                    <a:pt x="1149" y="862"/>
                  </a:lnTo>
                  <a:lnTo>
                    <a:pt x="1149" y="840"/>
                  </a:lnTo>
                  <a:lnTo>
                    <a:pt x="22" y="84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1" name="RelativeShape1">
              <a:extLst>
                <a:ext uri="{FF2B5EF4-FFF2-40B4-BE49-F238E27FC236}">
                  <a16:creationId xmlns:a16="http://schemas.microsoft.com/office/drawing/2014/main" id="{F225F76E-5E26-460A-8009-70CD960311CD}"/>
                </a:ext>
              </a:extLst>
            </p:cNvPr>
            <p:cNvSpPr/>
            <p:nvPr/>
          </p:nvSpPr>
          <p:spPr>
            <a:xfrm>
              <a:off x="5394018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2" name="ValueShape1">
              <a:extLst>
                <a:ext uri="{FF2B5EF4-FFF2-40B4-BE49-F238E27FC236}">
                  <a16:creationId xmlns:a16="http://schemas.microsoft.com/office/drawing/2014/main" id="{EAAE2314-E66C-4D58-8DEE-893C379CA3C8}"/>
                </a:ext>
              </a:extLst>
            </p:cNvPr>
            <p:cNvSpPr/>
            <p:nvPr/>
          </p:nvSpPr>
          <p:spPr>
            <a:xfrm>
              <a:off x="6213359" y="3214549"/>
              <a:ext cx="430313" cy="1448118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3" name="RelativeShape2">
              <a:extLst>
                <a:ext uri="{FF2B5EF4-FFF2-40B4-BE49-F238E27FC236}">
                  <a16:creationId xmlns:a16="http://schemas.microsoft.com/office/drawing/2014/main" id="{03384D5D-9161-4054-AF18-C7908DDA984C}"/>
                </a:ext>
              </a:extLst>
            </p:cNvPr>
            <p:cNvSpPr/>
            <p:nvPr/>
          </p:nvSpPr>
          <p:spPr>
            <a:xfrm>
              <a:off x="6223151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4" name="ValueShape2">
              <a:extLst>
                <a:ext uri="{FF2B5EF4-FFF2-40B4-BE49-F238E27FC236}">
                  <a16:creationId xmlns:a16="http://schemas.microsoft.com/office/drawing/2014/main" id="{61A6988A-7947-4BC9-8CBF-00AAB5E43EC8}"/>
                </a:ext>
              </a:extLst>
            </p:cNvPr>
            <p:cNvSpPr/>
            <p:nvPr/>
          </p:nvSpPr>
          <p:spPr>
            <a:xfrm>
              <a:off x="5423252" y="2883921"/>
              <a:ext cx="430313" cy="1787040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5" name="RelativeShape3">
              <a:extLst>
                <a:ext uri="{FF2B5EF4-FFF2-40B4-BE49-F238E27FC236}">
                  <a16:creationId xmlns:a16="http://schemas.microsoft.com/office/drawing/2014/main" id="{38A0E697-25E3-4BF3-AC53-4DF2C29C6B5C}"/>
                </a:ext>
              </a:extLst>
            </p:cNvPr>
            <p:cNvSpPr/>
            <p:nvPr/>
          </p:nvSpPr>
          <p:spPr>
            <a:xfrm>
              <a:off x="7052284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6" name="ValueShape3">
              <a:extLst>
                <a:ext uri="{FF2B5EF4-FFF2-40B4-BE49-F238E27FC236}">
                  <a16:creationId xmlns:a16="http://schemas.microsoft.com/office/drawing/2014/main" id="{B2EDC070-B1B9-4103-BCB9-B30DF666B4B0}"/>
                </a:ext>
              </a:extLst>
            </p:cNvPr>
            <p:cNvSpPr/>
            <p:nvPr/>
          </p:nvSpPr>
          <p:spPr>
            <a:xfrm>
              <a:off x="7052284" y="2360134"/>
              <a:ext cx="430313" cy="2310827"/>
            </a:xfrm>
            <a:prstGeom prst="rect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7" name="RelativeShape4">
              <a:extLst>
                <a:ext uri="{FF2B5EF4-FFF2-40B4-BE49-F238E27FC236}">
                  <a16:creationId xmlns:a16="http://schemas.microsoft.com/office/drawing/2014/main" id="{33176789-E9F3-4BC0-9AC1-42E6230A7792}"/>
                </a:ext>
              </a:extLst>
            </p:cNvPr>
            <p:cNvSpPr/>
            <p:nvPr/>
          </p:nvSpPr>
          <p:spPr>
            <a:xfrm>
              <a:off x="7881417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8" name="ValueShape4">
              <a:extLst>
                <a:ext uri="{FF2B5EF4-FFF2-40B4-BE49-F238E27FC236}">
                  <a16:creationId xmlns:a16="http://schemas.microsoft.com/office/drawing/2014/main" id="{25B7125C-1157-4F6E-B297-3F1126135E47}"/>
                </a:ext>
              </a:extLst>
            </p:cNvPr>
            <p:cNvSpPr/>
            <p:nvPr/>
          </p:nvSpPr>
          <p:spPr>
            <a:xfrm>
              <a:off x="7881417" y="1589858"/>
              <a:ext cx="430313" cy="3081103"/>
            </a:xfrm>
            <a:prstGeom prst="rect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9" name="ValueText1">
              <a:extLst>
                <a:ext uri="{FF2B5EF4-FFF2-40B4-BE49-F238E27FC236}">
                  <a16:creationId xmlns:a16="http://schemas.microsoft.com/office/drawing/2014/main" id="{3F427067-8E55-4D5D-9728-2FC9C3B912CF}"/>
                </a:ext>
              </a:extLst>
            </p:cNvPr>
            <p:cNvSpPr/>
            <p:nvPr/>
          </p:nvSpPr>
          <p:spPr>
            <a:xfrm>
              <a:off x="5394018" y="4830490"/>
              <a:ext cx="500033" cy="2501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3800" kern="0" dirty="0">
                  <a:solidFill>
                    <a:schemeClr val="accent1">
                      <a:lumMod val="10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25%</a:t>
              </a:r>
              <a:endParaRPr lang="zh-CN" altLang="en-US" sz="13800" dirty="0">
                <a:solidFill>
                  <a:schemeClr val="accent1">
                    <a:lumMod val="10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0" name="ValueText2">
              <a:extLst>
                <a:ext uri="{FF2B5EF4-FFF2-40B4-BE49-F238E27FC236}">
                  <a16:creationId xmlns:a16="http://schemas.microsoft.com/office/drawing/2014/main" id="{3AA4CC5A-F3BA-43B4-9BD6-1FEC28D2599E}"/>
                </a:ext>
              </a:extLst>
            </p:cNvPr>
            <p:cNvSpPr/>
            <p:nvPr/>
          </p:nvSpPr>
          <p:spPr>
            <a:xfrm>
              <a:off x="6217951" y="4830490"/>
              <a:ext cx="500033" cy="2501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3800" kern="0" dirty="0">
                  <a:solidFill>
                    <a:schemeClr val="accent3">
                      <a:lumMod val="10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24%</a:t>
              </a:r>
              <a:endParaRPr lang="zh-CN" altLang="en-US" sz="13800" dirty="0">
                <a:solidFill>
                  <a:schemeClr val="accent3">
                    <a:lumMod val="10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1" name="ValueText3">
              <a:extLst>
                <a:ext uri="{FF2B5EF4-FFF2-40B4-BE49-F238E27FC236}">
                  <a16:creationId xmlns:a16="http://schemas.microsoft.com/office/drawing/2014/main" id="{30183D82-569F-447D-8F31-368F0DF507EE}"/>
                </a:ext>
              </a:extLst>
            </p:cNvPr>
            <p:cNvSpPr/>
            <p:nvPr/>
          </p:nvSpPr>
          <p:spPr>
            <a:xfrm>
              <a:off x="7041885" y="4830490"/>
              <a:ext cx="500033" cy="2501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3800" kern="0" dirty="0">
                  <a:solidFill>
                    <a:schemeClr val="accent4">
                      <a:lumMod val="10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26%</a:t>
              </a:r>
              <a:endParaRPr lang="zh-CN" altLang="en-US" sz="13800" dirty="0">
                <a:solidFill>
                  <a:schemeClr val="accent4">
                    <a:lumMod val="10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2" name="ValueText4">
              <a:extLst>
                <a:ext uri="{FF2B5EF4-FFF2-40B4-BE49-F238E27FC236}">
                  <a16:creationId xmlns:a16="http://schemas.microsoft.com/office/drawing/2014/main" id="{162885D7-DB11-4784-87BB-FA7A33F4CE47}"/>
                </a:ext>
              </a:extLst>
            </p:cNvPr>
            <p:cNvSpPr/>
            <p:nvPr/>
          </p:nvSpPr>
          <p:spPr>
            <a:xfrm>
              <a:off x="7881417" y="4830490"/>
              <a:ext cx="500033" cy="25011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3800" kern="0" dirty="0">
                  <a:solidFill>
                    <a:schemeClr val="accent5">
                      <a:lumMod val="10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27%</a:t>
              </a:r>
              <a:endParaRPr lang="zh-CN" altLang="en-US" sz="13800" dirty="0">
                <a:solidFill>
                  <a:schemeClr val="accent5">
                    <a:lumMod val="10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3" name="CustomText">
              <a:extLst>
                <a:ext uri="{FF2B5EF4-FFF2-40B4-BE49-F238E27FC236}">
                  <a16:creationId xmlns:a16="http://schemas.microsoft.com/office/drawing/2014/main" id="{262F813B-18BA-490B-8B8B-5AAEA7A24F93}"/>
                </a:ext>
              </a:extLst>
            </p:cNvPr>
            <p:cNvSpPr/>
            <p:nvPr/>
          </p:nvSpPr>
          <p:spPr>
            <a:xfrm>
              <a:off x="3958576" y="5384007"/>
              <a:ext cx="2139378" cy="393882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5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lang="zh-CN" altLang="en-US" sz="2800" b="1" dirty="0">
                  <a:latin typeface=""/>
                  <a:ea typeface="微软雅黑" panose="020B0503020204020204" pitchFamily="34" charset="-122"/>
                  <a:sym typeface=""/>
                </a:rPr>
                <a:t>男</a:t>
              </a:r>
              <a:r>
                <a:rPr lang="en-US" altLang="zh-CN" sz="2800" b="1" dirty="0">
                  <a:latin typeface=""/>
                  <a:ea typeface="微软雅黑" panose="020B0503020204020204" pitchFamily="34" charset="-122"/>
                  <a:sym typeface=""/>
                </a:rPr>
                <a:t>T</a:t>
              </a:r>
              <a:r>
                <a:rPr lang="zh-CN" altLang="en-US" sz="2800" b="1" dirty="0">
                  <a:latin typeface=""/>
                  <a:ea typeface="微软雅黑" panose="020B0503020204020204" pitchFamily="34" charset="-122"/>
                  <a:sym typeface=""/>
                </a:rPr>
                <a:t>结构占比</a:t>
              </a:r>
              <a:endParaRPr kumimoji="0" lang="en-US" altLang="zh-CN" sz="2800" b="1" i="0" strike="noStrike" kern="1200" cap="none" spc="0" normalizeH="0" baseline="0" noProof="0" dirty="0"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4" name="CustomText">
              <a:extLst>
                <a:ext uri="{FF2B5EF4-FFF2-40B4-BE49-F238E27FC236}">
                  <a16:creationId xmlns:a16="http://schemas.microsoft.com/office/drawing/2014/main" id="{A34C917D-31B1-4C38-AE8E-E77A32B94A64}"/>
                </a:ext>
              </a:extLst>
            </p:cNvPr>
            <p:cNvSpPr/>
            <p:nvPr/>
          </p:nvSpPr>
          <p:spPr>
            <a:xfrm>
              <a:off x="6097954" y="5416247"/>
              <a:ext cx="2139378" cy="294012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5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"/>
                  <a:ea typeface="微软雅黑" panose="020B0503020204020204" pitchFamily="34" charset="-122"/>
                  <a:sym typeface=""/>
                </a:rPr>
                <a:t>年份依次为：</a:t>
              </a:r>
              <a:r>
                <a:rPr kumimoji="0" lang="en-US" altLang="zh-CN" sz="20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"/>
                  <a:ea typeface="微软雅黑" panose="020B0503020204020204" pitchFamily="34" charset="-122"/>
                  <a:sym typeface=""/>
                </a:rPr>
                <a:t>15-18</a:t>
              </a:r>
            </a:p>
          </p:txBody>
        </p:sp>
      </p:grpSp>
      <p:sp>
        <p:nvSpPr>
          <p:cNvPr id="82" name="文本框 81">
            <a:extLst>
              <a:ext uri="{FF2B5EF4-FFF2-40B4-BE49-F238E27FC236}">
                <a16:creationId xmlns:a16="http://schemas.microsoft.com/office/drawing/2014/main" id="{BCBC0D4A-3EC6-4647-95EF-F0E9AAA5AF70}"/>
              </a:ext>
            </a:extLst>
          </p:cNvPr>
          <p:cNvSpPr txBox="1"/>
          <p:nvPr/>
        </p:nvSpPr>
        <p:spPr>
          <a:xfrm>
            <a:off x="7061660" y="2493723"/>
            <a:ext cx="3616326" cy="1627048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1.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加权移动平均法确定变化趋势；</a:t>
            </a: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2. 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使用变化的变化作为自变量；</a:t>
            </a: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3. 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使用迭代法对不同的移动权重进行计算，以确定最终的最优权重；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FCE5574E-7151-4319-9844-871FDEF0AA31}"/>
              </a:ext>
            </a:extLst>
          </p:cNvPr>
          <p:cNvSpPr txBox="1"/>
          <p:nvPr/>
        </p:nvSpPr>
        <p:spPr>
          <a:xfrm>
            <a:off x="7061660" y="1430257"/>
            <a:ext cx="3540126" cy="41690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对变化进行分段建模预估</a:t>
            </a: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33085BAC-90F8-40C4-98B1-FC5B45AD95BB}"/>
              </a:ext>
            </a:extLst>
          </p:cNvPr>
          <p:cNvSpPr txBox="1"/>
          <p:nvPr/>
        </p:nvSpPr>
        <p:spPr>
          <a:xfrm>
            <a:off x="7725908" y="599034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影响因素变化的预估方法</a:t>
            </a:r>
          </a:p>
        </p:txBody>
      </p:sp>
    </p:spTree>
    <p:extLst>
      <p:ext uri="{BB962C8B-B14F-4D97-AF65-F5344CB8AC3E}">
        <p14:creationId xmlns:p14="http://schemas.microsoft.com/office/powerpoint/2010/main" val="1253743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8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结构预估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5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60D808C-F22F-4A05-9BB5-CEFD2198F7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0" y="1028701"/>
            <a:ext cx="10599739" cy="309649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0996AC11-9912-428D-892E-755D2C2F0AC0}"/>
              </a:ext>
            </a:extLst>
          </p:cNvPr>
          <p:cNvSpPr txBox="1"/>
          <p:nvPr/>
        </p:nvSpPr>
        <p:spPr>
          <a:xfrm>
            <a:off x="830261" y="4626726"/>
            <a:ext cx="42301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/>
              <a:t>误差率：</a:t>
            </a:r>
            <a:r>
              <a:rPr lang="en-US" altLang="zh-CN" sz="3200" b="1" dirty="0"/>
              <a:t>1.27%</a:t>
            </a:r>
            <a:r>
              <a:rPr lang="zh-CN" altLang="en-US" sz="5400" b="1" dirty="0"/>
              <a:t> </a:t>
            </a:r>
            <a:endParaRPr lang="zh-CN" altLang="en-US" sz="3600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9852187-A2A9-475F-97EF-2E02BF5FC9D2}"/>
              </a:ext>
            </a:extLst>
          </p:cNvPr>
          <p:cNvSpPr txBox="1"/>
          <p:nvPr/>
        </p:nvSpPr>
        <p:spPr>
          <a:xfrm>
            <a:off x="5958044" y="4626726"/>
            <a:ext cx="5877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/>
              <a:t>男</a:t>
            </a:r>
            <a:r>
              <a:rPr lang="en-US" altLang="zh-CN" sz="3600" dirty="0"/>
              <a:t>T</a:t>
            </a:r>
            <a:r>
              <a:rPr lang="zh-CN" altLang="en-US" sz="3600" dirty="0"/>
              <a:t>经验判断误差率：</a:t>
            </a:r>
            <a:r>
              <a:rPr lang="en-US" altLang="zh-CN" sz="3200" b="1" dirty="0"/>
              <a:t>5.88%</a:t>
            </a:r>
            <a:r>
              <a:rPr lang="zh-CN" altLang="en-US" sz="5400" b="1" dirty="0"/>
              <a:t> </a:t>
            </a:r>
            <a:endParaRPr lang="zh-CN" altLang="en-US" sz="3600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52D900D-99FA-439C-A50E-6F31AF570CB8}"/>
              </a:ext>
            </a:extLst>
          </p:cNvPr>
          <p:cNvSpPr txBox="1"/>
          <p:nvPr/>
        </p:nvSpPr>
        <p:spPr>
          <a:xfrm>
            <a:off x="7476526" y="58492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男</a:t>
            </a:r>
            <a:r>
              <a:rPr lang="en-US" altLang="zh-CN" dirty="0"/>
              <a:t>T2018</a:t>
            </a:r>
            <a:r>
              <a:rPr lang="zh-CN" altLang="en-US" dirty="0"/>
              <a:t>预估的方法和准确率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2B39C69-B219-4DC3-A194-0B4688F4EA0C}"/>
              </a:ext>
            </a:extLst>
          </p:cNvPr>
          <p:cNvSpPr txBox="1"/>
          <p:nvPr/>
        </p:nvSpPr>
        <p:spPr>
          <a:xfrm>
            <a:off x="6095205" y="5829298"/>
            <a:ext cx="35962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经验判断方法：采用占比指数平滑法</a:t>
            </a:r>
          </a:p>
        </p:txBody>
      </p:sp>
    </p:spTree>
    <p:extLst>
      <p:ext uri="{BB962C8B-B14F-4D97-AF65-F5344CB8AC3E}">
        <p14:creationId xmlns:p14="http://schemas.microsoft.com/office/powerpoint/2010/main" val="2404634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6</a:t>
            </a:fld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7" name="ccade046-71c4-408a-8591-d2478564afd4" descr="0gQAAB+LCAAAAAAABACdU01vgkAQ/S/b9kYMaDWVm62l4WA1xbSHxsPKjrANLGZZGo3hv3cXWD6CtrHZyzL7Zua9mccJ3YrjHpCNvBhzMac44Dh2BcTIQC5BNsuiyECPlBHKgheeZPsU2Z+nOq398kFF+JRECX/HUQaqAKOC4qj8tHtJHeyKU8ngWMQuYSWsV2u521Ef1iHEoDFrysSMES/ERCLMgSkFcBqEgkGaqsC9gZbbL/BFK80eK1SWhrLmjeM8TOdzZ6qKFW3MPDeQB37CyP9JvoEPTGjQW7BFtjW2RsPR1Oz0fp6oU/e2VO9LM9TjW1BG4yyuYIXmBT60QpZZBikhEbRhLhPAv+stWSpW3D3BZQMn4TEWsuHJzO8abePJoJiJywgcZJYmizpLrUgqP521jXqoXVN4qElaYelEkNzOqO7nNWgDzVgQaXV6fXVZ6Yo9vEqsIlQJVSG06UrQbGRhubS+uNy4yGoNB3GdDpXRVnBu9L9KKFo2CioGHe5/0tbGvHb+beLS6CmImd8YvVxDGe/+hfV2htdI0yz7e0H5Rp4fT4AZ59IEAAA=">
            <a:extLst>
              <a:ext uri="{FF2B5EF4-FFF2-40B4-BE49-F238E27FC236}">
                <a16:creationId xmlns:a16="http://schemas.microsoft.com/office/drawing/2014/main" id="{58CE92CF-5373-4051-97E8-06506E06A694}"/>
              </a:ext>
            </a:extLst>
          </p:cNvPr>
          <p:cNvGrpSpPr>
            <a:grpSpLocks noChangeAspect="1"/>
          </p:cNvGrpSpPr>
          <p:nvPr/>
        </p:nvGrpSpPr>
        <p:grpSpPr>
          <a:xfrm>
            <a:off x="752476" y="2621361"/>
            <a:ext cx="10953750" cy="2704592"/>
            <a:chOff x="809743" y="2343150"/>
            <a:chExt cx="10572514" cy="2704592"/>
          </a:xfrm>
        </p:grpSpPr>
        <p:sp>
          <p:nvSpPr>
            <p:cNvPr id="8" name="ExtraShape">
              <a:extLst>
                <a:ext uri="{FF2B5EF4-FFF2-40B4-BE49-F238E27FC236}">
                  <a16:creationId xmlns:a16="http://schemas.microsoft.com/office/drawing/2014/main" id="{336A5058-6693-463D-BD13-55ABA2EB42A1}"/>
                </a:ext>
              </a:extLst>
            </p:cNvPr>
            <p:cNvSpPr/>
            <p:nvPr/>
          </p:nvSpPr>
          <p:spPr bwMode="auto">
            <a:xfrm>
              <a:off x="6779062" y="2660147"/>
              <a:ext cx="1748873" cy="2092017"/>
            </a:xfrm>
            <a:custGeom>
              <a:avLst/>
              <a:gdLst>
                <a:gd name="connsiteX0" fmla="*/ 764268 w 1674813"/>
                <a:gd name="connsiteY0" fmla="*/ 1212216 h 2003425"/>
                <a:gd name="connsiteX1" fmla="*/ 760744 w 1674813"/>
                <a:gd name="connsiteY1" fmla="*/ 1213963 h 2003425"/>
                <a:gd name="connsiteX2" fmla="*/ 761839 w 1674813"/>
                <a:gd name="connsiteY2" fmla="*/ 1218316 h 2003425"/>
                <a:gd name="connsiteX3" fmla="*/ 762001 w 1674813"/>
                <a:gd name="connsiteY3" fmla="*/ 1218959 h 2003425"/>
                <a:gd name="connsiteX4" fmla="*/ 734977 w 1674813"/>
                <a:gd name="connsiteY4" fmla="*/ 1199195 h 2003425"/>
                <a:gd name="connsiteX5" fmla="*/ 733264 w 1674813"/>
                <a:gd name="connsiteY5" fmla="*/ 1200328 h 2003425"/>
                <a:gd name="connsiteX6" fmla="*/ 733872 w 1674813"/>
                <a:gd name="connsiteY6" fmla="*/ 1202141 h 2003425"/>
                <a:gd name="connsiteX7" fmla="*/ 738703 w 1674813"/>
                <a:gd name="connsiteY7" fmla="*/ 1216547 h 2003425"/>
                <a:gd name="connsiteX8" fmla="*/ 738996 w 1674813"/>
                <a:gd name="connsiteY8" fmla="*/ 1217422 h 2003425"/>
                <a:gd name="connsiteX9" fmla="*/ 744731 w 1674813"/>
                <a:gd name="connsiteY9" fmla="*/ 1208892 h 2003425"/>
                <a:gd name="connsiteX10" fmla="*/ 764268 w 1674813"/>
                <a:gd name="connsiteY10" fmla="*/ 1179831 h 2003425"/>
                <a:gd name="connsiteX11" fmla="*/ 758145 w 1674813"/>
                <a:gd name="connsiteY11" fmla="*/ 1183879 h 2003425"/>
                <a:gd name="connsiteX12" fmla="*/ 753886 w 1674813"/>
                <a:gd name="connsiteY12" fmla="*/ 1186694 h 2003425"/>
                <a:gd name="connsiteX13" fmla="*/ 755457 w 1674813"/>
                <a:gd name="connsiteY13" fmla="*/ 1192937 h 2003425"/>
                <a:gd name="connsiteX14" fmla="*/ 759165 w 1674813"/>
                <a:gd name="connsiteY14" fmla="*/ 1187421 h 2003425"/>
                <a:gd name="connsiteX15" fmla="*/ 764268 w 1674813"/>
                <a:gd name="connsiteY15" fmla="*/ 1179831 h 2003425"/>
                <a:gd name="connsiteX16" fmla="*/ 748110 w 1674813"/>
                <a:gd name="connsiteY16" fmla="*/ 1163724 h 2003425"/>
                <a:gd name="connsiteX17" fmla="*/ 749070 w 1674813"/>
                <a:gd name="connsiteY17" fmla="*/ 1167541 h 2003425"/>
                <a:gd name="connsiteX18" fmla="*/ 750305 w 1674813"/>
                <a:gd name="connsiteY18" fmla="*/ 1165907 h 2003425"/>
                <a:gd name="connsiteX19" fmla="*/ 757670 w 1674813"/>
                <a:gd name="connsiteY19" fmla="*/ 1150717 h 2003425"/>
                <a:gd name="connsiteX20" fmla="*/ 756103 w 1674813"/>
                <a:gd name="connsiteY20" fmla="*/ 1151494 h 2003425"/>
                <a:gd name="connsiteX21" fmla="*/ 752090 w 1674813"/>
                <a:gd name="connsiteY21" fmla="*/ 1153484 h 2003425"/>
                <a:gd name="connsiteX22" fmla="*/ 753195 w 1674813"/>
                <a:gd name="connsiteY22" fmla="*/ 1155131 h 2003425"/>
                <a:gd name="connsiteX23" fmla="*/ 755667 w 1674813"/>
                <a:gd name="connsiteY23" fmla="*/ 1158818 h 2003425"/>
                <a:gd name="connsiteX24" fmla="*/ 756614 w 1674813"/>
                <a:gd name="connsiteY24" fmla="*/ 1157566 h 2003425"/>
                <a:gd name="connsiteX25" fmla="*/ 760967 w 1674813"/>
                <a:gd name="connsiteY25" fmla="*/ 1151810 h 2003425"/>
                <a:gd name="connsiteX26" fmla="*/ 749781 w 1674813"/>
                <a:gd name="connsiteY26" fmla="*/ 1029473 h 2003425"/>
                <a:gd name="connsiteX27" fmla="*/ 748418 w 1674813"/>
                <a:gd name="connsiteY27" fmla="*/ 1033645 h 2003425"/>
                <a:gd name="connsiteX28" fmla="*/ 746186 w 1674813"/>
                <a:gd name="connsiteY28" fmla="*/ 1049975 h 2003425"/>
                <a:gd name="connsiteX29" fmla="*/ 715282 w 1674813"/>
                <a:gd name="connsiteY29" fmla="*/ 1001713 h 2003425"/>
                <a:gd name="connsiteX30" fmla="*/ 715120 w 1674813"/>
                <a:gd name="connsiteY30" fmla="*/ 1001882 h 2003425"/>
                <a:gd name="connsiteX31" fmla="*/ 715084 w 1674813"/>
                <a:gd name="connsiteY31" fmla="*/ 1001811 h 2003425"/>
                <a:gd name="connsiteX32" fmla="*/ 821907 w 1674813"/>
                <a:gd name="connsiteY32" fmla="*/ 940961 h 2003425"/>
                <a:gd name="connsiteX33" fmla="*/ 820289 w 1674813"/>
                <a:gd name="connsiteY33" fmla="*/ 948964 h 2003425"/>
                <a:gd name="connsiteX34" fmla="*/ 837605 w 1674813"/>
                <a:gd name="connsiteY34" fmla="*/ 969620 h 2003425"/>
                <a:gd name="connsiteX35" fmla="*/ 840853 w 1674813"/>
                <a:gd name="connsiteY35" fmla="*/ 973494 h 2003425"/>
                <a:gd name="connsiteX36" fmla="*/ 837456 w 1674813"/>
                <a:gd name="connsiteY36" fmla="*/ 953327 h 2003425"/>
                <a:gd name="connsiteX37" fmla="*/ 823780 w 1674813"/>
                <a:gd name="connsiteY37" fmla="*/ 942451 h 2003425"/>
                <a:gd name="connsiteX38" fmla="*/ 894484 w 1674813"/>
                <a:gd name="connsiteY38" fmla="*/ 936890 h 2003425"/>
                <a:gd name="connsiteX39" fmla="*/ 894438 w 1674813"/>
                <a:gd name="connsiteY39" fmla="*/ 937121 h 2003425"/>
                <a:gd name="connsiteX40" fmla="*/ 894486 w 1674813"/>
                <a:gd name="connsiteY40" fmla="*/ 937182 h 2003425"/>
                <a:gd name="connsiteX41" fmla="*/ 796925 w 1674813"/>
                <a:gd name="connsiteY41" fmla="*/ 921094 h 2003425"/>
                <a:gd name="connsiteX42" fmla="*/ 809638 w 1674813"/>
                <a:gd name="connsiteY42" fmla="*/ 936259 h 2003425"/>
                <a:gd name="connsiteX43" fmla="*/ 812944 w 1674813"/>
                <a:gd name="connsiteY43" fmla="*/ 940203 h 2003425"/>
                <a:gd name="connsiteX44" fmla="*/ 812944 w 1674813"/>
                <a:gd name="connsiteY44" fmla="*/ 936890 h 2003425"/>
                <a:gd name="connsiteX45" fmla="*/ 812944 w 1674813"/>
                <a:gd name="connsiteY45" fmla="*/ 933833 h 2003425"/>
                <a:gd name="connsiteX46" fmla="*/ 861868 w 1674813"/>
                <a:gd name="connsiteY46" fmla="*/ 920751 h 2003425"/>
                <a:gd name="connsiteX47" fmla="*/ 859830 w 1674813"/>
                <a:gd name="connsiteY47" fmla="*/ 930838 h 2003425"/>
                <a:gd name="connsiteX48" fmla="*/ 855569 w 1674813"/>
                <a:gd name="connsiteY48" fmla="*/ 951924 h 2003425"/>
                <a:gd name="connsiteX49" fmla="*/ 868115 w 1674813"/>
                <a:gd name="connsiteY49" fmla="*/ 970631 h 2003425"/>
                <a:gd name="connsiteX50" fmla="*/ 870991 w 1674813"/>
                <a:gd name="connsiteY50" fmla="*/ 974919 h 2003425"/>
                <a:gd name="connsiteX51" fmla="*/ 870022 w 1674813"/>
                <a:gd name="connsiteY51" fmla="*/ 969170 h 2003425"/>
                <a:gd name="connsiteX52" fmla="*/ 861868 w 1674813"/>
                <a:gd name="connsiteY52" fmla="*/ 920751 h 2003425"/>
                <a:gd name="connsiteX53" fmla="*/ 471375 w 1674813"/>
                <a:gd name="connsiteY53" fmla="*/ 920751 h 2003425"/>
                <a:gd name="connsiteX54" fmla="*/ 485056 w 1674813"/>
                <a:gd name="connsiteY54" fmla="*/ 934368 h 2003425"/>
                <a:gd name="connsiteX55" fmla="*/ 487528 w 1674813"/>
                <a:gd name="connsiteY55" fmla="*/ 936828 h 2003425"/>
                <a:gd name="connsiteX56" fmla="*/ 482114 w 1674813"/>
                <a:gd name="connsiteY56" fmla="*/ 926095 h 2003425"/>
                <a:gd name="connsiteX57" fmla="*/ 877752 w 1674813"/>
                <a:gd name="connsiteY57" fmla="*/ 916389 h 2003425"/>
                <a:gd name="connsiteX58" fmla="*/ 883487 w 1674813"/>
                <a:gd name="connsiteY58" fmla="*/ 923515 h 2003425"/>
                <a:gd name="connsiteX59" fmla="*/ 918569 w 1674813"/>
                <a:gd name="connsiteY59" fmla="*/ 941770 h 2003425"/>
                <a:gd name="connsiteX60" fmla="*/ 900004 w 1674813"/>
                <a:gd name="connsiteY60" fmla="*/ 929036 h 2003425"/>
                <a:gd name="connsiteX61" fmla="*/ 254292 w 1674813"/>
                <a:gd name="connsiteY61" fmla="*/ 906846 h 2003425"/>
                <a:gd name="connsiteX62" fmla="*/ 222400 w 1674813"/>
                <a:gd name="connsiteY62" fmla="*/ 933939 h 2003425"/>
                <a:gd name="connsiteX63" fmla="*/ 243451 w 1674813"/>
                <a:gd name="connsiteY63" fmla="*/ 920667 h 2003425"/>
                <a:gd name="connsiteX64" fmla="*/ 259735 w 1674813"/>
                <a:gd name="connsiteY64" fmla="*/ 1017421 h 2003425"/>
                <a:gd name="connsiteX65" fmla="*/ 227166 w 1674813"/>
                <a:gd name="connsiteY65" fmla="*/ 936793 h 2003425"/>
                <a:gd name="connsiteX66" fmla="*/ 227166 w 1674813"/>
                <a:gd name="connsiteY66" fmla="*/ 1033547 h 2003425"/>
                <a:gd name="connsiteX67" fmla="*/ 194597 w 1674813"/>
                <a:gd name="connsiteY67" fmla="*/ 969044 h 2003425"/>
                <a:gd name="connsiteX68" fmla="*/ 210881 w 1674813"/>
                <a:gd name="connsiteY68" fmla="*/ 1049673 h 2003425"/>
                <a:gd name="connsiteX69" fmla="*/ 190271 w 1674813"/>
                <a:gd name="connsiteY69" fmla="*/ 1022461 h 2003425"/>
                <a:gd name="connsiteX70" fmla="*/ 162053 w 1674813"/>
                <a:gd name="connsiteY70" fmla="*/ 985204 h 2003425"/>
                <a:gd name="connsiteX71" fmla="*/ 162037 w 1674813"/>
                <a:gd name="connsiteY71" fmla="*/ 985217 h 2003425"/>
                <a:gd name="connsiteX72" fmla="*/ 164572 w 1674813"/>
                <a:gd name="connsiteY72" fmla="*/ 997768 h 2003425"/>
                <a:gd name="connsiteX73" fmla="*/ 178312 w 1674813"/>
                <a:gd name="connsiteY73" fmla="*/ 1065798 h 2003425"/>
                <a:gd name="connsiteX74" fmla="*/ 145742 w 1674813"/>
                <a:gd name="connsiteY74" fmla="*/ 1001296 h 2003425"/>
                <a:gd name="connsiteX75" fmla="*/ 145742 w 1674813"/>
                <a:gd name="connsiteY75" fmla="*/ 1081924 h 2003425"/>
                <a:gd name="connsiteX76" fmla="*/ 113173 w 1674813"/>
                <a:gd name="connsiteY76" fmla="*/ 1033547 h 2003425"/>
                <a:gd name="connsiteX77" fmla="*/ 113173 w 1674813"/>
                <a:gd name="connsiteY77" fmla="*/ 1098050 h 2003425"/>
                <a:gd name="connsiteX78" fmla="*/ 96888 w 1674813"/>
                <a:gd name="connsiteY78" fmla="*/ 1049673 h 2003425"/>
                <a:gd name="connsiteX79" fmla="*/ 96888 w 1674813"/>
                <a:gd name="connsiteY79" fmla="*/ 1098050 h 2003425"/>
                <a:gd name="connsiteX80" fmla="*/ 80604 w 1674813"/>
                <a:gd name="connsiteY80" fmla="*/ 1065798 h 2003425"/>
                <a:gd name="connsiteX81" fmla="*/ 64319 w 1674813"/>
                <a:gd name="connsiteY81" fmla="*/ 1114175 h 2003425"/>
                <a:gd name="connsiteX82" fmla="*/ 64319 w 1674813"/>
                <a:gd name="connsiteY82" fmla="*/ 1081924 h 2003425"/>
                <a:gd name="connsiteX83" fmla="*/ 48034 w 1674813"/>
                <a:gd name="connsiteY83" fmla="*/ 1114175 h 2003425"/>
                <a:gd name="connsiteX84" fmla="*/ 31750 w 1674813"/>
                <a:gd name="connsiteY84" fmla="*/ 1130301 h 2003425"/>
                <a:gd name="connsiteX85" fmla="*/ 48034 w 1674813"/>
                <a:gd name="connsiteY85" fmla="*/ 1098050 h 2003425"/>
                <a:gd name="connsiteX86" fmla="*/ 48055 w 1674813"/>
                <a:gd name="connsiteY86" fmla="*/ 1098012 h 2003425"/>
                <a:gd name="connsiteX87" fmla="*/ 47625 w 1674813"/>
                <a:gd name="connsiteY87" fmla="*/ 1098551 h 2003425"/>
                <a:gd name="connsiteX88" fmla="*/ 48203 w 1674813"/>
                <a:gd name="connsiteY88" fmla="*/ 1097741 h 2003425"/>
                <a:gd name="connsiteX89" fmla="*/ 69408 w 1674813"/>
                <a:gd name="connsiteY89" fmla="*/ 1058995 h 2003425"/>
                <a:gd name="connsiteX90" fmla="*/ 99324 w 1674813"/>
                <a:gd name="connsiteY90" fmla="*/ 1026143 h 2003425"/>
                <a:gd name="connsiteX91" fmla="*/ 101822 w 1674813"/>
                <a:gd name="connsiteY91" fmla="*/ 1022645 h 2003425"/>
                <a:gd name="connsiteX92" fmla="*/ 107230 w 1674813"/>
                <a:gd name="connsiteY92" fmla="*/ 1017462 h 2003425"/>
                <a:gd name="connsiteX93" fmla="*/ 109102 w 1674813"/>
                <a:gd name="connsiteY93" fmla="*/ 1015406 h 2003425"/>
                <a:gd name="connsiteX94" fmla="*/ 110789 w 1674813"/>
                <a:gd name="connsiteY94" fmla="*/ 1014050 h 2003425"/>
                <a:gd name="connsiteX95" fmla="*/ 163653 w 1674813"/>
                <a:gd name="connsiteY95" fmla="*/ 963382 h 2003425"/>
                <a:gd name="connsiteX96" fmla="*/ 228537 w 1674813"/>
                <a:gd name="connsiteY96" fmla="*/ 919250 h 2003425"/>
                <a:gd name="connsiteX97" fmla="*/ 829252 w 1674813"/>
                <a:gd name="connsiteY97" fmla="*/ 904611 h 2003425"/>
                <a:gd name="connsiteX98" fmla="*/ 828997 w 1674813"/>
                <a:gd name="connsiteY98" fmla="*/ 905872 h 2003425"/>
                <a:gd name="connsiteX99" fmla="*/ 827999 w 1674813"/>
                <a:gd name="connsiteY99" fmla="*/ 910814 h 2003425"/>
                <a:gd name="connsiteX100" fmla="*/ 831067 w 1674813"/>
                <a:gd name="connsiteY100" fmla="*/ 915390 h 2003425"/>
                <a:gd name="connsiteX101" fmla="*/ 829953 w 1674813"/>
                <a:gd name="connsiteY101" fmla="*/ 908772 h 2003425"/>
                <a:gd name="connsiteX102" fmla="*/ 829252 w 1674813"/>
                <a:gd name="connsiteY102" fmla="*/ 904611 h 2003425"/>
                <a:gd name="connsiteX103" fmla="*/ 600982 w 1674813"/>
                <a:gd name="connsiteY103" fmla="*/ 872173 h 2003425"/>
                <a:gd name="connsiteX104" fmla="*/ 598941 w 1674813"/>
                <a:gd name="connsiteY104" fmla="*/ 874197 h 2003425"/>
                <a:gd name="connsiteX105" fmla="*/ 596076 w 1674813"/>
                <a:gd name="connsiteY105" fmla="*/ 877038 h 2003425"/>
                <a:gd name="connsiteX106" fmla="*/ 599033 w 1674813"/>
                <a:gd name="connsiteY106" fmla="*/ 900493 h 2003425"/>
                <a:gd name="connsiteX107" fmla="*/ 600879 w 1674813"/>
                <a:gd name="connsiteY107" fmla="*/ 915130 h 2003425"/>
                <a:gd name="connsiteX108" fmla="*/ 600982 w 1674813"/>
                <a:gd name="connsiteY108" fmla="*/ 915943 h 2003425"/>
                <a:gd name="connsiteX109" fmla="*/ 600982 w 1674813"/>
                <a:gd name="connsiteY109" fmla="*/ 914678 h 2003425"/>
                <a:gd name="connsiteX110" fmla="*/ 600982 w 1674813"/>
                <a:gd name="connsiteY110" fmla="*/ 872173 h 2003425"/>
                <a:gd name="connsiteX111" fmla="*/ 36280 w 1674813"/>
                <a:gd name="connsiteY111" fmla="*/ 869393 h 2003425"/>
                <a:gd name="connsiteX112" fmla="*/ 34552 w 1674813"/>
                <a:gd name="connsiteY112" fmla="*/ 871109 h 2003425"/>
                <a:gd name="connsiteX113" fmla="*/ 32519 w 1674813"/>
                <a:gd name="connsiteY113" fmla="*/ 873126 h 2003425"/>
                <a:gd name="connsiteX114" fmla="*/ 335306 w 1674813"/>
                <a:gd name="connsiteY114" fmla="*/ 868711 h 2003425"/>
                <a:gd name="connsiteX115" fmla="*/ 291895 w 1674813"/>
                <a:gd name="connsiteY115" fmla="*/ 888736 h 2003425"/>
                <a:gd name="connsiteX116" fmla="*/ 254292 w 1674813"/>
                <a:gd name="connsiteY116" fmla="*/ 906846 h 2003425"/>
                <a:gd name="connsiteX117" fmla="*/ 275610 w 1674813"/>
                <a:gd name="connsiteY117" fmla="*/ 888736 h 2003425"/>
                <a:gd name="connsiteX118" fmla="*/ 764988 w 1674813"/>
                <a:gd name="connsiteY118" fmla="*/ 868077 h 2003425"/>
                <a:gd name="connsiteX119" fmla="*/ 764883 w 1674813"/>
                <a:gd name="connsiteY119" fmla="*/ 868492 h 2003425"/>
                <a:gd name="connsiteX120" fmla="*/ 794307 w 1674813"/>
                <a:gd name="connsiteY120" fmla="*/ 879301 h 2003425"/>
                <a:gd name="connsiteX121" fmla="*/ 794935 w 1674813"/>
                <a:gd name="connsiteY121" fmla="*/ 877700 h 2003425"/>
                <a:gd name="connsiteX122" fmla="*/ 755135 w 1674813"/>
                <a:gd name="connsiteY122" fmla="*/ 864910 h 2003425"/>
                <a:gd name="connsiteX123" fmla="*/ 763099 w 1674813"/>
                <a:gd name="connsiteY123" fmla="*/ 867836 h 2003425"/>
                <a:gd name="connsiteX124" fmla="*/ 763041 w 1674813"/>
                <a:gd name="connsiteY124" fmla="*/ 867451 h 2003425"/>
                <a:gd name="connsiteX125" fmla="*/ 715048 w 1674813"/>
                <a:gd name="connsiteY125" fmla="*/ 852029 h 2003425"/>
                <a:gd name="connsiteX126" fmla="*/ 715048 w 1674813"/>
                <a:gd name="connsiteY126" fmla="*/ 852445 h 2003425"/>
                <a:gd name="connsiteX127" fmla="*/ 719562 w 1674813"/>
                <a:gd name="connsiteY127" fmla="*/ 853479 h 2003425"/>
                <a:gd name="connsiteX128" fmla="*/ 861387 w 1674813"/>
                <a:gd name="connsiteY128" fmla="*/ 847994 h 2003425"/>
                <a:gd name="connsiteX129" fmla="*/ 861387 w 1674813"/>
                <a:gd name="connsiteY129" fmla="*/ 851539 h 2003425"/>
                <a:gd name="connsiteX130" fmla="*/ 861387 w 1674813"/>
                <a:gd name="connsiteY130" fmla="*/ 855771 h 2003425"/>
                <a:gd name="connsiteX131" fmla="*/ 878285 w 1674813"/>
                <a:gd name="connsiteY131" fmla="*/ 872568 h 2003425"/>
                <a:gd name="connsiteX132" fmla="*/ 893221 w 1674813"/>
                <a:gd name="connsiteY132" fmla="*/ 887416 h 2003425"/>
                <a:gd name="connsiteX133" fmla="*/ 888825 w 1674813"/>
                <a:gd name="connsiteY133" fmla="*/ 878711 h 2003425"/>
                <a:gd name="connsiteX134" fmla="*/ 877647 w 1674813"/>
                <a:gd name="connsiteY134" fmla="*/ 856571 h 2003425"/>
                <a:gd name="connsiteX135" fmla="*/ 877313 w 1674813"/>
                <a:gd name="connsiteY135" fmla="*/ 855910 h 2003425"/>
                <a:gd name="connsiteX136" fmla="*/ 695856 w 1674813"/>
                <a:gd name="connsiteY136" fmla="*/ 846027 h 2003425"/>
                <a:gd name="connsiteX137" fmla="*/ 696756 w 1674813"/>
                <a:gd name="connsiteY137" fmla="*/ 846151 h 2003425"/>
                <a:gd name="connsiteX138" fmla="*/ 697987 w 1674813"/>
                <a:gd name="connsiteY138" fmla="*/ 846546 h 2003425"/>
                <a:gd name="connsiteX139" fmla="*/ 926426 w 1674813"/>
                <a:gd name="connsiteY139" fmla="*/ 840469 h 2003425"/>
                <a:gd name="connsiteX140" fmla="*/ 910166 w 1674813"/>
                <a:gd name="connsiteY140" fmla="*/ 888774 h 2003425"/>
                <a:gd name="connsiteX141" fmla="*/ 907626 w 1674813"/>
                <a:gd name="connsiteY141" fmla="*/ 878711 h 2003425"/>
                <a:gd name="connsiteX142" fmla="*/ 905393 w 1674813"/>
                <a:gd name="connsiteY142" fmla="*/ 869867 h 2003425"/>
                <a:gd name="connsiteX143" fmla="*/ 902692 w 1674813"/>
                <a:gd name="connsiteY143" fmla="*/ 868524 h 2003425"/>
                <a:gd name="connsiteX144" fmla="*/ 893907 w 1674813"/>
                <a:gd name="connsiteY144" fmla="*/ 864158 h 2003425"/>
                <a:gd name="connsiteX145" fmla="*/ 893907 w 1674813"/>
                <a:gd name="connsiteY145" fmla="*/ 888098 h 2003425"/>
                <a:gd name="connsiteX146" fmla="*/ 900658 w 1674813"/>
                <a:gd name="connsiteY146" fmla="*/ 894809 h 2003425"/>
                <a:gd name="connsiteX147" fmla="*/ 910828 w 1674813"/>
                <a:gd name="connsiteY147" fmla="*/ 904919 h 2003425"/>
                <a:gd name="connsiteX148" fmla="*/ 876505 w 1674813"/>
                <a:gd name="connsiteY148" fmla="*/ 884447 h 2003425"/>
                <a:gd name="connsiteX149" fmla="*/ 861387 w 1674813"/>
                <a:gd name="connsiteY149" fmla="*/ 875430 h 2003425"/>
                <a:gd name="connsiteX150" fmla="*/ 861387 w 1674813"/>
                <a:gd name="connsiteY150" fmla="*/ 888774 h 2003425"/>
                <a:gd name="connsiteX151" fmla="*/ 858846 w 1674813"/>
                <a:gd name="connsiteY151" fmla="*/ 876195 h 2003425"/>
                <a:gd name="connsiteX152" fmla="*/ 858323 w 1674813"/>
                <a:gd name="connsiteY152" fmla="*/ 873602 h 2003425"/>
                <a:gd name="connsiteX153" fmla="*/ 856324 w 1674813"/>
                <a:gd name="connsiteY153" fmla="*/ 872410 h 2003425"/>
                <a:gd name="connsiteX154" fmla="*/ 834769 w 1674813"/>
                <a:gd name="connsiteY154" fmla="*/ 859554 h 2003425"/>
                <a:gd name="connsiteX155" fmla="*/ 834216 w 1674813"/>
                <a:gd name="connsiteY155" fmla="*/ 862292 h 2003425"/>
                <a:gd name="connsiteX156" fmla="*/ 839639 w 1674813"/>
                <a:gd name="connsiteY156" fmla="*/ 869030 h 2003425"/>
                <a:gd name="connsiteX157" fmla="*/ 862013 w 1674813"/>
                <a:gd name="connsiteY157" fmla="*/ 896831 h 2003425"/>
                <a:gd name="connsiteX158" fmla="*/ 873008 w 1674813"/>
                <a:gd name="connsiteY158" fmla="*/ 910494 h 2003425"/>
                <a:gd name="connsiteX159" fmla="*/ 929761 w 1674813"/>
                <a:gd name="connsiteY159" fmla="*/ 938638 h 2003425"/>
                <a:gd name="connsiteX160" fmla="*/ 934244 w 1674813"/>
                <a:gd name="connsiteY160" fmla="*/ 942016 h 2003425"/>
                <a:gd name="connsiteX161" fmla="*/ 937337 w 1674813"/>
                <a:gd name="connsiteY161" fmla="*/ 910172 h 2003425"/>
                <a:gd name="connsiteX162" fmla="*/ 940149 w 1674813"/>
                <a:gd name="connsiteY162" fmla="*/ 881236 h 2003425"/>
                <a:gd name="connsiteX163" fmla="*/ 940146 w 1674813"/>
                <a:gd name="connsiteY163" fmla="*/ 881227 h 2003425"/>
                <a:gd name="connsiteX164" fmla="*/ 926426 w 1674813"/>
                <a:gd name="connsiteY164" fmla="*/ 840469 h 2003425"/>
                <a:gd name="connsiteX165" fmla="*/ 845741 w 1674813"/>
                <a:gd name="connsiteY165" fmla="*/ 840217 h 2003425"/>
                <a:gd name="connsiteX166" fmla="*/ 853047 w 1674813"/>
                <a:gd name="connsiteY166" fmla="*/ 847480 h 2003425"/>
                <a:gd name="connsiteX167" fmla="*/ 852232 w 1674813"/>
                <a:gd name="connsiteY167" fmla="*/ 843444 h 2003425"/>
                <a:gd name="connsiteX168" fmla="*/ 600941 w 1674813"/>
                <a:gd name="connsiteY168" fmla="*/ 840053 h 2003425"/>
                <a:gd name="connsiteX169" fmla="*/ 602979 w 1674813"/>
                <a:gd name="connsiteY169" fmla="*/ 844088 h 2003425"/>
                <a:gd name="connsiteX170" fmla="*/ 607121 w 1674813"/>
                <a:gd name="connsiteY170" fmla="*/ 852285 h 2003425"/>
                <a:gd name="connsiteX171" fmla="*/ 609656 w 1674813"/>
                <a:gd name="connsiteY171" fmla="*/ 853451 h 2003425"/>
                <a:gd name="connsiteX172" fmla="*/ 621023 w 1674813"/>
                <a:gd name="connsiteY172" fmla="*/ 862324 h 2003425"/>
                <a:gd name="connsiteX173" fmla="*/ 614203 w 1674813"/>
                <a:gd name="connsiteY173" fmla="*/ 848803 h 2003425"/>
                <a:gd name="connsiteX174" fmla="*/ 471436 w 1674813"/>
                <a:gd name="connsiteY174" fmla="*/ 840039 h 2003425"/>
                <a:gd name="connsiteX175" fmla="*/ 464566 w 1674813"/>
                <a:gd name="connsiteY175" fmla="*/ 860448 h 2003425"/>
                <a:gd name="connsiteX176" fmla="*/ 458095 w 1674813"/>
                <a:gd name="connsiteY176" fmla="*/ 879670 h 2003425"/>
                <a:gd name="connsiteX177" fmla="*/ 459518 w 1674813"/>
                <a:gd name="connsiteY177" fmla="*/ 878389 h 2003425"/>
                <a:gd name="connsiteX178" fmla="*/ 471436 w 1674813"/>
                <a:gd name="connsiteY178" fmla="*/ 866890 h 2003425"/>
                <a:gd name="connsiteX179" fmla="*/ 471436 w 1674813"/>
                <a:gd name="connsiteY179" fmla="*/ 858684 h 2003425"/>
                <a:gd name="connsiteX180" fmla="*/ 471436 w 1674813"/>
                <a:gd name="connsiteY180" fmla="*/ 840039 h 2003425"/>
                <a:gd name="connsiteX181" fmla="*/ 560711 w 1674813"/>
                <a:gd name="connsiteY181" fmla="*/ 839656 h 2003425"/>
                <a:gd name="connsiteX182" fmla="*/ 558178 w 1674813"/>
                <a:gd name="connsiteY182" fmla="*/ 839788 h 2003425"/>
                <a:gd name="connsiteX183" fmla="*/ 560778 w 1674813"/>
                <a:gd name="connsiteY183" fmla="*/ 839788 h 2003425"/>
                <a:gd name="connsiteX184" fmla="*/ 632112 w 1674813"/>
                <a:gd name="connsiteY184" fmla="*/ 837227 h 2003425"/>
                <a:gd name="connsiteX185" fmla="*/ 633537 w 1674813"/>
                <a:gd name="connsiteY185" fmla="*/ 840049 h 2003425"/>
                <a:gd name="connsiteX186" fmla="*/ 633557 w 1674813"/>
                <a:gd name="connsiteY186" fmla="*/ 840053 h 2003425"/>
                <a:gd name="connsiteX187" fmla="*/ 649865 w 1674813"/>
                <a:gd name="connsiteY187" fmla="*/ 872332 h 2003425"/>
                <a:gd name="connsiteX188" fmla="*/ 643749 w 1674813"/>
                <a:gd name="connsiteY188" fmla="*/ 868297 h 2003425"/>
                <a:gd name="connsiteX189" fmla="*/ 629959 w 1674813"/>
                <a:gd name="connsiteY189" fmla="*/ 859199 h 2003425"/>
                <a:gd name="connsiteX190" fmla="*/ 631600 w 1674813"/>
                <a:gd name="connsiteY190" fmla="*/ 870581 h 2003425"/>
                <a:gd name="connsiteX191" fmla="*/ 633639 w 1674813"/>
                <a:gd name="connsiteY191" fmla="*/ 872173 h 2003425"/>
                <a:gd name="connsiteX192" fmla="*/ 671240 w 1674813"/>
                <a:gd name="connsiteY192" fmla="*/ 922269 h 2003425"/>
                <a:gd name="connsiteX193" fmla="*/ 674610 w 1674813"/>
                <a:gd name="connsiteY193" fmla="*/ 928371 h 2003425"/>
                <a:gd name="connsiteX194" fmla="*/ 678543 w 1674813"/>
                <a:gd name="connsiteY194" fmla="*/ 932856 h 2003425"/>
                <a:gd name="connsiteX195" fmla="*/ 731610 w 1674813"/>
                <a:gd name="connsiteY195" fmla="*/ 1017588 h 2003425"/>
                <a:gd name="connsiteX196" fmla="*/ 706428 w 1674813"/>
                <a:gd name="connsiteY196" fmla="*/ 985970 h 2003425"/>
                <a:gd name="connsiteX197" fmla="*/ 714006 w 1674813"/>
                <a:gd name="connsiteY197" fmla="*/ 999689 h 2003425"/>
                <a:gd name="connsiteX198" fmla="*/ 715084 w 1674813"/>
                <a:gd name="connsiteY198" fmla="*/ 1001811 h 2003425"/>
                <a:gd name="connsiteX199" fmla="*/ 714261 w 1674813"/>
                <a:gd name="connsiteY199" fmla="*/ 1002219 h 2003425"/>
                <a:gd name="connsiteX200" fmla="*/ 649968 w 1674813"/>
                <a:gd name="connsiteY200" fmla="*/ 1034098 h 2003425"/>
                <a:gd name="connsiteX201" fmla="*/ 682625 w 1674813"/>
                <a:gd name="connsiteY201" fmla="*/ 985521 h 2003425"/>
                <a:gd name="connsiteX202" fmla="*/ 649968 w 1674813"/>
                <a:gd name="connsiteY202" fmla="*/ 1017906 h 2003425"/>
                <a:gd name="connsiteX203" fmla="*/ 682625 w 1674813"/>
                <a:gd name="connsiteY203" fmla="*/ 969328 h 2003425"/>
                <a:gd name="connsiteX204" fmla="*/ 633639 w 1674813"/>
                <a:gd name="connsiteY204" fmla="*/ 985521 h 2003425"/>
                <a:gd name="connsiteX205" fmla="*/ 666296 w 1674813"/>
                <a:gd name="connsiteY205" fmla="*/ 953136 h 2003425"/>
                <a:gd name="connsiteX206" fmla="*/ 633639 w 1674813"/>
                <a:gd name="connsiteY206" fmla="*/ 969328 h 2003425"/>
                <a:gd name="connsiteX207" fmla="*/ 649968 w 1674813"/>
                <a:gd name="connsiteY207" fmla="*/ 936943 h 2003425"/>
                <a:gd name="connsiteX208" fmla="*/ 617310 w 1674813"/>
                <a:gd name="connsiteY208" fmla="*/ 953136 h 2003425"/>
                <a:gd name="connsiteX209" fmla="*/ 633639 w 1674813"/>
                <a:gd name="connsiteY209" fmla="*/ 904558 h 2003425"/>
                <a:gd name="connsiteX210" fmla="*/ 600982 w 1674813"/>
                <a:gd name="connsiteY210" fmla="*/ 936943 h 2003425"/>
                <a:gd name="connsiteX211" fmla="*/ 617310 w 1674813"/>
                <a:gd name="connsiteY211" fmla="*/ 888366 h 2003425"/>
                <a:gd name="connsiteX212" fmla="*/ 610422 w 1674813"/>
                <a:gd name="connsiteY212" fmla="*/ 902028 h 2003425"/>
                <a:gd name="connsiteX213" fmla="*/ 601467 w 1674813"/>
                <a:gd name="connsiteY213" fmla="*/ 919789 h 2003425"/>
                <a:gd name="connsiteX214" fmla="*/ 601579 w 1674813"/>
                <a:gd name="connsiteY214" fmla="*/ 920682 h 2003425"/>
                <a:gd name="connsiteX215" fmla="*/ 601298 w 1674813"/>
                <a:gd name="connsiteY215" fmla="*/ 920124 h 2003425"/>
                <a:gd name="connsiteX216" fmla="*/ 600982 w 1674813"/>
                <a:gd name="connsiteY216" fmla="*/ 920751 h 2003425"/>
                <a:gd name="connsiteX217" fmla="*/ 600982 w 1674813"/>
                <a:gd name="connsiteY217" fmla="*/ 919992 h 2003425"/>
                <a:gd name="connsiteX218" fmla="*/ 600982 w 1674813"/>
                <a:gd name="connsiteY218" fmla="*/ 919497 h 2003425"/>
                <a:gd name="connsiteX219" fmla="*/ 600816 w 1674813"/>
                <a:gd name="connsiteY219" fmla="*/ 919168 h 2003425"/>
                <a:gd name="connsiteX220" fmla="*/ 595469 w 1674813"/>
                <a:gd name="connsiteY220" fmla="*/ 908568 h 2003425"/>
                <a:gd name="connsiteX221" fmla="*/ 585071 w 1674813"/>
                <a:gd name="connsiteY221" fmla="*/ 887952 h 2003425"/>
                <a:gd name="connsiteX222" fmla="*/ 584653 w 1674813"/>
                <a:gd name="connsiteY222" fmla="*/ 888366 h 2003425"/>
                <a:gd name="connsiteX223" fmla="*/ 583402 w 1674813"/>
                <a:gd name="connsiteY223" fmla="*/ 884644 h 2003425"/>
                <a:gd name="connsiteX224" fmla="*/ 580959 w 1674813"/>
                <a:gd name="connsiteY224" fmla="*/ 879799 h 2003425"/>
                <a:gd name="connsiteX225" fmla="*/ 568835 w 1674813"/>
                <a:gd name="connsiteY225" fmla="*/ 855762 h 2003425"/>
                <a:gd name="connsiteX226" fmla="*/ 567971 w 1674813"/>
                <a:gd name="connsiteY226" fmla="*/ 854050 h 2003425"/>
                <a:gd name="connsiteX227" fmla="*/ 567948 w 1674813"/>
                <a:gd name="connsiteY227" fmla="*/ 854333 h 2003425"/>
                <a:gd name="connsiteX228" fmla="*/ 564504 w 1674813"/>
                <a:gd name="connsiteY228" fmla="*/ 897143 h 2003425"/>
                <a:gd name="connsiteX229" fmla="*/ 564063 w 1674813"/>
                <a:gd name="connsiteY229" fmla="*/ 902618 h 2003425"/>
                <a:gd name="connsiteX230" fmla="*/ 566448 w 1674813"/>
                <a:gd name="connsiteY230" fmla="*/ 919167 h 2003425"/>
                <a:gd name="connsiteX231" fmla="*/ 568994 w 1674813"/>
                <a:gd name="connsiteY231" fmla="*/ 936833 h 2003425"/>
                <a:gd name="connsiteX232" fmla="*/ 562884 w 1674813"/>
                <a:gd name="connsiteY232" fmla="*/ 926738 h 2003425"/>
                <a:gd name="connsiteX233" fmla="*/ 562212 w 1674813"/>
                <a:gd name="connsiteY233" fmla="*/ 925627 h 2003425"/>
                <a:gd name="connsiteX234" fmla="*/ 561468 w 1674813"/>
                <a:gd name="connsiteY234" fmla="*/ 934870 h 2003425"/>
                <a:gd name="connsiteX235" fmla="*/ 536575 w 1674813"/>
                <a:gd name="connsiteY235" fmla="*/ 1244223 h 2003425"/>
                <a:gd name="connsiteX236" fmla="*/ 536575 w 1674813"/>
                <a:gd name="connsiteY236" fmla="*/ 1438351 h 2003425"/>
                <a:gd name="connsiteX237" fmla="*/ 580179 w 1674813"/>
                <a:gd name="connsiteY237" fmla="*/ 1720128 h 2003425"/>
                <a:gd name="connsiteX238" fmla="*/ 590977 w 1674813"/>
                <a:gd name="connsiteY238" fmla="*/ 1789912 h 2003425"/>
                <a:gd name="connsiteX239" fmla="*/ 647156 w 1674813"/>
                <a:gd name="connsiteY239" fmla="*/ 1782403 h 2003425"/>
                <a:gd name="connsiteX240" fmla="*/ 748311 w 1674813"/>
                <a:gd name="connsiteY240" fmla="*/ 1778000 h 2003425"/>
                <a:gd name="connsiteX241" fmla="*/ 944775 w 1674813"/>
                <a:gd name="connsiteY241" fmla="*/ 1795108 h 2003425"/>
                <a:gd name="connsiteX242" fmla="*/ 947991 w 1674813"/>
                <a:gd name="connsiteY242" fmla="*/ 1795848 h 2003425"/>
                <a:gd name="connsiteX243" fmla="*/ 939370 w 1674813"/>
                <a:gd name="connsiteY243" fmla="*/ 1704254 h 2003425"/>
                <a:gd name="connsiteX244" fmla="*/ 911225 w 1674813"/>
                <a:gd name="connsiteY244" fmla="*/ 1405227 h 2003425"/>
                <a:gd name="connsiteX245" fmla="*/ 911225 w 1674813"/>
                <a:gd name="connsiteY245" fmla="*/ 1178936 h 2003425"/>
                <a:gd name="connsiteX246" fmla="*/ 923110 w 1674813"/>
                <a:gd name="connsiteY246" fmla="*/ 1056604 h 2003425"/>
                <a:gd name="connsiteX247" fmla="*/ 927100 w 1674813"/>
                <a:gd name="connsiteY247" fmla="*/ 1015538 h 2003425"/>
                <a:gd name="connsiteX248" fmla="*/ 927100 w 1674813"/>
                <a:gd name="connsiteY248" fmla="*/ 1009519 h 2003425"/>
                <a:gd name="connsiteX249" fmla="*/ 927100 w 1674813"/>
                <a:gd name="connsiteY249" fmla="*/ 969170 h 2003425"/>
                <a:gd name="connsiteX250" fmla="*/ 910792 w 1674813"/>
                <a:gd name="connsiteY250" fmla="*/ 1033728 h 2003425"/>
                <a:gd name="connsiteX251" fmla="*/ 894516 w 1674813"/>
                <a:gd name="connsiteY251" fmla="*/ 941051 h 2003425"/>
                <a:gd name="connsiteX252" fmla="*/ 894487 w 1674813"/>
                <a:gd name="connsiteY252" fmla="*/ 937228 h 2003425"/>
                <a:gd name="connsiteX253" fmla="*/ 894424 w 1674813"/>
                <a:gd name="connsiteY253" fmla="*/ 937190 h 2003425"/>
                <a:gd name="connsiteX254" fmla="*/ 894229 w 1674813"/>
                <a:gd name="connsiteY254" fmla="*/ 938151 h 2003425"/>
                <a:gd name="connsiteX255" fmla="*/ 878176 w 1674813"/>
                <a:gd name="connsiteY255" fmla="*/ 1017588 h 2003425"/>
                <a:gd name="connsiteX256" fmla="*/ 875628 w 1674813"/>
                <a:gd name="connsiteY256" fmla="*/ 1002458 h 2003425"/>
                <a:gd name="connsiteX257" fmla="*/ 871977 w 1674813"/>
                <a:gd name="connsiteY257" fmla="*/ 980780 h 2003425"/>
                <a:gd name="connsiteX258" fmla="*/ 868115 w 1674813"/>
                <a:gd name="connsiteY258" fmla="*/ 977708 h 2003425"/>
                <a:gd name="connsiteX259" fmla="*/ 852817 w 1674813"/>
                <a:gd name="connsiteY259" fmla="*/ 965542 h 2003425"/>
                <a:gd name="connsiteX260" fmla="*/ 849198 w 1674813"/>
                <a:gd name="connsiteY260" fmla="*/ 983449 h 2003425"/>
                <a:gd name="connsiteX261" fmla="*/ 865572 w 1674813"/>
                <a:gd name="connsiteY261" fmla="*/ 1002982 h 2003425"/>
                <a:gd name="connsiteX262" fmla="*/ 878285 w 1674813"/>
                <a:gd name="connsiteY262" fmla="*/ 1018146 h 2003425"/>
                <a:gd name="connsiteX263" fmla="*/ 866081 w 1674813"/>
                <a:gd name="connsiteY263" fmla="*/ 1010058 h 2003425"/>
                <a:gd name="connsiteX264" fmla="*/ 846449 w 1674813"/>
                <a:gd name="connsiteY264" fmla="*/ 997049 h 2003425"/>
                <a:gd name="connsiteX265" fmla="*/ 845560 w 1674813"/>
                <a:gd name="connsiteY265" fmla="*/ 1001449 h 2003425"/>
                <a:gd name="connsiteX266" fmla="*/ 844860 w 1674813"/>
                <a:gd name="connsiteY266" fmla="*/ 997288 h 2003425"/>
                <a:gd name="connsiteX267" fmla="*/ 844614 w 1674813"/>
                <a:gd name="connsiteY267" fmla="*/ 995833 h 2003425"/>
                <a:gd name="connsiteX268" fmla="*/ 837096 w 1674813"/>
                <a:gd name="connsiteY268" fmla="*/ 990850 h 2003425"/>
                <a:gd name="connsiteX269" fmla="*/ 814809 w 1674813"/>
                <a:gd name="connsiteY269" fmla="*/ 976080 h 2003425"/>
                <a:gd name="connsiteX270" fmla="*/ 812944 w 1674813"/>
                <a:gd name="connsiteY270" fmla="*/ 985309 h 2003425"/>
                <a:gd name="connsiteX271" fmla="*/ 812944 w 1674813"/>
                <a:gd name="connsiteY271" fmla="*/ 981148 h 2003425"/>
                <a:gd name="connsiteX272" fmla="*/ 812944 w 1674813"/>
                <a:gd name="connsiteY272" fmla="*/ 974844 h 2003425"/>
                <a:gd name="connsiteX273" fmla="*/ 812879 w 1674813"/>
                <a:gd name="connsiteY273" fmla="*/ 974801 h 2003425"/>
                <a:gd name="connsiteX274" fmla="*/ 780653 w 1674813"/>
                <a:gd name="connsiteY274" fmla="*/ 953445 h 2003425"/>
                <a:gd name="connsiteX275" fmla="*/ 862013 w 1674813"/>
                <a:gd name="connsiteY275" fmla="*/ 1050497 h 2003425"/>
                <a:gd name="connsiteX276" fmla="*/ 780653 w 1674813"/>
                <a:gd name="connsiteY276" fmla="*/ 1001971 h 2003425"/>
                <a:gd name="connsiteX277" fmla="*/ 845741 w 1674813"/>
                <a:gd name="connsiteY277" fmla="*/ 1082848 h 2003425"/>
                <a:gd name="connsiteX278" fmla="*/ 764382 w 1674813"/>
                <a:gd name="connsiteY278" fmla="*/ 1034322 h 2003425"/>
                <a:gd name="connsiteX279" fmla="*/ 829469 w 1674813"/>
                <a:gd name="connsiteY279" fmla="*/ 1099023 h 2003425"/>
                <a:gd name="connsiteX280" fmla="*/ 774965 w 1674813"/>
                <a:gd name="connsiteY280" fmla="*/ 1077350 h 2003425"/>
                <a:gd name="connsiteX281" fmla="*/ 754306 w 1674813"/>
                <a:gd name="connsiteY281" fmla="*/ 1069136 h 2003425"/>
                <a:gd name="connsiteX282" fmla="*/ 755593 w 1674813"/>
                <a:gd name="connsiteY282" fmla="*/ 1072060 h 2003425"/>
                <a:gd name="connsiteX283" fmla="*/ 756531 w 1674813"/>
                <a:gd name="connsiteY283" fmla="*/ 1075043 h 2003425"/>
                <a:gd name="connsiteX284" fmla="*/ 758280 w 1674813"/>
                <a:gd name="connsiteY284" fmla="*/ 1076782 h 2003425"/>
                <a:gd name="connsiteX285" fmla="*/ 813197 w 1674813"/>
                <a:gd name="connsiteY285" fmla="*/ 1131374 h 2003425"/>
                <a:gd name="connsiteX286" fmla="*/ 785738 w 1674813"/>
                <a:gd name="connsiteY286" fmla="*/ 1124550 h 2003425"/>
                <a:gd name="connsiteX287" fmla="*/ 770932 w 1674813"/>
                <a:gd name="connsiteY287" fmla="*/ 1120870 h 2003425"/>
                <a:gd name="connsiteX288" fmla="*/ 776514 w 1674813"/>
                <a:gd name="connsiteY288" fmla="*/ 1138635 h 2003425"/>
                <a:gd name="connsiteX289" fmla="*/ 777624 w 1674813"/>
                <a:gd name="connsiteY289" fmla="*/ 1144538 h 2003425"/>
                <a:gd name="connsiteX290" fmla="*/ 789298 w 1674813"/>
                <a:gd name="connsiteY290" fmla="*/ 1156142 h 2003425"/>
                <a:gd name="connsiteX291" fmla="*/ 796925 w 1674813"/>
                <a:gd name="connsiteY291" fmla="*/ 1163724 h 2003425"/>
                <a:gd name="connsiteX292" fmla="*/ 790823 w 1674813"/>
                <a:gd name="connsiteY292" fmla="*/ 1161702 h 2003425"/>
                <a:gd name="connsiteX293" fmla="*/ 780498 w 1674813"/>
                <a:gd name="connsiteY293" fmla="*/ 1158281 h 2003425"/>
                <a:gd name="connsiteX294" fmla="*/ 790802 w 1674813"/>
                <a:gd name="connsiteY294" fmla="*/ 1206143 h 2003425"/>
                <a:gd name="connsiteX295" fmla="*/ 796159 w 1674813"/>
                <a:gd name="connsiteY295" fmla="*/ 1264588 h 2003425"/>
                <a:gd name="connsiteX296" fmla="*/ 796895 w 1674813"/>
                <a:gd name="connsiteY296" fmla="*/ 1307616 h 2003425"/>
                <a:gd name="connsiteX297" fmla="*/ 796925 w 1674813"/>
                <a:gd name="connsiteY297" fmla="*/ 1308101 h 2003425"/>
                <a:gd name="connsiteX298" fmla="*/ 796901 w 1674813"/>
                <a:gd name="connsiteY298" fmla="*/ 1307984 h 2003425"/>
                <a:gd name="connsiteX299" fmla="*/ 796925 w 1674813"/>
                <a:gd name="connsiteY299" fmla="*/ 1309371 h 2003425"/>
                <a:gd name="connsiteX300" fmla="*/ 780596 w 1674813"/>
                <a:gd name="connsiteY300" fmla="*/ 1325563 h 2003425"/>
                <a:gd name="connsiteX301" fmla="*/ 780596 w 1674813"/>
                <a:gd name="connsiteY301" fmla="*/ 1276986 h 2003425"/>
                <a:gd name="connsiteX302" fmla="*/ 764268 w 1674813"/>
                <a:gd name="connsiteY302" fmla="*/ 1309371 h 2003425"/>
                <a:gd name="connsiteX303" fmla="*/ 780596 w 1674813"/>
                <a:gd name="connsiteY303" fmla="*/ 1260793 h 2003425"/>
                <a:gd name="connsiteX304" fmla="*/ 747939 w 1674813"/>
                <a:gd name="connsiteY304" fmla="*/ 1276986 h 2003425"/>
                <a:gd name="connsiteX305" fmla="*/ 764268 w 1674813"/>
                <a:gd name="connsiteY305" fmla="*/ 1244601 h 2003425"/>
                <a:gd name="connsiteX306" fmla="*/ 747939 w 1674813"/>
                <a:gd name="connsiteY306" fmla="*/ 1260793 h 2003425"/>
                <a:gd name="connsiteX307" fmla="*/ 756104 w 1674813"/>
                <a:gd name="connsiteY307" fmla="*/ 1236504 h 2003425"/>
                <a:gd name="connsiteX308" fmla="*/ 760212 w 1674813"/>
                <a:gd name="connsiteY308" fmla="*/ 1224281 h 2003425"/>
                <a:gd name="connsiteX309" fmla="*/ 753464 w 1674813"/>
                <a:gd name="connsiteY309" fmla="*/ 1217573 h 2003425"/>
                <a:gd name="connsiteX310" fmla="*/ 750490 w 1674813"/>
                <a:gd name="connsiteY310" fmla="*/ 1219047 h 2003425"/>
                <a:gd name="connsiteX311" fmla="*/ 741102 w 1674813"/>
                <a:gd name="connsiteY311" fmla="*/ 1223702 h 2003425"/>
                <a:gd name="connsiteX312" fmla="*/ 748110 w 1674813"/>
                <a:gd name="connsiteY312" fmla="*/ 1244601 h 2003425"/>
                <a:gd name="connsiteX313" fmla="*/ 741245 w 1674813"/>
                <a:gd name="connsiteY313" fmla="*/ 1230953 h 2003425"/>
                <a:gd name="connsiteX314" fmla="*/ 738297 w 1674813"/>
                <a:gd name="connsiteY314" fmla="*/ 1225093 h 2003425"/>
                <a:gd name="connsiteX315" fmla="*/ 731610 w 1674813"/>
                <a:gd name="connsiteY315" fmla="*/ 1228408 h 2003425"/>
                <a:gd name="connsiteX316" fmla="*/ 736389 w 1674813"/>
                <a:gd name="connsiteY316" fmla="*/ 1221299 h 2003425"/>
                <a:gd name="connsiteX317" fmla="*/ 731838 w 1674813"/>
                <a:gd name="connsiteY317" fmla="*/ 1212250 h 2003425"/>
                <a:gd name="connsiteX318" fmla="*/ 732015 w 1674813"/>
                <a:gd name="connsiteY318" fmla="*/ 1201153 h 2003425"/>
                <a:gd name="connsiteX319" fmla="*/ 715282 w 1674813"/>
                <a:gd name="connsiteY319" fmla="*/ 1212216 h 2003425"/>
                <a:gd name="connsiteX320" fmla="*/ 722936 w 1674813"/>
                <a:gd name="connsiteY320" fmla="*/ 1202095 h 2003425"/>
                <a:gd name="connsiteX321" fmla="*/ 731931 w 1674813"/>
                <a:gd name="connsiteY321" fmla="*/ 1190201 h 2003425"/>
                <a:gd name="connsiteX322" fmla="*/ 731604 w 1674813"/>
                <a:gd name="connsiteY322" fmla="*/ 1163641 h 2003425"/>
                <a:gd name="connsiteX323" fmla="*/ 698953 w 1674813"/>
                <a:gd name="connsiteY323" fmla="*/ 1179831 h 2003425"/>
                <a:gd name="connsiteX324" fmla="*/ 723446 w 1674813"/>
                <a:gd name="connsiteY324" fmla="*/ 1155542 h 2003425"/>
                <a:gd name="connsiteX325" fmla="*/ 731407 w 1674813"/>
                <a:gd name="connsiteY325" fmla="*/ 1147648 h 2003425"/>
                <a:gd name="connsiteX326" fmla="*/ 731307 w 1674813"/>
                <a:gd name="connsiteY326" fmla="*/ 1139500 h 2003425"/>
                <a:gd name="connsiteX327" fmla="*/ 720385 w 1674813"/>
                <a:gd name="connsiteY327" fmla="*/ 1144916 h 2003425"/>
                <a:gd name="connsiteX328" fmla="*/ 682625 w 1674813"/>
                <a:gd name="connsiteY328" fmla="*/ 1163638 h 2003425"/>
                <a:gd name="connsiteX329" fmla="*/ 703291 w 1674813"/>
                <a:gd name="connsiteY329" fmla="*/ 1138021 h 2003425"/>
                <a:gd name="connsiteX330" fmla="*/ 731906 w 1674813"/>
                <a:gd name="connsiteY330" fmla="*/ 1102550 h 2003425"/>
                <a:gd name="connsiteX331" fmla="*/ 733456 w 1674813"/>
                <a:gd name="connsiteY331" fmla="*/ 1093447 h 2003425"/>
                <a:gd name="connsiteX332" fmla="*/ 720385 w 1674813"/>
                <a:gd name="connsiteY332" fmla="*/ 1103169 h 2003425"/>
                <a:gd name="connsiteX333" fmla="*/ 682625 w 1674813"/>
                <a:gd name="connsiteY333" fmla="*/ 1131253 h 2003425"/>
                <a:gd name="connsiteX334" fmla="*/ 731610 w 1674813"/>
                <a:gd name="connsiteY334" fmla="*/ 1066483 h 2003425"/>
                <a:gd name="connsiteX335" fmla="*/ 666296 w 1674813"/>
                <a:gd name="connsiteY335" fmla="*/ 1115061 h 2003425"/>
                <a:gd name="connsiteX336" fmla="*/ 715282 w 1674813"/>
                <a:gd name="connsiteY336" fmla="*/ 1034098 h 2003425"/>
                <a:gd name="connsiteX337" fmla="*/ 666296 w 1674813"/>
                <a:gd name="connsiteY337" fmla="*/ 1082676 h 2003425"/>
                <a:gd name="connsiteX338" fmla="*/ 705332 w 1674813"/>
                <a:gd name="connsiteY338" fmla="*/ 1012086 h 2003425"/>
                <a:gd name="connsiteX339" fmla="*/ 715120 w 1674813"/>
                <a:gd name="connsiteY339" fmla="*/ 1001882 h 2003425"/>
                <a:gd name="connsiteX340" fmla="*/ 740531 w 1674813"/>
                <a:gd name="connsiteY340" fmla="*/ 1051901 h 2003425"/>
                <a:gd name="connsiteX341" fmla="*/ 741225 w 1674813"/>
                <a:gd name="connsiteY341" fmla="*/ 1047827 h 2003425"/>
                <a:gd name="connsiteX342" fmla="*/ 731610 w 1674813"/>
                <a:gd name="connsiteY342" fmla="*/ 1017588 h 2003425"/>
                <a:gd name="connsiteX343" fmla="*/ 742257 w 1674813"/>
                <a:gd name="connsiteY343" fmla="*/ 1041769 h 2003425"/>
                <a:gd name="connsiteX344" fmla="*/ 746390 w 1674813"/>
                <a:gd name="connsiteY344" fmla="*/ 1017497 h 2003425"/>
                <a:gd name="connsiteX345" fmla="*/ 770985 w 1674813"/>
                <a:gd name="connsiteY345" fmla="*/ 938780 h 2003425"/>
                <a:gd name="connsiteX346" fmla="*/ 780328 w 1674813"/>
                <a:gd name="connsiteY346" fmla="*/ 914952 h 2003425"/>
                <a:gd name="connsiteX347" fmla="*/ 780328 w 1674813"/>
                <a:gd name="connsiteY347" fmla="*/ 898559 h 2003425"/>
                <a:gd name="connsiteX348" fmla="*/ 780328 w 1674813"/>
                <a:gd name="connsiteY348" fmla="*/ 888472 h 2003425"/>
                <a:gd name="connsiteX349" fmla="*/ 747712 w 1674813"/>
                <a:gd name="connsiteY349" fmla="*/ 936890 h 2003425"/>
                <a:gd name="connsiteX350" fmla="*/ 747712 w 1674813"/>
                <a:gd name="connsiteY350" fmla="*/ 872332 h 2003425"/>
                <a:gd name="connsiteX351" fmla="*/ 731404 w 1674813"/>
                <a:gd name="connsiteY351" fmla="*/ 920751 h 2003425"/>
                <a:gd name="connsiteX352" fmla="*/ 731404 w 1674813"/>
                <a:gd name="connsiteY352" fmla="*/ 872332 h 2003425"/>
                <a:gd name="connsiteX353" fmla="*/ 698789 w 1674813"/>
                <a:gd name="connsiteY353" fmla="*/ 904611 h 2003425"/>
                <a:gd name="connsiteX354" fmla="*/ 698789 w 1674813"/>
                <a:gd name="connsiteY354" fmla="*/ 872332 h 2003425"/>
                <a:gd name="connsiteX355" fmla="*/ 682481 w 1674813"/>
                <a:gd name="connsiteY355" fmla="*/ 904611 h 2003425"/>
                <a:gd name="connsiteX356" fmla="*/ 675601 w 1674813"/>
                <a:gd name="connsiteY356" fmla="*/ 884184 h 2003425"/>
                <a:gd name="connsiteX357" fmla="*/ 666750 w 1674813"/>
                <a:gd name="connsiteY357" fmla="*/ 857907 h 2003425"/>
                <a:gd name="connsiteX358" fmla="*/ 666750 w 1674813"/>
                <a:gd name="connsiteY358" fmla="*/ 867370 h 2003425"/>
                <a:gd name="connsiteX359" fmla="*/ 666750 w 1674813"/>
                <a:gd name="connsiteY359" fmla="*/ 872228 h 2003425"/>
                <a:gd name="connsiteX360" fmla="*/ 666173 w 1674813"/>
                <a:gd name="connsiteY360" fmla="*/ 871083 h 2003425"/>
                <a:gd name="connsiteX361" fmla="*/ 666173 w 1674813"/>
                <a:gd name="connsiteY361" fmla="*/ 888472 h 2003425"/>
                <a:gd name="connsiteX362" fmla="*/ 633557 w 1674813"/>
                <a:gd name="connsiteY362" fmla="*/ 840053 h 2003425"/>
                <a:gd name="connsiteX363" fmla="*/ 651258 w 1674813"/>
                <a:gd name="connsiteY363" fmla="*/ 841512 h 2003425"/>
                <a:gd name="connsiteX364" fmla="*/ 650367 w 1674813"/>
                <a:gd name="connsiteY364" fmla="*/ 839747 h 2003425"/>
                <a:gd name="connsiteX365" fmla="*/ 650009 w 1674813"/>
                <a:gd name="connsiteY365" fmla="*/ 839697 h 2003425"/>
                <a:gd name="connsiteX366" fmla="*/ 650009 w 1674813"/>
                <a:gd name="connsiteY366" fmla="*/ 840469 h 2003425"/>
                <a:gd name="connsiteX367" fmla="*/ 649104 w 1674813"/>
                <a:gd name="connsiteY367" fmla="*/ 839573 h 2003425"/>
                <a:gd name="connsiteX368" fmla="*/ 626762 w 1674813"/>
                <a:gd name="connsiteY368" fmla="*/ 837009 h 2003425"/>
                <a:gd name="connsiteX369" fmla="*/ 627042 w 1674813"/>
                <a:gd name="connsiteY369" fmla="*/ 838956 h 2003425"/>
                <a:gd name="connsiteX370" fmla="*/ 632575 w 1674813"/>
                <a:gd name="connsiteY370" fmla="*/ 839887 h 2003425"/>
                <a:gd name="connsiteX371" fmla="*/ 629684 w 1674813"/>
                <a:gd name="connsiteY371" fmla="*/ 838456 h 2003425"/>
                <a:gd name="connsiteX372" fmla="*/ 893907 w 1674813"/>
                <a:gd name="connsiteY372" fmla="*/ 824367 h 2003425"/>
                <a:gd name="connsiteX373" fmla="*/ 893907 w 1674813"/>
                <a:gd name="connsiteY373" fmla="*/ 832418 h 2003425"/>
                <a:gd name="connsiteX374" fmla="*/ 893907 w 1674813"/>
                <a:gd name="connsiteY374" fmla="*/ 850140 h 2003425"/>
                <a:gd name="connsiteX375" fmla="*/ 903201 w 1674813"/>
                <a:gd name="connsiteY375" fmla="*/ 862459 h 2003425"/>
                <a:gd name="connsiteX376" fmla="*/ 903685 w 1674813"/>
                <a:gd name="connsiteY376" fmla="*/ 863100 h 2003425"/>
                <a:gd name="connsiteX377" fmla="*/ 902036 w 1674813"/>
                <a:gd name="connsiteY377" fmla="*/ 856571 h 2003425"/>
                <a:gd name="connsiteX378" fmla="*/ 893907 w 1674813"/>
                <a:gd name="connsiteY378" fmla="*/ 824367 h 2003425"/>
                <a:gd name="connsiteX379" fmla="*/ 601229 w 1674813"/>
                <a:gd name="connsiteY379" fmla="*/ 824367 h 2003425"/>
                <a:gd name="connsiteX380" fmla="*/ 602525 w 1674813"/>
                <a:gd name="connsiteY380" fmla="*/ 825650 h 2003425"/>
                <a:gd name="connsiteX381" fmla="*/ 602093 w 1674813"/>
                <a:gd name="connsiteY381" fmla="*/ 824795 h 2003425"/>
                <a:gd name="connsiteX382" fmla="*/ 623473 w 1674813"/>
                <a:gd name="connsiteY382" fmla="*/ 814191 h 2003425"/>
                <a:gd name="connsiteX383" fmla="*/ 624668 w 1674813"/>
                <a:gd name="connsiteY383" fmla="*/ 822484 h 2003425"/>
                <a:gd name="connsiteX384" fmla="*/ 629703 w 1674813"/>
                <a:gd name="connsiteY384" fmla="*/ 832455 h 2003425"/>
                <a:gd name="connsiteX385" fmla="*/ 644633 w 1674813"/>
                <a:gd name="connsiteY385" fmla="*/ 835145 h 2003425"/>
                <a:gd name="connsiteX386" fmla="*/ 636290 w 1674813"/>
                <a:gd name="connsiteY386" fmla="*/ 826883 h 2003425"/>
                <a:gd name="connsiteX387" fmla="*/ 497189 w 1674813"/>
                <a:gd name="connsiteY387" fmla="*/ 810839 h 2003425"/>
                <a:gd name="connsiteX388" fmla="*/ 483476 w 1674813"/>
                <a:gd name="connsiteY388" fmla="*/ 815376 h 2003425"/>
                <a:gd name="connsiteX389" fmla="*/ 455276 w 1674813"/>
                <a:gd name="connsiteY389" fmla="*/ 824707 h 2003425"/>
                <a:gd name="connsiteX390" fmla="*/ 449345 w 1674813"/>
                <a:gd name="connsiteY390" fmla="*/ 830594 h 2003425"/>
                <a:gd name="connsiteX391" fmla="*/ 471436 w 1674813"/>
                <a:gd name="connsiteY391" fmla="*/ 823913 h 2003425"/>
                <a:gd name="connsiteX392" fmla="*/ 488595 w 1674813"/>
                <a:gd name="connsiteY392" fmla="*/ 823913 h 2003425"/>
                <a:gd name="connsiteX393" fmla="*/ 489828 w 1674813"/>
                <a:gd name="connsiteY393" fmla="*/ 822690 h 2003425"/>
                <a:gd name="connsiteX394" fmla="*/ 500620 w 1674813"/>
                <a:gd name="connsiteY394" fmla="*/ 811978 h 2003425"/>
                <a:gd name="connsiteX395" fmla="*/ 471535 w 1674813"/>
                <a:gd name="connsiteY395" fmla="*/ 808567 h 2003425"/>
                <a:gd name="connsiteX396" fmla="*/ 469820 w 1674813"/>
                <a:gd name="connsiteY396" fmla="*/ 810270 h 2003425"/>
                <a:gd name="connsiteX397" fmla="*/ 467060 w 1674813"/>
                <a:gd name="connsiteY397" fmla="*/ 813009 h 2003425"/>
                <a:gd name="connsiteX398" fmla="*/ 457308 w 1674813"/>
                <a:gd name="connsiteY398" fmla="*/ 822690 h 2003425"/>
                <a:gd name="connsiteX399" fmla="*/ 457046 w 1674813"/>
                <a:gd name="connsiteY399" fmla="*/ 822950 h 2003425"/>
                <a:gd name="connsiteX400" fmla="*/ 457816 w 1674813"/>
                <a:gd name="connsiteY400" fmla="*/ 822185 h 2003425"/>
                <a:gd name="connsiteX401" fmla="*/ 467060 w 1674813"/>
                <a:gd name="connsiteY401" fmla="*/ 813009 h 2003425"/>
                <a:gd name="connsiteX402" fmla="*/ 780088 w 1674813"/>
                <a:gd name="connsiteY402" fmla="*/ 808265 h 2003425"/>
                <a:gd name="connsiteX403" fmla="*/ 773228 w 1674813"/>
                <a:gd name="connsiteY403" fmla="*/ 835437 h 2003425"/>
                <a:gd name="connsiteX404" fmla="*/ 765184 w 1674813"/>
                <a:gd name="connsiteY404" fmla="*/ 867298 h 2003425"/>
                <a:gd name="connsiteX405" fmla="*/ 795090 w 1674813"/>
                <a:gd name="connsiteY405" fmla="*/ 877303 h 2003425"/>
                <a:gd name="connsiteX406" fmla="*/ 797102 w 1674813"/>
                <a:gd name="connsiteY406" fmla="*/ 872173 h 2003425"/>
                <a:gd name="connsiteX407" fmla="*/ 815847 w 1674813"/>
                <a:gd name="connsiteY407" fmla="*/ 838977 h 2003425"/>
                <a:gd name="connsiteX408" fmla="*/ 817265 w 1674813"/>
                <a:gd name="connsiteY408" fmla="*/ 835668 h 2003425"/>
                <a:gd name="connsiteX409" fmla="*/ 817913 w 1674813"/>
                <a:gd name="connsiteY409" fmla="*/ 834533 h 2003425"/>
                <a:gd name="connsiteX410" fmla="*/ 817752 w 1674813"/>
                <a:gd name="connsiteY410" fmla="*/ 833739 h 2003425"/>
                <a:gd name="connsiteX411" fmla="*/ 812607 w 1674813"/>
                <a:gd name="connsiteY411" fmla="*/ 808265 h 2003425"/>
                <a:gd name="connsiteX412" fmla="*/ 796347 w 1674813"/>
                <a:gd name="connsiteY412" fmla="*/ 872672 h 2003425"/>
                <a:gd name="connsiteX413" fmla="*/ 780088 w 1674813"/>
                <a:gd name="connsiteY413" fmla="*/ 808265 h 2003425"/>
                <a:gd name="connsiteX414" fmla="*/ 715048 w 1674813"/>
                <a:gd name="connsiteY414" fmla="*/ 808265 h 2003425"/>
                <a:gd name="connsiteX415" fmla="*/ 715048 w 1674813"/>
                <a:gd name="connsiteY415" fmla="*/ 828644 h 2003425"/>
                <a:gd name="connsiteX416" fmla="*/ 715048 w 1674813"/>
                <a:gd name="connsiteY416" fmla="*/ 850709 h 2003425"/>
                <a:gd name="connsiteX417" fmla="*/ 717081 w 1674813"/>
                <a:gd name="connsiteY417" fmla="*/ 851205 h 2003425"/>
                <a:gd name="connsiteX418" fmla="*/ 762903 w 1674813"/>
                <a:gd name="connsiteY418" fmla="*/ 866535 h 2003425"/>
                <a:gd name="connsiteX419" fmla="*/ 761287 w 1674813"/>
                <a:gd name="connsiteY419" fmla="*/ 855816 h 2003425"/>
                <a:gd name="connsiteX420" fmla="*/ 747568 w 1674813"/>
                <a:gd name="connsiteY420" fmla="*/ 808265 h 2003425"/>
                <a:gd name="connsiteX421" fmla="*/ 747568 w 1674813"/>
                <a:gd name="connsiteY421" fmla="*/ 856571 h 2003425"/>
                <a:gd name="connsiteX422" fmla="*/ 715048 w 1674813"/>
                <a:gd name="connsiteY422" fmla="*/ 808265 h 2003425"/>
                <a:gd name="connsiteX423" fmla="*/ 682529 w 1674813"/>
                <a:gd name="connsiteY423" fmla="*/ 808265 h 2003425"/>
                <a:gd name="connsiteX424" fmla="*/ 682529 w 1674813"/>
                <a:gd name="connsiteY424" fmla="*/ 840469 h 2003425"/>
                <a:gd name="connsiteX425" fmla="*/ 668809 w 1674813"/>
                <a:gd name="connsiteY425" fmla="*/ 826883 h 2003425"/>
                <a:gd name="connsiteX426" fmla="*/ 666750 w 1674813"/>
                <a:gd name="connsiteY426" fmla="*/ 824844 h 2003425"/>
                <a:gd name="connsiteX427" fmla="*/ 666750 w 1674813"/>
                <a:gd name="connsiteY427" fmla="*/ 839130 h 2003425"/>
                <a:gd name="connsiteX428" fmla="*/ 669953 w 1674813"/>
                <a:gd name="connsiteY428" fmla="*/ 839707 h 2003425"/>
                <a:gd name="connsiteX429" fmla="*/ 695856 w 1674813"/>
                <a:gd name="connsiteY429" fmla="*/ 846027 h 2003425"/>
                <a:gd name="connsiteX430" fmla="*/ 666750 w 1674813"/>
                <a:gd name="connsiteY430" fmla="*/ 842009 h 2003425"/>
                <a:gd name="connsiteX431" fmla="*/ 666750 w 1674813"/>
                <a:gd name="connsiteY431" fmla="*/ 842790 h 2003425"/>
                <a:gd name="connsiteX432" fmla="*/ 676365 w 1674813"/>
                <a:gd name="connsiteY432" fmla="*/ 843583 h 2003425"/>
                <a:gd name="connsiteX433" fmla="*/ 713544 w 1674813"/>
                <a:gd name="connsiteY433" fmla="*/ 852101 h 2003425"/>
                <a:gd name="connsiteX434" fmla="*/ 713334 w 1674813"/>
                <a:gd name="connsiteY434" fmla="*/ 851478 h 2003425"/>
                <a:gd name="connsiteX435" fmla="*/ 697987 w 1674813"/>
                <a:gd name="connsiteY435" fmla="*/ 846546 h 2003425"/>
                <a:gd name="connsiteX436" fmla="*/ 712899 w 1674813"/>
                <a:gd name="connsiteY436" fmla="*/ 850184 h 2003425"/>
                <a:gd name="connsiteX437" fmla="*/ 708189 w 1674813"/>
                <a:gd name="connsiteY437" fmla="*/ 836192 h 2003425"/>
                <a:gd name="connsiteX438" fmla="*/ 699336 w 1674813"/>
                <a:gd name="connsiteY438" fmla="*/ 809891 h 2003425"/>
                <a:gd name="connsiteX439" fmla="*/ 699336 w 1674813"/>
                <a:gd name="connsiteY439" fmla="*/ 824785 h 2003425"/>
                <a:gd name="connsiteX440" fmla="*/ 699336 w 1674813"/>
                <a:gd name="connsiteY440" fmla="*/ 839926 h 2003425"/>
                <a:gd name="connsiteX441" fmla="*/ 698827 w 1674813"/>
                <a:gd name="connsiteY441" fmla="*/ 838664 h 2003425"/>
                <a:gd name="connsiteX442" fmla="*/ 698788 w 1674813"/>
                <a:gd name="connsiteY442" fmla="*/ 838569 h 2003425"/>
                <a:gd name="connsiteX443" fmla="*/ 698788 w 1674813"/>
                <a:gd name="connsiteY443" fmla="*/ 840469 h 2003425"/>
                <a:gd name="connsiteX444" fmla="*/ 682529 w 1674813"/>
                <a:gd name="connsiteY444" fmla="*/ 808265 h 2003425"/>
                <a:gd name="connsiteX445" fmla="*/ 862013 w 1674813"/>
                <a:gd name="connsiteY445" fmla="*/ 807867 h 2003425"/>
                <a:gd name="connsiteX446" fmla="*/ 865096 w 1674813"/>
                <a:gd name="connsiteY446" fmla="*/ 811953 h 2003425"/>
                <a:gd name="connsiteX447" fmla="*/ 873272 w 1674813"/>
                <a:gd name="connsiteY447" fmla="*/ 813463 h 2003425"/>
                <a:gd name="connsiteX448" fmla="*/ 720788 w 1674813"/>
                <a:gd name="connsiteY448" fmla="*/ 796184 h 2003425"/>
                <a:gd name="connsiteX449" fmla="*/ 713843 w 1674813"/>
                <a:gd name="connsiteY449" fmla="*/ 796529 h 2003425"/>
                <a:gd name="connsiteX450" fmla="*/ 721070 w 1674813"/>
                <a:gd name="connsiteY450" fmla="*/ 796884 h 2003425"/>
                <a:gd name="connsiteX451" fmla="*/ 439016 w 1674813"/>
                <a:gd name="connsiteY451" fmla="*/ 792428 h 2003425"/>
                <a:gd name="connsiteX452" fmla="*/ 432156 w 1674813"/>
                <a:gd name="connsiteY452" fmla="*/ 812855 h 2003425"/>
                <a:gd name="connsiteX453" fmla="*/ 424208 w 1674813"/>
                <a:gd name="connsiteY453" fmla="*/ 836522 h 2003425"/>
                <a:gd name="connsiteX454" fmla="*/ 439016 w 1674813"/>
                <a:gd name="connsiteY454" fmla="*/ 833256 h 2003425"/>
                <a:gd name="connsiteX455" fmla="*/ 439016 w 1674813"/>
                <a:gd name="connsiteY455" fmla="*/ 820420 h 2003425"/>
                <a:gd name="connsiteX456" fmla="*/ 439016 w 1674813"/>
                <a:gd name="connsiteY456" fmla="*/ 792428 h 2003425"/>
                <a:gd name="connsiteX457" fmla="*/ 620207 w 1674813"/>
                <a:gd name="connsiteY457" fmla="*/ 791528 h 2003425"/>
                <a:gd name="connsiteX458" fmla="*/ 620418 w 1674813"/>
                <a:gd name="connsiteY458" fmla="*/ 792987 h 2003425"/>
                <a:gd name="connsiteX459" fmla="*/ 621743 w 1674813"/>
                <a:gd name="connsiteY459" fmla="*/ 802181 h 2003425"/>
                <a:gd name="connsiteX460" fmla="*/ 630722 w 1674813"/>
                <a:gd name="connsiteY460" fmla="*/ 800799 h 2003425"/>
                <a:gd name="connsiteX461" fmla="*/ 626046 w 1674813"/>
                <a:gd name="connsiteY461" fmla="*/ 791528 h 2003425"/>
                <a:gd name="connsiteX462" fmla="*/ 478327 w 1674813"/>
                <a:gd name="connsiteY462" fmla="*/ 791528 h 2003425"/>
                <a:gd name="connsiteX463" fmla="*/ 485378 w 1674813"/>
                <a:gd name="connsiteY463" fmla="*/ 793122 h 2003425"/>
                <a:gd name="connsiteX464" fmla="*/ 497782 w 1674813"/>
                <a:gd name="connsiteY464" fmla="*/ 797775 h 2003425"/>
                <a:gd name="connsiteX465" fmla="*/ 502199 w 1674813"/>
                <a:gd name="connsiteY465" fmla="*/ 793377 h 2003425"/>
                <a:gd name="connsiteX466" fmla="*/ 500846 w 1674813"/>
                <a:gd name="connsiteY466" fmla="*/ 791528 h 2003425"/>
                <a:gd name="connsiteX467" fmla="*/ 497958 w 1674813"/>
                <a:gd name="connsiteY467" fmla="*/ 791528 h 2003425"/>
                <a:gd name="connsiteX468" fmla="*/ 483476 w 1674813"/>
                <a:gd name="connsiteY468" fmla="*/ 791528 h 2003425"/>
                <a:gd name="connsiteX469" fmla="*/ 585286 w 1674813"/>
                <a:gd name="connsiteY469" fmla="*/ 791473 h 2003425"/>
                <a:gd name="connsiteX470" fmla="*/ 585448 w 1674813"/>
                <a:gd name="connsiteY470" fmla="*/ 792755 h 2003425"/>
                <a:gd name="connsiteX471" fmla="*/ 585757 w 1674813"/>
                <a:gd name="connsiteY471" fmla="*/ 792406 h 2003425"/>
                <a:gd name="connsiteX472" fmla="*/ 617911 w 1674813"/>
                <a:gd name="connsiteY472" fmla="*/ 775591 h 2003425"/>
                <a:gd name="connsiteX473" fmla="*/ 617997 w 1674813"/>
                <a:gd name="connsiteY473" fmla="*/ 776188 h 2003425"/>
                <a:gd name="connsiteX474" fmla="*/ 618623 w 1674813"/>
                <a:gd name="connsiteY474" fmla="*/ 776811 h 2003425"/>
                <a:gd name="connsiteX475" fmla="*/ 618027 w 1674813"/>
                <a:gd name="connsiteY475" fmla="*/ 775630 h 2003425"/>
                <a:gd name="connsiteX476" fmla="*/ 487270 w 1674813"/>
                <a:gd name="connsiteY476" fmla="*/ 775510 h 2003425"/>
                <a:gd name="connsiteX477" fmla="*/ 487033 w 1674813"/>
                <a:gd name="connsiteY477" fmla="*/ 775589 h 2003425"/>
                <a:gd name="connsiteX478" fmla="*/ 461631 w 1674813"/>
                <a:gd name="connsiteY478" fmla="*/ 784021 h 2003425"/>
                <a:gd name="connsiteX479" fmla="*/ 454940 w 1674813"/>
                <a:gd name="connsiteY479" fmla="*/ 786242 h 2003425"/>
                <a:gd name="connsiteX480" fmla="*/ 462473 w 1674813"/>
                <a:gd name="connsiteY480" fmla="*/ 787944 h 2003425"/>
                <a:gd name="connsiteX481" fmla="*/ 468995 w 1674813"/>
                <a:gd name="connsiteY481" fmla="*/ 784697 h 2003425"/>
                <a:gd name="connsiteX482" fmla="*/ 487328 w 1674813"/>
                <a:gd name="connsiteY482" fmla="*/ 775568 h 2003425"/>
                <a:gd name="connsiteX483" fmla="*/ 292292 w 1674813"/>
                <a:gd name="connsiteY483" fmla="*/ 774965 h 2003425"/>
                <a:gd name="connsiteX484" fmla="*/ 298210 w 1674813"/>
                <a:gd name="connsiteY484" fmla="*/ 775516 h 2003425"/>
                <a:gd name="connsiteX485" fmla="*/ 283792 w 1674813"/>
                <a:gd name="connsiteY485" fmla="*/ 776283 h 2003425"/>
                <a:gd name="connsiteX486" fmla="*/ 666750 w 1674813"/>
                <a:gd name="connsiteY486" fmla="*/ 770202 h 2003425"/>
                <a:gd name="connsiteX487" fmla="*/ 666750 w 1674813"/>
                <a:gd name="connsiteY487" fmla="*/ 776836 h 2003425"/>
                <a:gd name="connsiteX488" fmla="*/ 666750 w 1674813"/>
                <a:gd name="connsiteY488" fmla="*/ 795256 h 2003425"/>
                <a:gd name="connsiteX489" fmla="*/ 680460 w 1674813"/>
                <a:gd name="connsiteY489" fmla="*/ 793147 h 2003425"/>
                <a:gd name="connsiteX490" fmla="*/ 671889 w 1674813"/>
                <a:gd name="connsiteY490" fmla="*/ 771906 h 2003425"/>
                <a:gd name="connsiteX491" fmla="*/ 1126042 w 1674813"/>
                <a:gd name="connsiteY491" fmla="*/ 769037 h 2003425"/>
                <a:gd name="connsiteX492" fmla="*/ 1142042 w 1674813"/>
                <a:gd name="connsiteY492" fmla="*/ 790043 h 2003425"/>
                <a:gd name="connsiteX493" fmla="*/ 1130433 w 1674813"/>
                <a:gd name="connsiteY493" fmla="*/ 773251 h 2003425"/>
                <a:gd name="connsiteX494" fmla="*/ 498642 w 1674813"/>
                <a:gd name="connsiteY494" fmla="*/ 762996 h 2003425"/>
                <a:gd name="connsiteX495" fmla="*/ 511588 w 1674813"/>
                <a:gd name="connsiteY495" fmla="*/ 775406 h 2003425"/>
                <a:gd name="connsiteX496" fmla="*/ 517319 w 1674813"/>
                <a:gd name="connsiteY496" fmla="*/ 775406 h 2003425"/>
                <a:gd name="connsiteX497" fmla="*/ 531740 w 1674813"/>
                <a:gd name="connsiteY497" fmla="*/ 775406 h 2003425"/>
                <a:gd name="connsiteX498" fmla="*/ 531601 w 1674813"/>
                <a:gd name="connsiteY498" fmla="*/ 773899 h 2003425"/>
                <a:gd name="connsiteX499" fmla="*/ 527459 w 1674813"/>
                <a:gd name="connsiteY499" fmla="*/ 772528 h 2003425"/>
                <a:gd name="connsiteX500" fmla="*/ 515537 w 1674813"/>
                <a:gd name="connsiteY500" fmla="*/ 768585 h 2003425"/>
                <a:gd name="connsiteX501" fmla="*/ 537615 w 1674813"/>
                <a:gd name="connsiteY501" fmla="*/ 745262 h 2003425"/>
                <a:gd name="connsiteX502" fmla="*/ 542307 w 1674813"/>
                <a:gd name="connsiteY502" fmla="*/ 759237 h 2003425"/>
                <a:gd name="connsiteX503" fmla="*/ 545345 w 1674813"/>
                <a:gd name="connsiteY503" fmla="*/ 775494 h 2003425"/>
                <a:gd name="connsiteX504" fmla="*/ 549165 w 1674813"/>
                <a:gd name="connsiteY504" fmla="*/ 775494 h 2003425"/>
                <a:gd name="connsiteX505" fmla="*/ 550332 w 1674813"/>
                <a:gd name="connsiteY505" fmla="*/ 770286 h 2003425"/>
                <a:gd name="connsiteX506" fmla="*/ 546059 w 1674813"/>
                <a:gd name="connsiteY506" fmla="*/ 761877 h 2003425"/>
                <a:gd name="connsiteX507" fmla="*/ 699336 w 1674813"/>
                <a:gd name="connsiteY507" fmla="*/ 743020 h 2003425"/>
                <a:gd name="connsiteX508" fmla="*/ 699336 w 1674813"/>
                <a:gd name="connsiteY508" fmla="*/ 758161 h 2003425"/>
                <a:gd name="connsiteX509" fmla="*/ 699336 w 1674813"/>
                <a:gd name="connsiteY509" fmla="*/ 790711 h 2003425"/>
                <a:gd name="connsiteX510" fmla="*/ 718718 w 1674813"/>
                <a:gd name="connsiteY510" fmla="*/ 791053 h 2003425"/>
                <a:gd name="connsiteX511" fmla="*/ 718174 w 1674813"/>
                <a:gd name="connsiteY511" fmla="*/ 789706 h 2003425"/>
                <a:gd name="connsiteX512" fmla="*/ 699336 w 1674813"/>
                <a:gd name="connsiteY512" fmla="*/ 743020 h 2003425"/>
                <a:gd name="connsiteX513" fmla="*/ 601265 w 1674813"/>
                <a:gd name="connsiteY513" fmla="*/ 742806 h 2003425"/>
                <a:gd name="connsiteX514" fmla="*/ 601426 w 1674813"/>
                <a:gd name="connsiteY514" fmla="*/ 743125 h 2003425"/>
                <a:gd name="connsiteX515" fmla="*/ 601486 w 1674813"/>
                <a:gd name="connsiteY515" fmla="*/ 743095 h 2003425"/>
                <a:gd name="connsiteX516" fmla="*/ 601436 w 1674813"/>
                <a:gd name="connsiteY516" fmla="*/ 743145 h 2003425"/>
                <a:gd name="connsiteX517" fmla="*/ 603299 w 1674813"/>
                <a:gd name="connsiteY517" fmla="*/ 746847 h 2003425"/>
                <a:gd name="connsiteX518" fmla="*/ 608130 w 1674813"/>
                <a:gd name="connsiteY518" fmla="*/ 756444 h 2003425"/>
                <a:gd name="connsiteX519" fmla="*/ 609554 w 1674813"/>
                <a:gd name="connsiteY519" fmla="*/ 759273 h 2003425"/>
                <a:gd name="connsiteX520" fmla="*/ 621191 w 1674813"/>
                <a:gd name="connsiteY520" fmla="*/ 752703 h 2003425"/>
                <a:gd name="connsiteX521" fmla="*/ 620080 w 1674813"/>
                <a:gd name="connsiteY521" fmla="*/ 752151 h 2003425"/>
                <a:gd name="connsiteX522" fmla="*/ 601265 w 1674813"/>
                <a:gd name="connsiteY522" fmla="*/ 742806 h 2003425"/>
                <a:gd name="connsiteX523" fmla="*/ 617537 w 1674813"/>
                <a:gd name="connsiteY523" fmla="*/ 726643 h 2003425"/>
                <a:gd name="connsiteX524" fmla="*/ 624402 w 1674813"/>
                <a:gd name="connsiteY524" fmla="*/ 740281 h 2003425"/>
                <a:gd name="connsiteX525" fmla="*/ 627276 w 1674813"/>
                <a:gd name="connsiteY525" fmla="*/ 745991 h 2003425"/>
                <a:gd name="connsiteX526" fmla="*/ 631378 w 1674813"/>
                <a:gd name="connsiteY526" fmla="*/ 741433 h 2003425"/>
                <a:gd name="connsiteX527" fmla="*/ 637870 w 1674813"/>
                <a:gd name="connsiteY527" fmla="*/ 736741 h 2003425"/>
                <a:gd name="connsiteX528" fmla="*/ 636351 w 1674813"/>
                <a:gd name="connsiteY528" fmla="*/ 735987 h 2003425"/>
                <a:gd name="connsiteX529" fmla="*/ 617537 w 1674813"/>
                <a:gd name="connsiteY529" fmla="*/ 726643 h 2003425"/>
                <a:gd name="connsiteX530" fmla="*/ 599836 w 1674813"/>
                <a:gd name="connsiteY530" fmla="*/ 716703 h 2003425"/>
                <a:gd name="connsiteX531" fmla="*/ 597175 w 1674813"/>
                <a:gd name="connsiteY531" fmla="*/ 717587 h 2003425"/>
                <a:gd name="connsiteX532" fmla="*/ 577946 w 1674813"/>
                <a:gd name="connsiteY532" fmla="*/ 723971 h 2003425"/>
                <a:gd name="connsiteX533" fmla="*/ 577230 w 1674813"/>
                <a:gd name="connsiteY533" fmla="*/ 726931 h 2003425"/>
                <a:gd name="connsiteX534" fmla="*/ 582722 w 1674813"/>
                <a:gd name="connsiteY534" fmla="*/ 726931 h 2003425"/>
                <a:gd name="connsiteX535" fmla="*/ 590947 w 1674813"/>
                <a:gd name="connsiteY535" fmla="*/ 726931 h 2003425"/>
                <a:gd name="connsiteX536" fmla="*/ 527424 w 1674813"/>
                <a:gd name="connsiteY536" fmla="*/ 713315 h 2003425"/>
                <a:gd name="connsiteX537" fmla="*/ 530048 w 1674813"/>
                <a:gd name="connsiteY537" fmla="*/ 719825 h 2003425"/>
                <a:gd name="connsiteX538" fmla="*/ 530882 w 1674813"/>
                <a:gd name="connsiteY538" fmla="*/ 725205 h 2003425"/>
                <a:gd name="connsiteX539" fmla="*/ 537102 w 1674813"/>
                <a:gd name="connsiteY539" fmla="*/ 743734 h 2003425"/>
                <a:gd name="connsiteX540" fmla="*/ 538626 w 1674813"/>
                <a:gd name="connsiteY540" fmla="*/ 745233 h 2003425"/>
                <a:gd name="connsiteX541" fmla="*/ 552792 w 1674813"/>
                <a:gd name="connsiteY541" fmla="*/ 759170 h 2003425"/>
                <a:gd name="connsiteX542" fmla="*/ 552796 w 1674813"/>
                <a:gd name="connsiteY542" fmla="*/ 758994 h 2003425"/>
                <a:gd name="connsiteX543" fmla="*/ 550929 w 1674813"/>
                <a:gd name="connsiteY543" fmla="*/ 755320 h 2003425"/>
                <a:gd name="connsiteX544" fmla="*/ 536575 w 1674813"/>
                <a:gd name="connsiteY544" fmla="*/ 727076 h 2003425"/>
                <a:gd name="connsiteX545" fmla="*/ 550416 w 1674813"/>
                <a:gd name="connsiteY545" fmla="*/ 727076 h 2003425"/>
                <a:gd name="connsiteX546" fmla="*/ 555495 w 1674813"/>
                <a:gd name="connsiteY546" fmla="*/ 727076 h 2003425"/>
                <a:gd name="connsiteX547" fmla="*/ 555866 w 1674813"/>
                <a:gd name="connsiteY547" fmla="*/ 722643 h 2003425"/>
                <a:gd name="connsiteX548" fmla="*/ 548622 w 1674813"/>
                <a:gd name="connsiteY548" fmla="*/ 720267 h 2003425"/>
                <a:gd name="connsiteX549" fmla="*/ 943372 w 1674813"/>
                <a:gd name="connsiteY549" fmla="*/ 710815 h 2003425"/>
                <a:gd name="connsiteX550" fmla="*/ 943372 w 1674813"/>
                <a:gd name="connsiteY550" fmla="*/ 759341 h 2003425"/>
                <a:gd name="connsiteX551" fmla="*/ 910828 w 1674813"/>
                <a:gd name="connsiteY551" fmla="*/ 726990 h 2003425"/>
                <a:gd name="connsiteX552" fmla="*/ 943372 w 1674813"/>
                <a:gd name="connsiteY552" fmla="*/ 791691 h 2003425"/>
                <a:gd name="connsiteX553" fmla="*/ 894557 w 1674813"/>
                <a:gd name="connsiteY553" fmla="*/ 759341 h 2003425"/>
                <a:gd name="connsiteX554" fmla="*/ 927100 w 1674813"/>
                <a:gd name="connsiteY554" fmla="*/ 807867 h 2003425"/>
                <a:gd name="connsiteX555" fmla="*/ 878285 w 1674813"/>
                <a:gd name="connsiteY555" fmla="*/ 775516 h 2003425"/>
                <a:gd name="connsiteX556" fmla="*/ 898879 w 1674813"/>
                <a:gd name="connsiteY556" fmla="*/ 802812 h 2003425"/>
                <a:gd name="connsiteX557" fmla="*/ 903163 w 1674813"/>
                <a:gd name="connsiteY557" fmla="*/ 808491 h 2003425"/>
                <a:gd name="connsiteX558" fmla="*/ 928737 w 1674813"/>
                <a:gd name="connsiteY558" fmla="*/ 814620 h 2003425"/>
                <a:gd name="connsiteX559" fmla="*/ 945944 w 1674813"/>
                <a:gd name="connsiteY559" fmla="*/ 821591 h 2003425"/>
                <a:gd name="connsiteX560" fmla="*/ 951339 w 1674813"/>
                <a:gd name="connsiteY560" fmla="*/ 766065 h 2003425"/>
                <a:gd name="connsiteX561" fmla="*/ 954548 w 1674813"/>
                <a:gd name="connsiteY561" fmla="*/ 733034 h 2003425"/>
                <a:gd name="connsiteX562" fmla="*/ 952779 w 1674813"/>
                <a:gd name="connsiteY562" fmla="*/ 729517 h 2003425"/>
                <a:gd name="connsiteX563" fmla="*/ 943372 w 1674813"/>
                <a:gd name="connsiteY563" fmla="*/ 710815 h 2003425"/>
                <a:gd name="connsiteX564" fmla="*/ 698500 w 1674813"/>
                <a:gd name="connsiteY564" fmla="*/ 710565 h 2003425"/>
                <a:gd name="connsiteX565" fmla="*/ 699008 w 1674813"/>
                <a:gd name="connsiteY565" fmla="*/ 711324 h 2003425"/>
                <a:gd name="connsiteX566" fmla="*/ 699141 w 1674813"/>
                <a:gd name="connsiteY566" fmla="*/ 711523 h 2003425"/>
                <a:gd name="connsiteX567" fmla="*/ 699607 w 1674813"/>
                <a:gd name="connsiteY567" fmla="*/ 711300 h 2003425"/>
                <a:gd name="connsiteX568" fmla="*/ 633809 w 1674813"/>
                <a:gd name="connsiteY568" fmla="*/ 710479 h 2003425"/>
                <a:gd name="connsiteX569" fmla="*/ 640674 w 1674813"/>
                <a:gd name="connsiteY569" fmla="*/ 724117 h 2003425"/>
                <a:gd name="connsiteX570" fmla="*/ 644585 w 1674813"/>
                <a:gd name="connsiteY570" fmla="*/ 731888 h 2003425"/>
                <a:gd name="connsiteX571" fmla="*/ 657754 w 1674813"/>
                <a:gd name="connsiteY571" fmla="*/ 722372 h 2003425"/>
                <a:gd name="connsiteX572" fmla="*/ 652623 w 1674813"/>
                <a:gd name="connsiteY572" fmla="*/ 719824 h 2003425"/>
                <a:gd name="connsiteX573" fmla="*/ 634734 w 1674813"/>
                <a:gd name="connsiteY573" fmla="*/ 710938 h 2003425"/>
                <a:gd name="connsiteX574" fmla="*/ 634603 w 1674813"/>
                <a:gd name="connsiteY574" fmla="*/ 711200 h 2003425"/>
                <a:gd name="connsiteX575" fmla="*/ 634603 w 1674813"/>
                <a:gd name="connsiteY575" fmla="*/ 710874 h 2003425"/>
                <a:gd name="connsiteX576" fmla="*/ 531077 w 1674813"/>
                <a:gd name="connsiteY576" fmla="*/ 700161 h 2003425"/>
                <a:gd name="connsiteX577" fmla="*/ 524810 w 1674813"/>
                <a:gd name="connsiteY577" fmla="*/ 706829 h 2003425"/>
                <a:gd name="connsiteX578" fmla="*/ 526465 w 1674813"/>
                <a:gd name="connsiteY578" fmla="*/ 710936 h 2003425"/>
                <a:gd name="connsiteX579" fmla="*/ 534012 w 1674813"/>
                <a:gd name="connsiteY579" fmla="*/ 710936 h 2003425"/>
                <a:gd name="connsiteX580" fmla="*/ 552979 w 1674813"/>
                <a:gd name="connsiteY580" fmla="*/ 710936 h 2003425"/>
                <a:gd name="connsiteX581" fmla="*/ 539138 w 1674813"/>
                <a:gd name="connsiteY581" fmla="*/ 704127 h 2003425"/>
                <a:gd name="connsiteX582" fmla="*/ 642025 w 1674813"/>
                <a:gd name="connsiteY582" fmla="*/ 696356 h 2003425"/>
                <a:gd name="connsiteX583" fmla="*/ 639981 w 1674813"/>
                <a:gd name="connsiteY583" fmla="*/ 700446 h 2003425"/>
                <a:gd name="connsiteX584" fmla="*/ 647539 w 1674813"/>
                <a:gd name="connsiteY584" fmla="*/ 707953 h 2003425"/>
                <a:gd name="connsiteX585" fmla="*/ 660243 w 1674813"/>
                <a:gd name="connsiteY585" fmla="*/ 720573 h 2003425"/>
                <a:gd name="connsiteX586" fmla="*/ 674092 w 1674813"/>
                <a:gd name="connsiteY586" fmla="*/ 710565 h 2003425"/>
                <a:gd name="connsiteX587" fmla="*/ 681800 w 1674813"/>
                <a:gd name="connsiteY587" fmla="*/ 706233 h 2003425"/>
                <a:gd name="connsiteX588" fmla="*/ 666353 w 1674813"/>
                <a:gd name="connsiteY588" fmla="*/ 702397 h 2003425"/>
                <a:gd name="connsiteX589" fmla="*/ 643979 w 1674813"/>
                <a:gd name="connsiteY589" fmla="*/ 696841 h 2003425"/>
                <a:gd name="connsiteX590" fmla="*/ 585258 w 1674813"/>
                <a:gd name="connsiteY590" fmla="*/ 694604 h 2003425"/>
                <a:gd name="connsiteX591" fmla="*/ 586970 w 1674813"/>
                <a:gd name="connsiteY591" fmla="*/ 695457 h 2003425"/>
                <a:gd name="connsiteX592" fmla="*/ 588301 w 1674813"/>
                <a:gd name="connsiteY592" fmla="*/ 696120 h 2003425"/>
                <a:gd name="connsiteX593" fmla="*/ 588554 w 1674813"/>
                <a:gd name="connsiteY593" fmla="*/ 694604 h 2003425"/>
                <a:gd name="connsiteX594" fmla="*/ 797092 w 1674813"/>
                <a:gd name="connsiteY594" fmla="*/ 694566 h 2003425"/>
                <a:gd name="connsiteX595" fmla="*/ 797092 w 1674813"/>
                <a:gd name="connsiteY595" fmla="*/ 695828 h 2003425"/>
                <a:gd name="connsiteX596" fmla="*/ 797092 w 1674813"/>
                <a:gd name="connsiteY596" fmla="*/ 696286 h 2003425"/>
                <a:gd name="connsiteX597" fmla="*/ 797963 w 1674813"/>
                <a:gd name="connsiteY597" fmla="*/ 698019 h 2003425"/>
                <a:gd name="connsiteX598" fmla="*/ 731044 w 1674813"/>
                <a:gd name="connsiteY598" fmla="*/ 694373 h 2003425"/>
                <a:gd name="connsiteX599" fmla="*/ 731298 w 1674813"/>
                <a:gd name="connsiteY599" fmla="*/ 695132 h 2003425"/>
                <a:gd name="connsiteX600" fmla="*/ 731589 w 1674813"/>
                <a:gd name="connsiteY600" fmla="*/ 695999 h 2003425"/>
                <a:gd name="connsiteX601" fmla="*/ 731790 w 1674813"/>
                <a:gd name="connsiteY601" fmla="*/ 695903 h 2003425"/>
                <a:gd name="connsiteX602" fmla="*/ 732369 w 1674813"/>
                <a:gd name="connsiteY602" fmla="*/ 695692 h 2003425"/>
                <a:gd name="connsiteX603" fmla="*/ 633809 w 1674813"/>
                <a:gd name="connsiteY603" fmla="*/ 694315 h 2003425"/>
                <a:gd name="connsiteX604" fmla="*/ 634603 w 1674813"/>
                <a:gd name="connsiteY604" fmla="*/ 695104 h 2003425"/>
                <a:gd name="connsiteX605" fmla="*/ 634603 w 1674813"/>
                <a:gd name="connsiteY605" fmla="*/ 694513 h 2003425"/>
                <a:gd name="connsiteX606" fmla="*/ 707362 w 1674813"/>
                <a:gd name="connsiteY606" fmla="*/ 691731 h 2003425"/>
                <a:gd name="connsiteX607" fmla="*/ 705996 w 1674813"/>
                <a:gd name="connsiteY607" fmla="*/ 692633 h 2003425"/>
                <a:gd name="connsiteX608" fmla="*/ 707513 w 1674813"/>
                <a:gd name="connsiteY608" fmla="*/ 691781 h 2003425"/>
                <a:gd name="connsiteX609" fmla="*/ 715963 w 1674813"/>
                <a:gd name="connsiteY609" fmla="*/ 686510 h 2003425"/>
                <a:gd name="connsiteX610" fmla="*/ 712849 w 1674813"/>
                <a:gd name="connsiteY610" fmla="*/ 688106 h 2003425"/>
                <a:gd name="connsiteX611" fmla="*/ 710488 w 1674813"/>
                <a:gd name="connsiteY611" fmla="*/ 689666 h 2003425"/>
                <a:gd name="connsiteX612" fmla="*/ 710773 w 1674813"/>
                <a:gd name="connsiteY612" fmla="*/ 689949 h 2003425"/>
                <a:gd name="connsiteX613" fmla="*/ 715963 w 1674813"/>
                <a:gd name="connsiteY613" fmla="*/ 687031 h 2003425"/>
                <a:gd name="connsiteX614" fmla="*/ 488157 w 1674813"/>
                <a:gd name="connsiteY614" fmla="*/ 682217 h 2003425"/>
                <a:gd name="connsiteX615" fmla="*/ 476078 w 1674813"/>
                <a:gd name="connsiteY615" fmla="*/ 685213 h 2003425"/>
                <a:gd name="connsiteX616" fmla="*/ 467548 w 1674813"/>
                <a:gd name="connsiteY616" fmla="*/ 687330 h 2003425"/>
                <a:gd name="connsiteX617" fmla="*/ 460698 w 1674813"/>
                <a:gd name="connsiteY617" fmla="*/ 701030 h 2003425"/>
                <a:gd name="connsiteX618" fmla="*/ 456418 w 1674813"/>
                <a:gd name="connsiteY618" fmla="*/ 709590 h 2003425"/>
                <a:gd name="connsiteX619" fmla="*/ 460804 w 1674813"/>
                <a:gd name="connsiteY619" fmla="*/ 706688 h 2003425"/>
                <a:gd name="connsiteX620" fmla="*/ 475315 w 1674813"/>
                <a:gd name="connsiteY620" fmla="*/ 697088 h 2003425"/>
                <a:gd name="connsiteX621" fmla="*/ 488157 w 1674813"/>
                <a:gd name="connsiteY621" fmla="*/ 688591 h 2003425"/>
                <a:gd name="connsiteX622" fmla="*/ 488157 w 1674813"/>
                <a:gd name="connsiteY622" fmla="*/ 683741 h 2003425"/>
                <a:gd name="connsiteX623" fmla="*/ 675413 w 1674813"/>
                <a:gd name="connsiteY623" fmla="*/ 681152 h 2003425"/>
                <a:gd name="connsiteX624" fmla="*/ 674775 w 1674813"/>
                <a:gd name="connsiteY624" fmla="*/ 682216 h 2003425"/>
                <a:gd name="connsiteX625" fmla="*/ 673157 w 1674813"/>
                <a:gd name="connsiteY625" fmla="*/ 684911 h 2003425"/>
                <a:gd name="connsiteX626" fmla="*/ 680082 w 1674813"/>
                <a:gd name="connsiteY626" fmla="*/ 691790 h 2003425"/>
                <a:gd name="connsiteX627" fmla="*/ 689916 w 1674813"/>
                <a:gd name="connsiteY627" fmla="*/ 701559 h 2003425"/>
                <a:gd name="connsiteX628" fmla="*/ 703473 w 1674813"/>
                <a:gd name="connsiteY628" fmla="*/ 691960 h 2003425"/>
                <a:gd name="connsiteX629" fmla="*/ 705305 w 1674813"/>
                <a:gd name="connsiteY629" fmla="*/ 691049 h 2003425"/>
                <a:gd name="connsiteX630" fmla="*/ 690761 w 1674813"/>
                <a:gd name="connsiteY630" fmla="*/ 686234 h 2003425"/>
                <a:gd name="connsiteX631" fmla="*/ 726539 w 1674813"/>
                <a:gd name="connsiteY631" fmla="*/ 681087 h 2003425"/>
                <a:gd name="connsiteX632" fmla="*/ 720199 w 1674813"/>
                <a:gd name="connsiteY632" fmla="*/ 684337 h 2003425"/>
                <a:gd name="connsiteX633" fmla="*/ 720038 w 1674813"/>
                <a:gd name="connsiteY633" fmla="*/ 684741 h 2003425"/>
                <a:gd name="connsiteX634" fmla="*/ 540041 w 1674813"/>
                <a:gd name="connsiteY634" fmla="*/ 678657 h 2003425"/>
                <a:gd name="connsiteX635" fmla="*/ 535955 w 1674813"/>
                <a:gd name="connsiteY635" fmla="*/ 689620 h 2003425"/>
                <a:gd name="connsiteX636" fmla="*/ 540932 w 1674813"/>
                <a:gd name="connsiteY636" fmla="*/ 687987 h 2003425"/>
                <a:gd name="connsiteX637" fmla="*/ 553244 w 1674813"/>
                <a:gd name="connsiteY637" fmla="*/ 683950 h 2003425"/>
                <a:gd name="connsiteX638" fmla="*/ 553244 w 1674813"/>
                <a:gd name="connsiteY638" fmla="*/ 678657 h 2003425"/>
                <a:gd name="connsiteX639" fmla="*/ 548622 w 1674813"/>
                <a:gd name="connsiteY639" fmla="*/ 678657 h 2003425"/>
                <a:gd name="connsiteX640" fmla="*/ 423069 w 1674813"/>
                <a:gd name="connsiteY640" fmla="*/ 678656 h 2003425"/>
                <a:gd name="connsiteX641" fmla="*/ 417984 w 1674813"/>
                <a:gd name="connsiteY641" fmla="*/ 683741 h 2003425"/>
                <a:gd name="connsiteX642" fmla="*/ 411492 w 1674813"/>
                <a:gd name="connsiteY642" fmla="*/ 690233 h 2003425"/>
                <a:gd name="connsiteX643" fmla="*/ 414818 w 1674813"/>
                <a:gd name="connsiteY643" fmla="*/ 692321 h 2003425"/>
                <a:gd name="connsiteX644" fmla="*/ 423069 w 1674813"/>
                <a:gd name="connsiteY644" fmla="*/ 698838 h 2003425"/>
                <a:gd name="connsiteX645" fmla="*/ 423069 w 1674813"/>
                <a:gd name="connsiteY645" fmla="*/ 697471 h 2003425"/>
                <a:gd name="connsiteX646" fmla="*/ 423069 w 1674813"/>
                <a:gd name="connsiteY646" fmla="*/ 678656 h 2003425"/>
                <a:gd name="connsiteX647" fmla="*/ 862263 w 1674813"/>
                <a:gd name="connsiteY647" fmla="*/ 678415 h 2003425"/>
                <a:gd name="connsiteX648" fmla="*/ 860227 w 1674813"/>
                <a:gd name="connsiteY648" fmla="*/ 686491 h 2003425"/>
                <a:gd name="connsiteX649" fmla="*/ 860006 w 1674813"/>
                <a:gd name="connsiteY649" fmla="*/ 687367 h 2003425"/>
                <a:gd name="connsiteX650" fmla="*/ 862263 w 1674813"/>
                <a:gd name="connsiteY650" fmla="*/ 690362 h 2003425"/>
                <a:gd name="connsiteX651" fmla="*/ 747315 w 1674813"/>
                <a:gd name="connsiteY651" fmla="*/ 678180 h 2003425"/>
                <a:gd name="connsiteX652" fmla="*/ 751383 w 1674813"/>
                <a:gd name="connsiteY652" fmla="*/ 686277 h 2003425"/>
                <a:gd name="connsiteX653" fmla="*/ 752443 w 1674813"/>
                <a:gd name="connsiteY653" fmla="*/ 688386 h 2003425"/>
                <a:gd name="connsiteX654" fmla="*/ 758188 w 1674813"/>
                <a:gd name="connsiteY654" fmla="*/ 686295 h 2003425"/>
                <a:gd name="connsiteX655" fmla="*/ 757485 w 1674813"/>
                <a:gd name="connsiteY655" fmla="*/ 685771 h 2003425"/>
                <a:gd name="connsiteX656" fmla="*/ 747315 w 1674813"/>
                <a:gd name="connsiteY656" fmla="*/ 678180 h 2003425"/>
                <a:gd name="connsiteX657" fmla="*/ 666353 w 1674813"/>
                <a:gd name="connsiteY657" fmla="*/ 678152 h 2003425"/>
                <a:gd name="connsiteX658" fmla="*/ 668069 w 1674813"/>
                <a:gd name="connsiteY658" fmla="*/ 679857 h 2003425"/>
                <a:gd name="connsiteX659" fmla="*/ 669815 w 1674813"/>
                <a:gd name="connsiteY659" fmla="*/ 681591 h 2003425"/>
                <a:gd name="connsiteX660" fmla="*/ 670245 w 1674813"/>
                <a:gd name="connsiteY660" fmla="*/ 679441 h 2003425"/>
                <a:gd name="connsiteX661" fmla="*/ 1008394 w 1674813"/>
                <a:gd name="connsiteY661" fmla="*/ 677843 h 2003425"/>
                <a:gd name="connsiteX662" fmla="*/ 1007904 w 1674813"/>
                <a:gd name="connsiteY662" fmla="*/ 677863 h 2003425"/>
                <a:gd name="connsiteX663" fmla="*/ 1008375 w 1674813"/>
                <a:gd name="connsiteY663" fmla="*/ 677863 h 2003425"/>
                <a:gd name="connsiteX664" fmla="*/ 748507 w 1674813"/>
                <a:gd name="connsiteY664" fmla="*/ 669824 h 2003425"/>
                <a:gd name="connsiteX665" fmla="*/ 745048 w 1674813"/>
                <a:gd name="connsiteY665" fmla="*/ 671598 h 2003425"/>
                <a:gd name="connsiteX666" fmla="*/ 748507 w 1674813"/>
                <a:gd name="connsiteY666" fmla="*/ 669850 h 2003425"/>
                <a:gd name="connsiteX667" fmla="*/ 922461 w 1674813"/>
                <a:gd name="connsiteY667" fmla="*/ 669660 h 2003425"/>
                <a:gd name="connsiteX668" fmla="*/ 913687 w 1674813"/>
                <a:gd name="connsiteY668" fmla="*/ 682705 h 2003425"/>
                <a:gd name="connsiteX669" fmla="*/ 908241 w 1674813"/>
                <a:gd name="connsiteY669" fmla="*/ 690804 h 2003425"/>
                <a:gd name="connsiteX670" fmla="*/ 910034 w 1674813"/>
                <a:gd name="connsiteY670" fmla="*/ 694373 h 2003425"/>
                <a:gd name="connsiteX671" fmla="*/ 907042 w 1674813"/>
                <a:gd name="connsiteY671" fmla="*/ 692586 h 2003425"/>
                <a:gd name="connsiteX672" fmla="*/ 894849 w 1674813"/>
                <a:gd name="connsiteY672" fmla="*/ 710717 h 2003425"/>
                <a:gd name="connsiteX673" fmla="*/ 894849 w 1674813"/>
                <a:gd name="connsiteY673" fmla="*/ 697090 h 2003425"/>
                <a:gd name="connsiteX674" fmla="*/ 894849 w 1674813"/>
                <a:gd name="connsiteY674" fmla="*/ 685306 h 2003425"/>
                <a:gd name="connsiteX675" fmla="*/ 891542 w 1674813"/>
                <a:gd name="connsiteY675" fmla="*/ 683332 h 2003425"/>
                <a:gd name="connsiteX676" fmla="*/ 890776 w 1674813"/>
                <a:gd name="connsiteY676" fmla="*/ 684472 h 2003425"/>
                <a:gd name="connsiteX677" fmla="*/ 881102 w 1674813"/>
                <a:gd name="connsiteY677" fmla="*/ 698857 h 2003425"/>
                <a:gd name="connsiteX678" fmla="*/ 875238 w 1674813"/>
                <a:gd name="connsiteY678" fmla="*/ 707576 h 2003425"/>
                <a:gd name="connsiteX679" fmla="*/ 877490 w 1674813"/>
                <a:gd name="connsiteY679" fmla="*/ 710565 h 2003425"/>
                <a:gd name="connsiteX680" fmla="*/ 874936 w 1674813"/>
                <a:gd name="connsiteY680" fmla="*/ 708024 h 2003425"/>
                <a:gd name="connsiteX681" fmla="*/ 862263 w 1674813"/>
                <a:gd name="connsiteY681" fmla="*/ 726869 h 2003425"/>
                <a:gd name="connsiteX682" fmla="*/ 862263 w 1674813"/>
                <a:gd name="connsiteY682" fmla="*/ 706427 h 2003425"/>
                <a:gd name="connsiteX683" fmla="*/ 862263 w 1674813"/>
                <a:gd name="connsiteY683" fmla="*/ 695413 h 2003425"/>
                <a:gd name="connsiteX684" fmla="*/ 858837 w 1674813"/>
                <a:gd name="connsiteY684" fmla="*/ 692003 h 2003425"/>
                <a:gd name="connsiteX685" fmla="*/ 855390 w 1674813"/>
                <a:gd name="connsiteY685" fmla="*/ 705670 h 2003425"/>
                <a:gd name="connsiteX686" fmla="*/ 853359 w 1674813"/>
                <a:gd name="connsiteY686" fmla="*/ 713723 h 2003425"/>
                <a:gd name="connsiteX687" fmla="*/ 861219 w 1674813"/>
                <a:gd name="connsiteY687" fmla="*/ 726758 h 2003425"/>
                <a:gd name="connsiteX688" fmla="*/ 857723 w 1674813"/>
                <a:gd name="connsiteY688" fmla="*/ 723975 h 2003425"/>
                <a:gd name="connsiteX689" fmla="*/ 851936 w 1674813"/>
                <a:gd name="connsiteY689" fmla="*/ 719368 h 2003425"/>
                <a:gd name="connsiteX690" fmla="*/ 845971 w 1674813"/>
                <a:gd name="connsiteY690" fmla="*/ 743020 h 2003425"/>
                <a:gd name="connsiteX691" fmla="*/ 839097 w 1674813"/>
                <a:gd name="connsiteY691" fmla="*/ 722578 h 2003425"/>
                <a:gd name="connsiteX692" fmla="*/ 832930 w 1674813"/>
                <a:gd name="connsiteY692" fmla="*/ 704237 h 2003425"/>
                <a:gd name="connsiteX693" fmla="*/ 828190 w 1674813"/>
                <a:gd name="connsiteY693" fmla="*/ 700464 h 2003425"/>
                <a:gd name="connsiteX694" fmla="*/ 827641 w 1674813"/>
                <a:gd name="connsiteY694" fmla="*/ 702642 h 2003425"/>
                <a:gd name="connsiteX695" fmla="*/ 813385 w 1674813"/>
                <a:gd name="connsiteY695" fmla="*/ 759171 h 2003425"/>
                <a:gd name="connsiteX696" fmla="*/ 806512 w 1674813"/>
                <a:gd name="connsiteY696" fmla="*/ 731916 h 2003425"/>
                <a:gd name="connsiteX697" fmla="*/ 803543 w 1674813"/>
                <a:gd name="connsiteY697" fmla="*/ 720146 h 2003425"/>
                <a:gd name="connsiteX698" fmla="*/ 802233 w 1674813"/>
                <a:gd name="connsiteY698" fmla="*/ 719168 h 2003425"/>
                <a:gd name="connsiteX699" fmla="*/ 797092 w 1674813"/>
                <a:gd name="connsiteY699" fmla="*/ 715331 h 2003425"/>
                <a:gd name="connsiteX700" fmla="*/ 797092 w 1674813"/>
                <a:gd name="connsiteY700" fmla="*/ 728635 h 2003425"/>
                <a:gd name="connsiteX701" fmla="*/ 797092 w 1674813"/>
                <a:gd name="connsiteY701" fmla="*/ 775322 h 2003425"/>
                <a:gd name="connsiteX702" fmla="*/ 764507 w 1674813"/>
                <a:gd name="connsiteY702" fmla="*/ 710717 h 2003425"/>
                <a:gd name="connsiteX703" fmla="*/ 764507 w 1674813"/>
                <a:gd name="connsiteY703" fmla="*/ 712395 h 2003425"/>
                <a:gd name="connsiteX704" fmla="*/ 779859 w 1674813"/>
                <a:gd name="connsiteY704" fmla="*/ 742950 h 2003425"/>
                <a:gd name="connsiteX705" fmla="*/ 772232 w 1674813"/>
                <a:gd name="connsiteY705" fmla="*/ 735360 h 2003425"/>
                <a:gd name="connsiteX706" fmla="*/ 764507 w 1674813"/>
                <a:gd name="connsiteY706" fmla="*/ 727673 h 2003425"/>
                <a:gd name="connsiteX707" fmla="*/ 764507 w 1674813"/>
                <a:gd name="connsiteY707" fmla="*/ 751095 h 2003425"/>
                <a:gd name="connsiteX708" fmla="*/ 764507 w 1674813"/>
                <a:gd name="connsiteY708" fmla="*/ 791473 h 2003425"/>
                <a:gd name="connsiteX709" fmla="*/ 750760 w 1674813"/>
                <a:gd name="connsiteY709" fmla="*/ 764218 h 2003425"/>
                <a:gd name="connsiteX710" fmla="*/ 736370 w 1674813"/>
                <a:gd name="connsiteY710" fmla="*/ 735689 h 2003425"/>
                <a:gd name="connsiteX711" fmla="*/ 731921 w 1674813"/>
                <a:gd name="connsiteY711" fmla="*/ 732738 h 2003425"/>
                <a:gd name="connsiteX712" fmla="*/ 731921 w 1674813"/>
                <a:gd name="connsiteY712" fmla="*/ 739739 h 2003425"/>
                <a:gd name="connsiteX713" fmla="*/ 731921 w 1674813"/>
                <a:gd name="connsiteY713" fmla="*/ 769265 h 2003425"/>
                <a:gd name="connsiteX714" fmla="*/ 731921 w 1674813"/>
                <a:gd name="connsiteY714" fmla="*/ 791287 h 2003425"/>
                <a:gd name="connsiteX715" fmla="*/ 796528 w 1674813"/>
                <a:gd name="connsiteY715" fmla="*/ 792428 h 2003425"/>
                <a:gd name="connsiteX716" fmla="*/ 731921 w 1674813"/>
                <a:gd name="connsiteY716" fmla="*/ 795632 h 2003425"/>
                <a:gd name="connsiteX717" fmla="*/ 731921 w 1674813"/>
                <a:gd name="connsiteY717" fmla="*/ 797416 h 2003425"/>
                <a:gd name="connsiteX718" fmla="*/ 768401 w 1674813"/>
                <a:gd name="connsiteY718" fmla="*/ 799208 h 2003425"/>
                <a:gd name="connsiteX719" fmla="*/ 833665 w 1674813"/>
                <a:gd name="connsiteY719" fmla="*/ 806912 h 2003425"/>
                <a:gd name="connsiteX720" fmla="*/ 836728 w 1674813"/>
                <a:gd name="connsiteY720" fmla="*/ 801542 h 2003425"/>
                <a:gd name="connsiteX721" fmla="*/ 796528 w 1674813"/>
                <a:gd name="connsiteY721" fmla="*/ 792428 h 2003425"/>
                <a:gd name="connsiteX722" fmla="*/ 839688 w 1674813"/>
                <a:gd name="connsiteY722" fmla="*/ 796351 h 2003425"/>
                <a:gd name="connsiteX723" fmla="*/ 853877 w 1674813"/>
                <a:gd name="connsiteY723" fmla="*/ 771472 h 2003425"/>
                <a:gd name="connsiteX724" fmla="*/ 927100 w 1674813"/>
                <a:gd name="connsiteY724" fmla="*/ 694639 h 2003425"/>
                <a:gd name="connsiteX725" fmla="*/ 927434 w 1674813"/>
                <a:gd name="connsiteY725" fmla="*/ 694368 h 2003425"/>
                <a:gd name="connsiteX726" fmla="*/ 927434 w 1674813"/>
                <a:gd name="connsiteY726" fmla="*/ 692863 h 2003425"/>
                <a:gd name="connsiteX727" fmla="*/ 927434 w 1674813"/>
                <a:gd name="connsiteY727" fmla="*/ 680939 h 2003425"/>
                <a:gd name="connsiteX728" fmla="*/ 927434 w 1674813"/>
                <a:gd name="connsiteY728" fmla="*/ 673541 h 2003425"/>
                <a:gd name="connsiteX729" fmla="*/ 726107 w 1674813"/>
                <a:gd name="connsiteY729" fmla="*/ 669567 h 2003425"/>
                <a:gd name="connsiteX730" fmla="*/ 721048 w 1674813"/>
                <a:gd name="connsiteY730" fmla="*/ 682216 h 2003425"/>
                <a:gd name="connsiteX731" fmla="*/ 720543 w 1674813"/>
                <a:gd name="connsiteY731" fmla="*/ 683477 h 2003425"/>
                <a:gd name="connsiteX732" fmla="*/ 738569 w 1674813"/>
                <a:gd name="connsiteY732" fmla="*/ 674519 h 2003425"/>
                <a:gd name="connsiteX733" fmla="*/ 735000 w 1674813"/>
                <a:gd name="connsiteY733" fmla="*/ 673101 h 2003425"/>
                <a:gd name="connsiteX734" fmla="*/ 784328 w 1674813"/>
                <a:gd name="connsiteY734" fmla="*/ 665545 h 2003425"/>
                <a:gd name="connsiteX735" fmla="*/ 783437 w 1674813"/>
                <a:gd name="connsiteY735" fmla="*/ 669109 h 2003425"/>
                <a:gd name="connsiteX736" fmla="*/ 783927 w 1674813"/>
                <a:gd name="connsiteY736" fmla="*/ 670084 h 2003425"/>
                <a:gd name="connsiteX737" fmla="*/ 786834 w 1674813"/>
                <a:gd name="connsiteY737" fmla="*/ 675870 h 2003425"/>
                <a:gd name="connsiteX738" fmla="*/ 792856 w 1674813"/>
                <a:gd name="connsiteY738" fmla="*/ 673678 h 2003425"/>
                <a:gd name="connsiteX739" fmla="*/ 794122 w 1674813"/>
                <a:gd name="connsiteY739" fmla="*/ 673343 h 2003425"/>
                <a:gd name="connsiteX740" fmla="*/ 792572 w 1674813"/>
                <a:gd name="connsiteY740" fmla="*/ 672108 h 2003425"/>
                <a:gd name="connsiteX741" fmla="*/ 455613 w 1674813"/>
                <a:gd name="connsiteY741" fmla="*/ 662385 h 2003425"/>
                <a:gd name="connsiteX742" fmla="*/ 439341 w 1674813"/>
                <a:gd name="connsiteY742" fmla="*/ 686792 h 2003425"/>
                <a:gd name="connsiteX743" fmla="*/ 428467 w 1674813"/>
                <a:gd name="connsiteY743" fmla="*/ 703103 h 2003425"/>
                <a:gd name="connsiteX744" fmla="*/ 472203 w 1674813"/>
                <a:gd name="connsiteY744" fmla="*/ 737651 h 2003425"/>
                <a:gd name="connsiteX745" fmla="*/ 494721 w 1674813"/>
                <a:gd name="connsiteY745" fmla="*/ 759237 h 2003425"/>
                <a:gd name="connsiteX746" fmla="*/ 501027 w 1674813"/>
                <a:gd name="connsiteY746" fmla="*/ 759237 h 2003425"/>
                <a:gd name="connsiteX747" fmla="*/ 519865 w 1674813"/>
                <a:gd name="connsiteY747" fmla="*/ 759237 h 2003425"/>
                <a:gd name="connsiteX748" fmla="*/ 487280 w 1674813"/>
                <a:gd name="connsiteY748" fmla="*/ 743068 h 2003425"/>
                <a:gd name="connsiteX749" fmla="*/ 519865 w 1674813"/>
                <a:gd name="connsiteY749" fmla="*/ 726899 h 2003425"/>
                <a:gd name="connsiteX750" fmla="*/ 470987 w 1674813"/>
                <a:gd name="connsiteY750" fmla="*/ 726899 h 2003425"/>
                <a:gd name="connsiteX751" fmla="*/ 503572 w 1674813"/>
                <a:gd name="connsiteY751" fmla="*/ 710730 h 2003425"/>
                <a:gd name="connsiteX752" fmla="*/ 497463 w 1674813"/>
                <a:gd name="connsiteY752" fmla="*/ 710730 h 2003425"/>
                <a:gd name="connsiteX753" fmla="*/ 488392 w 1674813"/>
                <a:gd name="connsiteY753" fmla="*/ 710730 h 2003425"/>
                <a:gd name="connsiteX754" fmla="*/ 488157 w 1674813"/>
                <a:gd name="connsiteY754" fmla="*/ 711200 h 2003425"/>
                <a:gd name="connsiteX755" fmla="*/ 488157 w 1674813"/>
                <a:gd name="connsiteY755" fmla="*/ 710730 h 2003425"/>
                <a:gd name="connsiteX756" fmla="*/ 482952 w 1674813"/>
                <a:gd name="connsiteY756" fmla="*/ 710730 h 2003425"/>
                <a:gd name="connsiteX757" fmla="*/ 455848 w 1674813"/>
                <a:gd name="connsiteY757" fmla="*/ 710730 h 2003425"/>
                <a:gd name="connsiteX758" fmla="*/ 455613 w 1674813"/>
                <a:gd name="connsiteY758" fmla="*/ 711200 h 2003425"/>
                <a:gd name="connsiteX759" fmla="*/ 455613 w 1674813"/>
                <a:gd name="connsiteY759" fmla="*/ 710730 h 2003425"/>
                <a:gd name="connsiteX760" fmla="*/ 454694 w 1674813"/>
                <a:gd name="connsiteY760" fmla="*/ 710730 h 2003425"/>
                <a:gd name="connsiteX761" fmla="*/ 455458 w 1674813"/>
                <a:gd name="connsiteY761" fmla="*/ 710225 h 2003425"/>
                <a:gd name="connsiteX762" fmla="*/ 455613 w 1674813"/>
                <a:gd name="connsiteY762" fmla="*/ 710122 h 2003425"/>
                <a:gd name="connsiteX763" fmla="*/ 455613 w 1674813"/>
                <a:gd name="connsiteY763" fmla="*/ 705098 h 2003425"/>
                <a:gd name="connsiteX764" fmla="*/ 455613 w 1674813"/>
                <a:gd name="connsiteY764" fmla="*/ 690606 h 2003425"/>
                <a:gd name="connsiteX765" fmla="*/ 455613 w 1674813"/>
                <a:gd name="connsiteY765" fmla="*/ 690291 h 2003425"/>
                <a:gd name="connsiteX766" fmla="*/ 438401 w 1674813"/>
                <a:gd name="connsiteY766" fmla="*/ 694561 h 2003425"/>
                <a:gd name="connsiteX767" fmla="*/ 444511 w 1674813"/>
                <a:gd name="connsiteY767" fmla="*/ 690519 h 2003425"/>
                <a:gd name="connsiteX768" fmla="*/ 455613 w 1674813"/>
                <a:gd name="connsiteY768" fmla="*/ 683174 h 2003425"/>
                <a:gd name="connsiteX769" fmla="*/ 585258 w 1674813"/>
                <a:gd name="connsiteY769" fmla="*/ 662277 h 2003425"/>
                <a:gd name="connsiteX770" fmla="*/ 589315 w 1674813"/>
                <a:gd name="connsiteY770" fmla="*/ 666318 h 2003425"/>
                <a:gd name="connsiteX771" fmla="*/ 592705 w 1674813"/>
                <a:gd name="connsiteY771" fmla="*/ 669694 h 2003425"/>
                <a:gd name="connsiteX772" fmla="*/ 593942 w 1674813"/>
                <a:gd name="connsiteY772" fmla="*/ 662277 h 2003425"/>
                <a:gd name="connsiteX773" fmla="*/ 480101 w 1674813"/>
                <a:gd name="connsiteY773" fmla="*/ 662223 h 2003425"/>
                <a:gd name="connsiteX774" fmla="*/ 476553 w 1674813"/>
                <a:gd name="connsiteY774" fmla="*/ 669320 h 2003425"/>
                <a:gd name="connsiteX775" fmla="*/ 487280 w 1674813"/>
                <a:gd name="connsiteY775" fmla="*/ 662223 h 2003425"/>
                <a:gd name="connsiteX776" fmla="*/ 779859 w 1674813"/>
                <a:gd name="connsiteY776" fmla="*/ 661988 h 2003425"/>
                <a:gd name="connsiteX777" fmla="*/ 780368 w 1674813"/>
                <a:gd name="connsiteY777" fmla="*/ 663000 h 2003425"/>
                <a:gd name="connsiteX778" fmla="*/ 781050 w 1674813"/>
                <a:gd name="connsiteY778" fmla="*/ 664358 h 2003425"/>
                <a:gd name="connsiteX779" fmla="*/ 781050 w 1674813"/>
                <a:gd name="connsiteY779" fmla="*/ 662936 h 2003425"/>
                <a:gd name="connsiteX780" fmla="*/ 545804 w 1674813"/>
                <a:gd name="connsiteY780" fmla="*/ 660164 h 2003425"/>
                <a:gd name="connsiteX781" fmla="*/ 544022 w 1674813"/>
                <a:gd name="connsiteY781" fmla="*/ 666923 h 2003425"/>
                <a:gd name="connsiteX782" fmla="*/ 552979 w 1674813"/>
                <a:gd name="connsiteY782" fmla="*/ 662517 h 2003425"/>
                <a:gd name="connsiteX783" fmla="*/ 758262 w 1674813"/>
                <a:gd name="connsiteY783" fmla="*/ 659146 h 2003425"/>
                <a:gd name="connsiteX784" fmla="*/ 754545 w 1674813"/>
                <a:gd name="connsiteY784" fmla="*/ 666579 h 2003425"/>
                <a:gd name="connsiteX785" fmla="*/ 763884 w 1674813"/>
                <a:gd name="connsiteY785" fmla="*/ 661938 h 2003425"/>
                <a:gd name="connsiteX786" fmla="*/ 690785 w 1674813"/>
                <a:gd name="connsiteY786" fmla="*/ 655532 h 2003425"/>
                <a:gd name="connsiteX787" fmla="*/ 685311 w 1674813"/>
                <a:gd name="connsiteY787" fmla="*/ 664656 h 2003425"/>
                <a:gd name="connsiteX788" fmla="*/ 686947 w 1674813"/>
                <a:gd name="connsiteY788" fmla="*/ 666282 h 2003425"/>
                <a:gd name="connsiteX789" fmla="*/ 709688 w 1674813"/>
                <a:gd name="connsiteY789" fmla="*/ 688871 h 2003425"/>
                <a:gd name="connsiteX790" fmla="*/ 715963 w 1674813"/>
                <a:gd name="connsiteY790" fmla="*/ 685753 h 2003425"/>
                <a:gd name="connsiteX791" fmla="*/ 715963 w 1674813"/>
                <a:gd name="connsiteY791" fmla="*/ 684758 h 2003425"/>
                <a:gd name="connsiteX792" fmla="*/ 715963 w 1674813"/>
                <a:gd name="connsiteY792" fmla="*/ 665536 h 2003425"/>
                <a:gd name="connsiteX793" fmla="*/ 699445 w 1674813"/>
                <a:gd name="connsiteY793" fmla="*/ 658973 h 2003425"/>
                <a:gd name="connsiteX794" fmla="*/ 839808 w 1674813"/>
                <a:gd name="connsiteY794" fmla="*/ 652443 h 2003425"/>
                <a:gd name="connsiteX795" fmla="*/ 836316 w 1674813"/>
                <a:gd name="connsiteY795" fmla="*/ 655934 h 2003425"/>
                <a:gd name="connsiteX796" fmla="*/ 840237 w 1674813"/>
                <a:gd name="connsiteY796" fmla="*/ 661136 h 2003425"/>
                <a:gd name="connsiteX797" fmla="*/ 848194 w 1674813"/>
                <a:gd name="connsiteY797" fmla="*/ 659030 h 2003425"/>
                <a:gd name="connsiteX798" fmla="*/ 850233 w 1674813"/>
                <a:gd name="connsiteY798" fmla="*/ 658667 h 2003425"/>
                <a:gd name="connsiteX799" fmla="*/ 841387 w 1674813"/>
                <a:gd name="connsiteY799" fmla="*/ 653386 h 2003425"/>
                <a:gd name="connsiteX800" fmla="*/ 818737 w 1674813"/>
                <a:gd name="connsiteY800" fmla="*/ 652098 h 2003425"/>
                <a:gd name="connsiteX801" fmla="*/ 817588 w 1674813"/>
                <a:gd name="connsiteY801" fmla="*/ 654396 h 2003425"/>
                <a:gd name="connsiteX802" fmla="*/ 818505 w 1674813"/>
                <a:gd name="connsiteY802" fmla="*/ 655916 h 2003425"/>
                <a:gd name="connsiteX803" fmla="*/ 824210 w 1674813"/>
                <a:gd name="connsiteY803" fmla="*/ 665378 h 2003425"/>
                <a:gd name="connsiteX804" fmla="*/ 830428 w 1674813"/>
                <a:gd name="connsiteY804" fmla="*/ 663732 h 2003425"/>
                <a:gd name="connsiteX805" fmla="*/ 822573 w 1674813"/>
                <a:gd name="connsiteY805" fmla="*/ 655916 h 2003425"/>
                <a:gd name="connsiteX806" fmla="*/ 518201 w 1674813"/>
                <a:gd name="connsiteY806" fmla="*/ 651111 h 2003425"/>
                <a:gd name="connsiteX807" fmla="*/ 515615 w 1674813"/>
                <a:gd name="connsiteY807" fmla="*/ 656283 h 2003425"/>
                <a:gd name="connsiteX808" fmla="*/ 509425 w 1674813"/>
                <a:gd name="connsiteY808" fmla="*/ 668664 h 2003425"/>
                <a:gd name="connsiteX809" fmla="*/ 518219 w 1674813"/>
                <a:gd name="connsiteY809" fmla="*/ 687487 h 2003425"/>
                <a:gd name="connsiteX810" fmla="*/ 520623 w 1674813"/>
                <a:gd name="connsiteY810" fmla="*/ 694648 h 2003425"/>
                <a:gd name="connsiteX811" fmla="*/ 520700 w 1674813"/>
                <a:gd name="connsiteY811" fmla="*/ 694623 h 2003425"/>
                <a:gd name="connsiteX812" fmla="*/ 520700 w 1674813"/>
                <a:gd name="connsiteY812" fmla="*/ 683741 h 2003425"/>
                <a:gd name="connsiteX813" fmla="*/ 520700 w 1674813"/>
                <a:gd name="connsiteY813" fmla="*/ 678657 h 2003425"/>
                <a:gd name="connsiteX814" fmla="*/ 520171 w 1674813"/>
                <a:gd name="connsiteY814" fmla="*/ 678657 h 2003425"/>
                <a:gd name="connsiteX815" fmla="*/ 520700 w 1674813"/>
                <a:gd name="connsiteY815" fmla="*/ 678396 h 2003425"/>
                <a:gd name="connsiteX816" fmla="*/ 520700 w 1674813"/>
                <a:gd name="connsiteY816" fmla="*/ 651931 h 2003425"/>
                <a:gd name="connsiteX817" fmla="*/ 734914 w 1674813"/>
                <a:gd name="connsiteY817" fmla="*/ 647550 h 2003425"/>
                <a:gd name="connsiteX818" fmla="*/ 732235 w 1674813"/>
                <a:gd name="connsiteY818" fmla="*/ 654249 h 2003425"/>
                <a:gd name="connsiteX819" fmla="*/ 729793 w 1674813"/>
                <a:gd name="connsiteY819" fmla="*/ 660352 h 2003425"/>
                <a:gd name="connsiteX820" fmla="*/ 742226 w 1674813"/>
                <a:gd name="connsiteY820" fmla="*/ 672702 h 2003425"/>
                <a:gd name="connsiteX821" fmla="*/ 748507 w 1674813"/>
                <a:gd name="connsiteY821" fmla="*/ 669580 h 2003425"/>
                <a:gd name="connsiteX822" fmla="*/ 748507 w 1674813"/>
                <a:gd name="connsiteY822" fmla="*/ 654301 h 2003425"/>
                <a:gd name="connsiteX823" fmla="*/ 1154602 w 1674813"/>
                <a:gd name="connsiteY823" fmla="*/ 646510 h 2003425"/>
                <a:gd name="connsiteX824" fmla="*/ 1154602 w 1674813"/>
                <a:gd name="connsiteY824" fmla="*/ 660072 h 2003425"/>
                <a:gd name="connsiteX825" fmla="*/ 1154602 w 1674813"/>
                <a:gd name="connsiteY825" fmla="*/ 673990 h 2003425"/>
                <a:gd name="connsiteX826" fmla="*/ 1170115 w 1674813"/>
                <a:gd name="connsiteY826" fmla="*/ 677139 h 2003425"/>
                <a:gd name="connsiteX827" fmla="*/ 1168849 w 1674813"/>
                <a:gd name="connsiteY827" fmla="*/ 674639 h 2003425"/>
                <a:gd name="connsiteX828" fmla="*/ 1154602 w 1674813"/>
                <a:gd name="connsiteY828" fmla="*/ 646510 h 2003425"/>
                <a:gd name="connsiteX829" fmla="*/ 1089474 w 1674813"/>
                <a:gd name="connsiteY829" fmla="*/ 646510 h 2003425"/>
                <a:gd name="connsiteX830" fmla="*/ 1096343 w 1674813"/>
                <a:gd name="connsiteY830" fmla="*/ 660072 h 2003425"/>
                <a:gd name="connsiteX831" fmla="*/ 1097661 w 1674813"/>
                <a:gd name="connsiteY831" fmla="*/ 662675 h 2003425"/>
                <a:gd name="connsiteX832" fmla="*/ 1105191 w 1674813"/>
                <a:gd name="connsiteY832" fmla="*/ 662026 h 2003425"/>
                <a:gd name="connsiteX833" fmla="*/ 1056909 w 1674813"/>
                <a:gd name="connsiteY833" fmla="*/ 646510 h 2003425"/>
                <a:gd name="connsiteX834" fmla="*/ 1063778 w 1674813"/>
                <a:gd name="connsiteY834" fmla="*/ 660072 h 2003425"/>
                <a:gd name="connsiteX835" fmla="*/ 1065056 w 1674813"/>
                <a:gd name="connsiteY835" fmla="*/ 662594 h 2003425"/>
                <a:gd name="connsiteX836" fmla="*/ 1083295 w 1674813"/>
                <a:gd name="connsiteY836" fmla="*/ 663876 h 2003425"/>
                <a:gd name="connsiteX837" fmla="*/ 926844 w 1674813"/>
                <a:gd name="connsiteY837" fmla="*/ 646330 h 2003425"/>
                <a:gd name="connsiteX838" fmla="*/ 926735 w 1674813"/>
                <a:gd name="connsiteY838" fmla="*/ 646367 h 2003425"/>
                <a:gd name="connsiteX839" fmla="*/ 922387 w 1674813"/>
                <a:gd name="connsiteY839" fmla="*/ 647816 h 2003425"/>
                <a:gd name="connsiteX840" fmla="*/ 926178 w 1674813"/>
                <a:gd name="connsiteY840" fmla="*/ 647432 h 2003425"/>
                <a:gd name="connsiteX841" fmla="*/ 927062 w 1674813"/>
                <a:gd name="connsiteY841" fmla="*/ 646548 h 2003425"/>
                <a:gd name="connsiteX842" fmla="*/ 667136 w 1674813"/>
                <a:gd name="connsiteY842" fmla="*/ 646135 h 2003425"/>
                <a:gd name="connsiteX843" fmla="*/ 666980 w 1674813"/>
                <a:gd name="connsiteY843" fmla="*/ 646447 h 2003425"/>
                <a:gd name="connsiteX844" fmla="*/ 667116 w 1674813"/>
                <a:gd name="connsiteY844" fmla="*/ 646582 h 2003425"/>
                <a:gd name="connsiteX845" fmla="*/ 672455 w 1674813"/>
                <a:gd name="connsiteY845" fmla="*/ 651886 h 2003425"/>
                <a:gd name="connsiteX846" fmla="*/ 675209 w 1674813"/>
                <a:gd name="connsiteY846" fmla="*/ 654621 h 2003425"/>
                <a:gd name="connsiteX847" fmla="*/ 676186 w 1674813"/>
                <a:gd name="connsiteY847" fmla="*/ 649732 h 2003425"/>
                <a:gd name="connsiteX848" fmla="*/ 669849 w 1674813"/>
                <a:gd name="connsiteY848" fmla="*/ 647213 h 2003425"/>
                <a:gd name="connsiteX849" fmla="*/ 622584 w 1674813"/>
                <a:gd name="connsiteY849" fmla="*/ 646113 h 2003425"/>
                <a:gd name="connsiteX850" fmla="*/ 618340 w 1674813"/>
                <a:gd name="connsiteY850" fmla="*/ 657097 h 2003425"/>
                <a:gd name="connsiteX851" fmla="*/ 633941 w 1674813"/>
                <a:gd name="connsiteY851" fmla="*/ 662277 h 2003425"/>
                <a:gd name="connsiteX852" fmla="*/ 627856 w 1674813"/>
                <a:gd name="connsiteY852" fmla="*/ 662277 h 2003425"/>
                <a:gd name="connsiteX853" fmla="*/ 616339 w 1674813"/>
                <a:gd name="connsiteY853" fmla="*/ 662277 h 2003425"/>
                <a:gd name="connsiteX854" fmla="*/ 616298 w 1674813"/>
                <a:gd name="connsiteY854" fmla="*/ 662385 h 2003425"/>
                <a:gd name="connsiteX855" fmla="*/ 606331 w 1674813"/>
                <a:gd name="connsiteY855" fmla="*/ 683266 h 2003425"/>
                <a:gd name="connsiteX856" fmla="*/ 617714 w 1674813"/>
                <a:gd name="connsiteY856" fmla="*/ 694604 h 2003425"/>
                <a:gd name="connsiteX857" fmla="*/ 604022 w 1674813"/>
                <a:gd name="connsiteY857" fmla="*/ 694604 h 2003425"/>
                <a:gd name="connsiteX858" fmla="*/ 600920 w 1674813"/>
                <a:gd name="connsiteY858" fmla="*/ 694604 h 2003425"/>
                <a:gd name="connsiteX859" fmla="*/ 600280 w 1674813"/>
                <a:gd name="connsiteY859" fmla="*/ 695945 h 2003425"/>
                <a:gd name="connsiteX860" fmla="*/ 597099 w 1674813"/>
                <a:gd name="connsiteY860" fmla="*/ 700501 h 2003425"/>
                <a:gd name="connsiteX861" fmla="*/ 598950 w 1674813"/>
                <a:gd name="connsiteY861" fmla="*/ 701423 h 2003425"/>
                <a:gd name="connsiteX862" fmla="*/ 608837 w 1674813"/>
                <a:gd name="connsiteY862" fmla="*/ 706347 h 2003425"/>
                <a:gd name="connsiteX863" fmla="*/ 617537 w 1674813"/>
                <a:gd name="connsiteY863" fmla="*/ 696336 h 2003425"/>
                <a:gd name="connsiteX864" fmla="*/ 624044 w 1674813"/>
                <a:gd name="connsiteY864" fmla="*/ 689604 h 2003425"/>
                <a:gd name="connsiteX865" fmla="*/ 624661 w 1674813"/>
                <a:gd name="connsiteY865" fmla="*/ 688891 h 2003425"/>
                <a:gd name="connsiteX866" fmla="*/ 624424 w 1674813"/>
                <a:gd name="connsiteY866" fmla="*/ 689210 h 2003425"/>
                <a:gd name="connsiteX867" fmla="*/ 634603 w 1674813"/>
                <a:gd name="connsiteY867" fmla="*/ 678677 h 2003425"/>
                <a:gd name="connsiteX868" fmla="*/ 634603 w 1674813"/>
                <a:gd name="connsiteY868" fmla="*/ 677413 h 2003425"/>
                <a:gd name="connsiteX869" fmla="*/ 624661 w 1674813"/>
                <a:gd name="connsiteY869" fmla="*/ 688891 h 2003425"/>
                <a:gd name="connsiteX870" fmla="*/ 634603 w 1674813"/>
                <a:gd name="connsiteY870" fmla="*/ 675502 h 2003425"/>
                <a:gd name="connsiteX871" fmla="*/ 634603 w 1674813"/>
                <a:gd name="connsiteY871" fmla="*/ 670012 h 2003425"/>
                <a:gd name="connsiteX872" fmla="*/ 634603 w 1674813"/>
                <a:gd name="connsiteY872" fmla="*/ 646113 h 2003425"/>
                <a:gd name="connsiteX873" fmla="*/ 585788 w 1674813"/>
                <a:gd name="connsiteY873" fmla="*/ 646113 h 2003425"/>
                <a:gd name="connsiteX874" fmla="*/ 585712 w 1674813"/>
                <a:gd name="connsiteY874" fmla="*/ 646264 h 2003425"/>
                <a:gd name="connsiteX875" fmla="*/ 586019 w 1674813"/>
                <a:gd name="connsiteY875" fmla="*/ 646366 h 2003425"/>
                <a:gd name="connsiteX876" fmla="*/ 591344 w 1674813"/>
                <a:gd name="connsiteY876" fmla="*/ 648134 h 2003425"/>
                <a:gd name="connsiteX877" fmla="*/ 596039 w 1674813"/>
                <a:gd name="connsiteY877" fmla="*/ 649693 h 2003425"/>
                <a:gd name="connsiteX878" fmla="*/ 596636 w 1674813"/>
                <a:gd name="connsiteY878" fmla="*/ 646113 h 2003425"/>
                <a:gd name="connsiteX879" fmla="*/ 595401 w 1674813"/>
                <a:gd name="connsiteY879" fmla="*/ 646113 h 2003425"/>
                <a:gd name="connsiteX880" fmla="*/ 520700 w 1674813"/>
                <a:gd name="connsiteY880" fmla="*/ 646113 h 2003425"/>
                <a:gd name="connsiteX881" fmla="*/ 520568 w 1674813"/>
                <a:gd name="connsiteY881" fmla="*/ 646378 h 2003425"/>
                <a:gd name="connsiteX882" fmla="*/ 520700 w 1674813"/>
                <a:gd name="connsiteY882" fmla="*/ 646378 h 2003425"/>
                <a:gd name="connsiteX883" fmla="*/ 828675 w 1674813"/>
                <a:gd name="connsiteY883" fmla="*/ 645795 h 2003425"/>
                <a:gd name="connsiteX884" fmla="*/ 829438 w 1674813"/>
                <a:gd name="connsiteY884" fmla="*/ 646807 h 2003425"/>
                <a:gd name="connsiteX885" fmla="*/ 829866 w 1674813"/>
                <a:gd name="connsiteY885" fmla="*/ 647376 h 2003425"/>
                <a:gd name="connsiteX886" fmla="*/ 829866 w 1674813"/>
                <a:gd name="connsiteY886" fmla="*/ 646506 h 2003425"/>
                <a:gd name="connsiteX887" fmla="*/ 795673 w 1674813"/>
                <a:gd name="connsiteY887" fmla="*/ 645485 h 2003425"/>
                <a:gd name="connsiteX888" fmla="*/ 788402 w 1674813"/>
                <a:gd name="connsiteY888" fmla="*/ 649248 h 2003425"/>
                <a:gd name="connsiteX889" fmla="*/ 788273 w 1674813"/>
                <a:gd name="connsiteY889" fmla="*/ 649764 h 2003425"/>
                <a:gd name="connsiteX890" fmla="*/ 796131 w 1674813"/>
                <a:gd name="connsiteY890" fmla="*/ 645795 h 2003425"/>
                <a:gd name="connsiteX891" fmla="*/ 796290 w 1674813"/>
                <a:gd name="connsiteY891" fmla="*/ 645730 h 2003425"/>
                <a:gd name="connsiteX892" fmla="*/ 549721 w 1674813"/>
                <a:gd name="connsiteY892" fmla="*/ 645309 h 2003425"/>
                <a:gd name="connsiteX893" fmla="*/ 549439 w 1674813"/>
                <a:gd name="connsiteY893" fmla="*/ 646378 h 2003425"/>
                <a:gd name="connsiteX894" fmla="*/ 552979 w 1674813"/>
                <a:gd name="connsiteY894" fmla="*/ 646378 h 2003425"/>
                <a:gd name="connsiteX895" fmla="*/ 789915 w 1674813"/>
                <a:gd name="connsiteY895" fmla="*/ 643197 h 2003425"/>
                <a:gd name="connsiteX896" fmla="*/ 788819 w 1674813"/>
                <a:gd name="connsiteY896" fmla="*/ 647581 h 2003425"/>
                <a:gd name="connsiteX897" fmla="*/ 793770 w 1674813"/>
                <a:gd name="connsiteY897" fmla="*/ 644729 h 2003425"/>
                <a:gd name="connsiteX898" fmla="*/ 793032 w 1674813"/>
                <a:gd name="connsiteY898" fmla="*/ 644435 h 2003425"/>
                <a:gd name="connsiteX899" fmla="*/ 806500 w 1674813"/>
                <a:gd name="connsiteY899" fmla="*/ 641102 h 2003425"/>
                <a:gd name="connsiteX900" fmla="*/ 800596 w 1674813"/>
                <a:gd name="connsiteY900" fmla="*/ 642936 h 2003425"/>
                <a:gd name="connsiteX901" fmla="*/ 795908 w 1674813"/>
                <a:gd name="connsiteY901" fmla="*/ 645363 h 2003425"/>
                <a:gd name="connsiteX902" fmla="*/ 796362 w 1674813"/>
                <a:gd name="connsiteY902" fmla="*/ 645701 h 2003425"/>
                <a:gd name="connsiteX903" fmla="*/ 806629 w 1674813"/>
                <a:gd name="connsiteY903" fmla="*/ 641489 h 2003425"/>
                <a:gd name="connsiteX904" fmla="*/ 886474 w 1674813"/>
                <a:gd name="connsiteY904" fmla="*/ 638320 h 2003425"/>
                <a:gd name="connsiteX905" fmla="*/ 883410 w 1674813"/>
                <a:gd name="connsiteY905" fmla="*/ 641384 h 2003425"/>
                <a:gd name="connsiteX906" fmla="*/ 886303 w 1674813"/>
                <a:gd name="connsiteY906" fmla="*/ 647142 h 2003425"/>
                <a:gd name="connsiteX907" fmla="*/ 889360 w 1674813"/>
                <a:gd name="connsiteY907" fmla="*/ 641027 h 2003425"/>
                <a:gd name="connsiteX908" fmla="*/ 887660 w 1674813"/>
                <a:gd name="connsiteY908" fmla="*/ 639470 h 2003425"/>
                <a:gd name="connsiteX909" fmla="*/ 770161 w 1674813"/>
                <a:gd name="connsiteY909" fmla="*/ 635348 h 2003425"/>
                <a:gd name="connsiteX910" fmla="*/ 764779 w 1674813"/>
                <a:gd name="connsiteY910" fmla="*/ 646113 h 2003425"/>
                <a:gd name="connsiteX911" fmla="*/ 759211 w 1674813"/>
                <a:gd name="connsiteY911" fmla="*/ 657247 h 2003425"/>
                <a:gd name="connsiteX912" fmla="*/ 763917 w 1674813"/>
                <a:gd name="connsiteY912" fmla="*/ 661922 h 2003425"/>
                <a:gd name="connsiteX913" fmla="*/ 763984 w 1674813"/>
                <a:gd name="connsiteY913" fmla="*/ 661889 h 2003425"/>
                <a:gd name="connsiteX914" fmla="*/ 763918 w 1674813"/>
                <a:gd name="connsiteY914" fmla="*/ 661923 h 2003425"/>
                <a:gd name="connsiteX915" fmla="*/ 763984 w 1674813"/>
                <a:gd name="connsiteY915" fmla="*/ 661988 h 2003425"/>
                <a:gd name="connsiteX916" fmla="*/ 763886 w 1674813"/>
                <a:gd name="connsiteY916" fmla="*/ 661939 h 2003425"/>
                <a:gd name="connsiteX917" fmla="*/ 754445 w 1674813"/>
                <a:gd name="connsiteY917" fmla="*/ 666779 h 2003425"/>
                <a:gd name="connsiteX918" fmla="*/ 754397 w 1674813"/>
                <a:gd name="connsiteY918" fmla="*/ 666875 h 2003425"/>
                <a:gd name="connsiteX919" fmla="*/ 781050 w 1674813"/>
                <a:gd name="connsiteY919" fmla="*/ 653413 h 2003425"/>
                <a:gd name="connsiteX920" fmla="*/ 781050 w 1674813"/>
                <a:gd name="connsiteY920" fmla="*/ 653054 h 2003425"/>
                <a:gd name="connsiteX921" fmla="*/ 763984 w 1674813"/>
                <a:gd name="connsiteY921" fmla="*/ 661889 h 2003425"/>
                <a:gd name="connsiteX922" fmla="*/ 781050 w 1674813"/>
                <a:gd name="connsiteY922" fmla="*/ 652057 h 2003425"/>
                <a:gd name="connsiteX923" fmla="*/ 781050 w 1674813"/>
                <a:gd name="connsiteY923" fmla="*/ 651198 h 2003425"/>
                <a:gd name="connsiteX924" fmla="*/ 781050 w 1674813"/>
                <a:gd name="connsiteY924" fmla="*/ 639675 h 2003425"/>
                <a:gd name="connsiteX925" fmla="*/ 774296 w 1674813"/>
                <a:gd name="connsiteY925" fmla="*/ 636991 h 2003425"/>
                <a:gd name="connsiteX926" fmla="*/ 678321 w 1674813"/>
                <a:gd name="connsiteY926" fmla="*/ 634106 h 2003425"/>
                <a:gd name="connsiteX927" fmla="*/ 668513 w 1674813"/>
                <a:gd name="connsiteY927" fmla="*/ 643380 h 2003425"/>
                <a:gd name="connsiteX928" fmla="*/ 668001 w 1674813"/>
                <a:gd name="connsiteY928" fmla="*/ 644405 h 2003425"/>
                <a:gd name="connsiteX929" fmla="*/ 1123472 w 1674813"/>
                <a:gd name="connsiteY929" fmla="*/ 632561 h 2003425"/>
                <a:gd name="connsiteX930" fmla="*/ 1122038 w 1674813"/>
                <a:gd name="connsiteY930" fmla="*/ 632803 h 2003425"/>
                <a:gd name="connsiteX931" fmla="*/ 1122038 w 1674813"/>
                <a:gd name="connsiteY931" fmla="*/ 632980 h 2003425"/>
                <a:gd name="connsiteX932" fmla="*/ 1122038 w 1674813"/>
                <a:gd name="connsiteY932" fmla="*/ 650780 h 2003425"/>
                <a:gd name="connsiteX933" fmla="*/ 1122038 w 1674813"/>
                <a:gd name="connsiteY933" fmla="*/ 666028 h 2003425"/>
                <a:gd name="connsiteX934" fmla="*/ 1150868 w 1674813"/>
                <a:gd name="connsiteY934" fmla="*/ 673128 h 2003425"/>
                <a:gd name="connsiteX935" fmla="*/ 1150531 w 1674813"/>
                <a:gd name="connsiteY935" fmla="*/ 672630 h 2003425"/>
                <a:gd name="connsiteX936" fmla="*/ 1140864 w 1674813"/>
                <a:gd name="connsiteY936" fmla="*/ 658314 h 2003425"/>
                <a:gd name="connsiteX937" fmla="*/ 704606 w 1674813"/>
                <a:gd name="connsiteY937" fmla="*/ 632497 h 2003425"/>
                <a:gd name="connsiteX938" fmla="*/ 703540 w 1674813"/>
                <a:gd name="connsiteY938" fmla="*/ 634273 h 2003425"/>
                <a:gd name="connsiteX939" fmla="*/ 707585 w 1674813"/>
                <a:gd name="connsiteY939" fmla="*/ 638291 h 2003425"/>
                <a:gd name="connsiteX940" fmla="*/ 715963 w 1674813"/>
                <a:gd name="connsiteY940" fmla="*/ 646614 h 2003425"/>
                <a:gd name="connsiteX941" fmla="*/ 715963 w 1674813"/>
                <a:gd name="connsiteY941" fmla="*/ 638137 h 2003425"/>
                <a:gd name="connsiteX942" fmla="*/ 704903 w 1674813"/>
                <a:gd name="connsiteY942" fmla="*/ 632644 h 2003425"/>
                <a:gd name="connsiteX943" fmla="*/ 1236012 w 1674813"/>
                <a:gd name="connsiteY943" fmla="*/ 630437 h 2003425"/>
                <a:gd name="connsiteX944" fmla="*/ 1236012 w 1674813"/>
                <a:gd name="connsiteY944" fmla="*/ 657561 h 2003425"/>
                <a:gd name="connsiteX945" fmla="*/ 1236012 w 1674813"/>
                <a:gd name="connsiteY945" fmla="*/ 693471 h 2003425"/>
                <a:gd name="connsiteX946" fmla="*/ 1262992 w 1674813"/>
                <a:gd name="connsiteY946" fmla="*/ 701048 h 2003425"/>
                <a:gd name="connsiteX947" fmla="*/ 1264909 w 1674813"/>
                <a:gd name="connsiteY947" fmla="*/ 701753 h 2003425"/>
                <a:gd name="connsiteX948" fmla="*/ 1263488 w 1674813"/>
                <a:gd name="connsiteY948" fmla="*/ 698247 h 2003425"/>
                <a:gd name="connsiteX949" fmla="*/ 1236012 w 1674813"/>
                <a:gd name="connsiteY949" fmla="*/ 630437 h 2003425"/>
                <a:gd name="connsiteX950" fmla="*/ 1203448 w 1674813"/>
                <a:gd name="connsiteY950" fmla="*/ 630437 h 2003425"/>
                <a:gd name="connsiteX951" fmla="*/ 1203448 w 1674813"/>
                <a:gd name="connsiteY951" fmla="*/ 657561 h 2003425"/>
                <a:gd name="connsiteX952" fmla="*/ 1203448 w 1674813"/>
                <a:gd name="connsiteY952" fmla="*/ 684327 h 2003425"/>
                <a:gd name="connsiteX953" fmla="*/ 1235268 w 1674813"/>
                <a:gd name="connsiteY953" fmla="*/ 693263 h 2003425"/>
                <a:gd name="connsiteX954" fmla="*/ 1230924 w 1674813"/>
                <a:gd name="connsiteY954" fmla="*/ 684685 h 2003425"/>
                <a:gd name="connsiteX955" fmla="*/ 1203448 w 1674813"/>
                <a:gd name="connsiteY955" fmla="*/ 630437 h 2003425"/>
                <a:gd name="connsiteX956" fmla="*/ 1187166 w 1674813"/>
                <a:gd name="connsiteY956" fmla="*/ 630437 h 2003425"/>
                <a:gd name="connsiteX957" fmla="*/ 1180297 w 1674813"/>
                <a:gd name="connsiteY957" fmla="*/ 650780 h 2003425"/>
                <a:gd name="connsiteX958" fmla="*/ 1171314 w 1674813"/>
                <a:gd name="connsiteY958" fmla="*/ 677382 h 2003425"/>
                <a:gd name="connsiteX959" fmla="*/ 1198007 w 1674813"/>
                <a:gd name="connsiteY959" fmla="*/ 682799 h 2003425"/>
                <a:gd name="connsiteX960" fmla="*/ 1200611 w 1674813"/>
                <a:gd name="connsiteY960" fmla="*/ 683531 h 2003425"/>
                <a:gd name="connsiteX961" fmla="*/ 1196579 w 1674813"/>
                <a:gd name="connsiteY961" fmla="*/ 667607 h 2003425"/>
                <a:gd name="connsiteX962" fmla="*/ 1187166 w 1674813"/>
                <a:gd name="connsiteY962" fmla="*/ 630437 h 2003425"/>
                <a:gd name="connsiteX963" fmla="*/ 743960 w 1674813"/>
                <a:gd name="connsiteY963" fmla="*/ 624937 h 2003425"/>
                <a:gd name="connsiteX964" fmla="*/ 743422 w 1674813"/>
                <a:gd name="connsiteY964" fmla="*/ 626281 h 2003425"/>
                <a:gd name="connsiteX965" fmla="*/ 739047 w 1674813"/>
                <a:gd name="connsiteY965" fmla="*/ 637217 h 2003425"/>
                <a:gd name="connsiteX966" fmla="*/ 748507 w 1674813"/>
                <a:gd name="connsiteY966" fmla="*/ 646614 h 2003425"/>
                <a:gd name="connsiteX967" fmla="*/ 748507 w 1674813"/>
                <a:gd name="connsiteY967" fmla="*/ 626744 h 2003425"/>
                <a:gd name="connsiteX968" fmla="*/ 748261 w 1674813"/>
                <a:gd name="connsiteY968" fmla="*/ 626646 h 2003425"/>
                <a:gd name="connsiteX969" fmla="*/ 634529 w 1674813"/>
                <a:gd name="connsiteY969" fmla="*/ 613786 h 2003425"/>
                <a:gd name="connsiteX970" fmla="*/ 633173 w 1674813"/>
                <a:gd name="connsiteY970" fmla="*/ 617764 h 2003425"/>
                <a:gd name="connsiteX971" fmla="*/ 629264 w 1674813"/>
                <a:gd name="connsiteY971" fmla="*/ 628824 h 2003425"/>
                <a:gd name="connsiteX972" fmla="*/ 628216 w 1674813"/>
                <a:gd name="connsiteY972" fmla="*/ 631536 h 2003425"/>
                <a:gd name="connsiteX973" fmla="*/ 634603 w 1674813"/>
                <a:gd name="connsiteY973" fmla="*/ 635777 h 2003425"/>
                <a:gd name="connsiteX974" fmla="*/ 634603 w 1674813"/>
                <a:gd name="connsiteY974" fmla="*/ 613786 h 2003425"/>
                <a:gd name="connsiteX975" fmla="*/ 601951 w 1674813"/>
                <a:gd name="connsiteY975" fmla="*/ 613786 h 2003425"/>
                <a:gd name="connsiteX976" fmla="*/ 601835 w 1674813"/>
                <a:gd name="connsiteY976" fmla="*/ 614018 h 2003425"/>
                <a:gd name="connsiteX977" fmla="*/ 601970 w 1674813"/>
                <a:gd name="connsiteY977" fmla="*/ 614107 h 2003425"/>
                <a:gd name="connsiteX978" fmla="*/ 602024 w 1674813"/>
                <a:gd name="connsiteY978" fmla="*/ 613786 h 2003425"/>
                <a:gd name="connsiteX979" fmla="*/ 715845 w 1674813"/>
                <a:gd name="connsiteY979" fmla="*/ 613766 h 2003425"/>
                <a:gd name="connsiteX980" fmla="*/ 715693 w 1674813"/>
                <a:gd name="connsiteY980" fmla="*/ 614018 h 2003425"/>
                <a:gd name="connsiteX981" fmla="*/ 715963 w 1674813"/>
                <a:gd name="connsiteY981" fmla="*/ 614286 h 2003425"/>
                <a:gd name="connsiteX982" fmla="*/ 715963 w 1674813"/>
                <a:gd name="connsiteY982" fmla="*/ 613813 h 2003425"/>
                <a:gd name="connsiteX983" fmla="*/ 942628 w 1674813"/>
                <a:gd name="connsiteY983" fmla="*/ 613611 h 2003425"/>
                <a:gd name="connsiteX984" fmla="*/ 942755 w 1674813"/>
                <a:gd name="connsiteY984" fmla="*/ 614114 h 2003425"/>
                <a:gd name="connsiteX985" fmla="*/ 943109 w 1674813"/>
                <a:gd name="connsiteY985" fmla="*/ 613938 h 2003425"/>
                <a:gd name="connsiteX986" fmla="*/ 942780 w 1674813"/>
                <a:gd name="connsiteY986" fmla="*/ 613611 h 2003425"/>
                <a:gd name="connsiteX987" fmla="*/ 942752 w 1674813"/>
                <a:gd name="connsiteY987" fmla="*/ 613611 h 2003425"/>
                <a:gd name="connsiteX988" fmla="*/ 797322 w 1674813"/>
                <a:gd name="connsiteY988" fmla="*/ 613569 h 2003425"/>
                <a:gd name="connsiteX989" fmla="*/ 790458 w 1674813"/>
                <a:gd name="connsiteY989" fmla="*/ 641028 h 2003425"/>
                <a:gd name="connsiteX990" fmla="*/ 790400 w 1674813"/>
                <a:gd name="connsiteY990" fmla="*/ 641259 h 2003425"/>
                <a:gd name="connsiteX991" fmla="*/ 794496 w 1674813"/>
                <a:gd name="connsiteY991" fmla="*/ 644311 h 2003425"/>
                <a:gd name="connsiteX992" fmla="*/ 805463 w 1674813"/>
                <a:gd name="connsiteY992" fmla="*/ 637992 h 2003425"/>
                <a:gd name="connsiteX993" fmla="*/ 781050 w 1674813"/>
                <a:gd name="connsiteY993" fmla="*/ 613569 h 2003425"/>
                <a:gd name="connsiteX994" fmla="*/ 775965 w 1674813"/>
                <a:gd name="connsiteY994" fmla="*/ 623739 h 2003425"/>
                <a:gd name="connsiteX995" fmla="*/ 773500 w 1674813"/>
                <a:gd name="connsiteY995" fmla="*/ 628669 h 2003425"/>
                <a:gd name="connsiteX996" fmla="*/ 781050 w 1674813"/>
                <a:gd name="connsiteY996" fmla="*/ 634294 h 2003425"/>
                <a:gd name="connsiteX997" fmla="*/ 683419 w 1674813"/>
                <a:gd name="connsiteY997" fmla="*/ 613569 h 2003425"/>
                <a:gd name="connsiteX998" fmla="*/ 675791 w 1674813"/>
                <a:gd name="connsiteY998" fmla="*/ 628824 h 2003425"/>
                <a:gd name="connsiteX999" fmla="*/ 668841 w 1674813"/>
                <a:gd name="connsiteY999" fmla="*/ 642724 h 2003425"/>
                <a:gd name="connsiteX1000" fmla="*/ 679563 w 1674813"/>
                <a:gd name="connsiteY1000" fmla="*/ 632847 h 2003425"/>
                <a:gd name="connsiteX1001" fmla="*/ 1032922 w 1674813"/>
                <a:gd name="connsiteY1001" fmla="*/ 609379 h 2003425"/>
                <a:gd name="connsiteX1002" fmla="*/ 1031807 w 1674813"/>
                <a:gd name="connsiteY1002" fmla="*/ 609934 h 2003425"/>
                <a:gd name="connsiteX1003" fmla="*/ 1030919 w 1674813"/>
                <a:gd name="connsiteY1003" fmla="*/ 611112 h 2003425"/>
                <a:gd name="connsiteX1004" fmla="*/ 1031112 w 1674813"/>
                <a:gd name="connsiteY1004" fmla="*/ 611496 h 2003425"/>
                <a:gd name="connsiteX1005" fmla="*/ 1040210 w 1674813"/>
                <a:gd name="connsiteY1005" fmla="*/ 597218 h 2003425"/>
                <a:gd name="connsiteX1006" fmla="*/ 1040400 w 1674813"/>
                <a:gd name="connsiteY1006" fmla="*/ 597312 h 2003425"/>
                <a:gd name="connsiteX1007" fmla="*/ 1043239 w 1674813"/>
                <a:gd name="connsiteY1007" fmla="*/ 597312 h 2003425"/>
                <a:gd name="connsiteX1008" fmla="*/ 1043320 w 1674813"/>
                <a:gd name="connsiteY1008" fmla="*/ 597218 h 2003425"/>
                <a:gd name="connsiteX1009" fmla="*/ 610016 w 1674813"/>
                <a:gd name="connsiteY1009" fmla="*/ 581459 h 2003425"/>
                <a:gd name="connsiteX1010" fmla="*/ 608355 w 1674813"/>
                <a:gd name="connsiteY1010" fmla="*/ 584880 h 2003425"/>
                <a:gd name="connsiteX1011" fmla="*/ 609600 w 1674813"/>
                <a:gd name="connsiteY1011" fmla="*/ 585500 h 2003425"/>
                <a:gd name="connsiteX1012" fmla="*/ 622939 w 1674813"/>
                <a:gd name="connsiteY1012" fmla="*/ 592143 h 2003425"/>
                <a:gd name="connsiteX1013" fmla="*/ 680680 w 1674813"/>
                <a:gd name="connsiteY1013" fmla="*/ 581459 h 2003425"/>
                <a:gd name="connsiteX1014" fmla="*/ 668045 w 1674813"/>
                <a:gd name="connsiteY1014" fmla="*/ 581459 h 2003425"/>
                <a:gd name="connsiteX1015" fmla="*/ 616699 w 1674813"/>
                <a:gd name="connsiteY1015" fmla="*/ 581459 h 2003425"/>
                <a:gd name="connsiteX1016" fmla="*/ 763984 w 1674813"/>
                <a:gd name="connsiteY1016" fmla="*/ 581170 h 2003425"/>
                <a:gd name="connsiteX1017" fmla="*/ 770086 w 1674813"/>
                <a:gd name="connsiteY1017" fmla="*/ 585211 h 2003425"/>
                <a:gd name="connsiteX1018" fmla="*/ 771486 w 1674813"/>
                <a:gd name="connsiteY1018" fmla="*/ 586138 h 2003425"/>
                <a:gd name="connsiteX1019" fmla="*/ 795797 w 1674813"/>
                <a:gd name="connsiteY1019" fmla="*/ 589070 h 2003425"/>
                <a:gd name="connsiteX1020" fmla="*/ 774154 w 1674813"/>
                <a:gd name="connsiteY1020" fmla="*/ 583695 h 2003425"/>
                <a:gd name="connsiteX1021" fmla="*/ 763984 w 1674813"/>
                <a:gd name="connsiteY1021" fmla="*/ 581170 h 2003425"/>
                <a:gd name="connsiteX1022" fmla="*/ 979550 w 1674813"/>
                <a:gd name="connsiteY1022" fmla="*/ 569625 h 2003425"/>
                <a:gd name="connsiteX1023" fmla="*/ 979998 w 1674813"/>
                <a:gd name="connsiteY1023" fmla="*/ 571068 h 2003425"/>
                <a:gd name="connsiteX1024" fmla="*/ 982680 w 1674813"/>
                <a:gd name="connsiteY1024" fmla="*/ 585229 h 2003425"/>
                <a:gd name="connsiteX1025" fmla="*/ 985154 w 1674813"/>
                <a:gd name="connsiteY1025" fmla="*/ 586462 h 2003425"/>
                <a:gd name="connsiteX1026" fmla="*/ 989139 w 1674813"/>
                <a:gd name="connsiteY1026" fmla="*/ 586216 h 2003425"/>
                <a:gd name="connsiteX1027" fmla="*/ 990118 w 1674813"/>
                <a:gd name="connsiteY1027" fmla="*/ 580154 h 2003425"/>
                <a:gd name="connsiteX1028" fmla="*/ 821505 w 1674813"/>
                <a:gd name="connsiteY1028" fmla="*/ 565383 h 2003425"/>
                <a:gd name="connsiteX1029" fmla="*/ 811891 w 1674813"/>
                <a:gd name="connsiteY1029" fmla="*/ 571734 h 2003425"/>
                <a:gd name="connsiteX1030" fmla="*/ 826698 w 1674813"/>
                <a:gd name="connsiteY1030" fmla="*/ 593797 h 2003425"/>
                <a:gd name="connsiteX1031" fmla="*/ 830832 w 1674813"/>
                <a:gd name="connsiteY1031" fmla="*/ 594614 h 2003425"/>
                <a:gd name="connsiteX1032" fmla="*/ 836731 w 1674813"/>
                <a:gd name="connsiteY1032" fmla="*/ 577076 h 2003425"/>
                <a:gd name="connsiteX1033" fmla="*/ 837173 w 1674813"/>
                <a:gd name="connsiteY1033" fmla="*/ 575759 h 2003425"/>
                <a:gd name="connsiteX1034" fmla="*/ 878682 w 1674813"/>
                <a:gd name="connsiteY1034" fmla="*/ 565234 h 2003425"/>
                <a:gd name="connsiteX1035" fmla="*/ 858088 w 1674813"/>
                <a:gd name="connsiteY1035" fmla="*/ 578840 h 2003425"/>
                <a:gd name="connsiteX1036" fmla="*/ 833434 w 1674813"/>
                <a:gd name="connsiteY1036" fmla="*/ 595128 h 2003425"/>
                <a:gd name="connsiteX1037" fmla="*/ 866653 w 1674813"/>
                <a:gd name="connsiteY1037" fmla="*/ 601691 h 2003425"/>
                <a:gd name="connsiteX1038" fmla="*/ 884689 w 1674813"/>
                <a:gd name="connsiteY1038" fmla="*/ 606587 h 2003425"/>
                <a:gd name="connsiteX1039" fmla="*/ 894159 w 1674813"/>
                <a:gd name="connsiteY1039" fmla="*/ 603263 h 2003425"/>
                <a:gd name="connsiteX1040" fmla="*/ 903028 w 1674813"/>
                <a:gd name="connsiteY1040" fmla="*/ 601547 h 2003425"/>
                <a:gd name="connsiteX1041" fmla="*/ 911225 w 1674813"/>
                <a:gd name="connsiteY1041" fmla="*/ 597485 h 2003425"/>
                <a:gd name="connsiteX1042" fmla="*/ 862410 w 1674813"/>
                <a:gd name="connsiteY1042" fmla="*/ 597485 h 2003425"/>
                <a:gd name="connsiteX1043" fmla="*/ 878682 w 1674813"/>
                <a:gd name="connsiteY1043" fmla="*/ 565234 h 2003425"/>
                <a:gd name="connsiteX1044" fmla="*/ 1057170 w 1674813"/>
                <a:gd name="connsiteY1044" fmla="*/ 564974 h 2003425"/>
                <a:gd name="connsiteX1045" fmla="*/ 1059200 w 1674813"/>
                <a:gd name="connsiteY1045" fmla="*/ 566995 h 2003425"/>
                <a:gd name="connsiteX1046" fmla="*/ 1066548 w 1674813"/>
                <a:gd name="connsiteY1046" fmla="*/ 574308 h 2003425"/>
                <a:gd name="connsiteX1047" fmla="*/ 1079348 w 1674813"/>
                <a:gd name="connsiteY1047" fmla="*/ 564974 h 2003425"/>
                <a:gd name="connsiteX1048" fmla="*/ 797097 w 1674813"/>
                <a:gd name="connsiteY1048" fmla="*/ 549220 h 2003425"/>
                <a:gd name="connsiteX1049" fmla="*/ 796860 w 1674813"/>
                <a:gd name="connsiteY1049" fmla="*/ 549337 h 2003425"/>
                <a:gd name="connsiteX1050" fmla="*/ 797036 w 1674813"/>
                <a:gd name="connsiteY1050" fmla="*/ 549600 h 2003425"/>
                <a:gd name="connsiteX1051" fmla="*/ 800596 w 1674813"/>
                <a:gd name="connsiteY1051" fmla="*/ 554904 h 2003425"/>
                <a:gd name="connsiteX1052" fmla="*/ 807849 w 1674813"/>
                <a:gd name="connsiteY1052" fmla="*/ 565711 h 2003425"/>
                <a:gd name="connsiteX1053" fmla="*/ 811052 w 1674813"/>
                <a:gd name="connsiteY1053" fmla="*/ 560951 h 2003425"/>
                <a:gd name="connsiteX1054" fmla="*/ 812210 w 1674813"/>
                <a:gd name="connsiteY1054" fmla="*/ 559228 h 2003425"/>
                <a:gd name="connsiteX1055" fmla="*/ 804155 w 1674813"/>
                <a:gd name="connsiteY1055" fmla="*/ 553894 h 2003425"/>
                <a:gd name="connsiteX1056" fmla="*/ 846026 w 1674813"/>
                <a:gd name="connsiteY1056" fmla="*/ 549182 h 2003425"/>
                <a:gd name="connsiteX1057" fmla="*/ 845375 w 1674813"/>
                <a:gd name="connsiteY1057" fmla="*/ 549612 h 2003425"/>
                <a:gd name="connsiteX1058" fmla="*/ 840036 w 1674813"/>
                <a:gd name="connsiteY1058" fmla="*/ 553140 h 2003425"/>
                <a:gd name="connsiteX1059" fmla="*/ 830680 w 1674813"/>
                <a:gd name="connsiteY1059" fmla="*/ 559321 h 2003425"/>
                <a:gd name="connsiteX1060" fmla="*/ 838689 w 1674813"/>
                <a:gd name="connsiteY1060" fmla="*/ 571254 h 2003425"/>
                <a:gd name="connsiteX1061" fmla="*/ 846101 w 1674813"/>
                <a:gd name="connsiteY1061" fmla="*/ 549219 h 2003425"/>
                <a:gd name="connsiteX1062" fmla="*/ 1042828 w 1674813"/>
                <a:gd name="connsiteY1062" fmla="*/ 542542 h 2003425"/>
                <a:gd name="connsiteX1063" fmla="*/ 1036944 w 1674813"/>
                <a:gd name="connsiteY1063" fmla="*/ 546443 h 2003425"/>
                <a:gd name="connsiteX1064" fmla="*/ 1023873 w 1674813"/>
                <a:gd name="connsiteY1064" fmla="*/ 555109 h 2003425"/>
                <a:gd name="connsiteX1065" fmla="*/ 1023936 w 1674813"/>
                <a:gd name="connsiteY1065" fmla="*/ 565112 h 2003425"/>
                <a:gd name="connsiteX1066" fmla="*/ 1031924 w 1674813"/>
                <a:gd name="connsiteY1066" fmla="*/ 565112 h 2003425"/>
                <a:gd name="connsiteX1067" fmla="*/ 1033094 w 1674813"/>
                <a:gd name="connsiteY1067" fmla="*/ 563245 h 2003425"/>
                <a:gd name="connsiteX1068" fmla="*/ 821629 w 1674813"/>
                <a:gd name="connsiteY1068" fmla="*/ 537064 h 2003425"/>
                <a:gd name="connsiteX1069" fmla="*/ 817212 w 1674813"/>
                <a:gd name="connsiteY1069" fmla="*/ 539253 h 2003425"/>
                <a:gd name="connsiteX1070" fmla="*/ 821425 w 1674813"/>
                <a:gd name="connsiteY1070" fmla="*/ 545530 h 2003425"/>
                <a:gd name="connsiteX1071" fmla="*/ 825745 w 1674813"/>
                <a:gd name="connsiteY1071" fmla="*/ 539109 h 2003425"/>
                <a:gd name="connsiteX1072" fmla="*/ 822970 w 1674813"/>
                <a:gd name="connsiteY1072" fmla="*/ 537730 h 2003425"/>
                <a:gd name="connsiteX1073" fmla="*/ 1073415 w 1674813"/>
                <a:gd name="connsiteY1073" fmla="*/ 532636 h 2003425"/>
                <a:gd name="connsiteX1074" fmla="*/ 1087122 w 1674813"/>
                <a:gd name="connsiteY1074" fmla="*/ 546279 h 2003425"/>
                <a:gd name="connsiteX1075" fmla="*/ 1093415 w 1674813"/>
                <a:gd name="connsiteY1075" fmla="*/ 552541 h 2003425"/>
                <a:gd name="connsiteX1076" fmla="*/ 1105758 w 1674813"/>
                <a:gd name="connsiteY1076" fmla="*/ 543366 h 2003425"/>
                <a:gd name="connsiteX1077" fmla="*/ 1101591 w 1674813"/>
                <a:gd name="connsiteY1077" fmla="*/ 541984 h 2003425"/>
                <a:gd name="connsiteX1078" fmla="*/ 1073415 w 1674813"/>
                <a:gd name="connsiteY1078" fmla="*/ 532636 h 2003425"/>
                <a:gd name="connsiteX1079" fmla="*/ 1057054 w 1674813"/>
                <a:gd name="connsiteY1079" fmla="*/ 522201 h 2003425"/>
                <a:gd name="connsiteX1080" fmla="*/ 1053180 w 1674813"/>
                <a:gd name="connsiteY1080" fmla="*/ 523485 h 2003425"/>
                <a:gd name="connsiteX1081" fmla="*/ 1025021 w 1674813"/>
                <a:gd name="connsiteY1081" fmla="*/ 532820 h 2003425"/>
                <a:gd name="connsiteX1082" fmla="*/ 1038720 w 1674813"/>
                <a:gd name="connsiteY1082" fmla="*/ 532820 h 2003425"/>
                <a:gd name="connsiteX1083" fmla="*/ 1049526 w 1674813"/>
                <a:gd name="connsiteY1083" fmla="*/ 532820 h 2003425"/>
                <a:gd name="connsiteX1084" fmla="*/ 968423 w 1674813"/>
                <a:gd name="connsiteY1084" fmla="*/ 520127 h 2003425"/>
                <a:gd name="connsiteX1085" fmla="*/ 969536 w 1674813"/>
                <a:gd name="connsiteY1085" fmla="*/ 523049 h 2003425"/>
                <a:gd name="connsiteX1086" fmla="*/ 973737 w 1674813"/>
                <a:gd name="connsiteY1086" fmla="*/ 550914 h 2003425"/>
                <a:gd name="connsiteX1087" fmla="*/ 978253 w 1674813"/>
                <a:gd name="connsiteY1087" fmla="*/ 565451 h 2003425"/>
                <a:gd name="connsiteX1088" fmla="*/ 979409 w 1674813"/>
                <a:gd name="connsiteY1088" fmla="*/ 565451 h 2003425"/>
                <a:gd name="connsiteX1089" fmla="*/ 989023 w 1674813"/>
                <a:gd name="connsiteY1089" fmla="*/ 565451 h 2003425"/>
                <a:gd name="connsiteX1090" fmla="*/ 992494 w 1674813"/>
                <a:gd name="connsiteY1090" fmla="*/ 565451 h 2003425"/>
                <a:gd name="connsiteX1091" fmla="*/ 992549 w 1674813"/>
                <a:gd name="connsiteY1091" fmla="*/ 565112 h 2003425"/>
                <a:gd name="connsiteX1092" fmla="*/ 994095 w 1674813"/>
                <a:gd name="connsiteY1092" fmla="*/ 551851 h 2003425"/>
                <a:gd name="connsiteX1093" fmla="*/ 994083 w 1674813"/>
                <a:gd name="connsiteY1093" fmla="*/ 551839 h 2003425"/>
                <a:gd name="connsiteX1094" fmla="*/ 975360 w 1674813"/>
                <a:gd name="connsiteY1094" fmla="*/ 533186 h 2003425"/>
                <a:gd name="connsiteX1095" fmla="*/ 989023 w 1674813"/>
                <a:gd name="connsiteY1095" fmla="*/ 533186 h 2003425"/>
                <a:gd name="connsiteX1096" fmla="*/ 996271 w 1674813"/>
                <a:gd name="connsiteY1096" fmla="*/ 533186 h 2003425"/>
                <a:gd name="connsiteX1097" fmla="*/ 996699 w 1674813"/>
                <a:gd name="connsiteY1097" fmla="*/ 529518 h 2003425"/>
                <a:gd name="connsiteX1098" fmla="*/ 987252 w 1674813"/>
                <a:gd name="connsiteY1098" fmla="*/ 526380 h 2003425"/>
                <a:gd name="connsiteX1099" fmla="*/ 717902 w 1674813"/>
                <a:gd name="connsiteY1099" fmla="*/ 519030 h 2003425"/>
                <a:gd name="connsiteX1100" fmla="*/ 716095 w 1674813"/>
                <a:gd name="connsiteY1100" fmla="*/ 519330 h 2003425"/>
                <a:gd name="connsiteX1101" fmla="*/ 682625 w 1674813"/>
                <a:gd name="connsiteY1101" fmla="*/ 524886 h 2003425"/>
                <a:gd name="connsiteX1102" fmla="*/ 660633 w 1674813"/>
                <a:gd name="connsiteY1102" fmla="*/ 528537 h 2003425"/>
                <a:gd name="connsiteX1103" fmla="*/ 650875 w 1674813"/>
                <a:gd name="connsiteY1103" fmla="*/ 532983 h 2003425"/>
                <a:gd name="connsiteX1104" fmla="*/ 651892 w 1674813"/>
                <a:gd name="connsiteY1104" fmla="*/ 531723 h 2003425"/>
                <a:gd name="connsiteX1105" fmla="*/ 653510 w 1674813"/>
                <a:gd name="connsiteY1105" fmla="*/ 529719 h 2003425"/>
                <a:gd name="connsiteX1106" fmla="*/ 649155 w 1674813"/>
                <a:gd name="connsiteY1106" fmla="*/ 530442 h 2003425"/>
                <a:gd name="connsiteX1107" fmla="*/ 633941 w 1674813"/>
                <a:gd name="connsiteY1107" fmla="*/ 532968 h 2003425"/>
                <a:gd name="connsiteX1108" fmla="*/ 688298 w 1674813"/>
                <a:gd name="connsiteY1108" fmla="*/ 543796 h 2003425"/>
                <a:gd name="connsiteX1109" fmla="*/ 701335 w 1674813"/>
                <a:gd name="connsiteY1109" fmla="*/ 546393 h 2003425"/>
                <a:gd name="connsiteX1110" fmla="*/ 705793 w 1674813"/>
                <a:gd name="connsiteY1110" fmla="*/ 539030 h 2003425"/>
                <a:gd name="connsiteX1111" fmla="*/ 1089661 w 1674813"/>
                <a:gd name="connsiteY1111" fmla="*/ 516467 h 2003425"/>
                <a:gd name="connsiteX1112" fmla="*/ 1103368 w 1674813"/>
                <a:gd name="connsiteY1112" fmla="*/ 530110 h 2003425"/>
                <a:gd name="connsiteX1113" fmla="*/ 1112015 w 1674813"/>
                <a:gd name="connsiteY1113" fmla="*/ 538716 h 2003425"/>
                <a:gd name="connsiteX1114" fmla="*/ 1125811 w 1674813"/>
                <a:gd name="connsiteY1114" fmla="*/ 528461 h 2003425"/>
                <a:gd name="connsiteX1115" fmla="*/ 1117837 w 1674813"/>
                <a:gd name="connsiteY1115" fmla="*/ 525815 h 2003425"/>
                <a:gd name="connsiteX1116" fmla="*/ 1089661 w 1674813"/>
                <a:gd name="connsiteY1116" fmla="*/ 516467 h 2003425"/>
                <a:gd name="connsiteX1117" fmla="*/ 764778 w 1674813"/>
                <a:gd name="connsiteY1117" fmla="*/ 500731 h 2003425"/>
                <a:gd name="connsiteX1118" fmla="*/ 709861 w 1674813"/>
                <a:gd name="connsiteY1118" fmla="*/ 541549 h 2003425"/>
                <a:gd name="connsiteX1119" fmla="*/ 702919 w 1674813"/>
                <a:gd name="connsiteY1119" fmla="*/ 546709 h 2003425"/>
                <a:gd name="connsiteX1120" fmla="*/ 715080 w 1674813"/>
                <a:gd name="connsiteY1120" fmla="*/ 549131 h 2003425"/>
                <a:gd name="connsiteX1121" fmla="*/ 621897 w 1674813"/>
                <a:gd name="connsiteY1121" fmla="*/ 564600 h 2003425"/>
                <a:gd name="connsiteX1122" fmla="*/ 617877 w 1674813"/>
                <a:gd name="connsiteY1122" fmla="*/ 565268 h 2003425"/>
                <a:gd name="connsiteX1123" fmla="*/ 617851 w 1674813"/>
                <a:gd name="connsiteY1123" fmla="*/ 565322 h 2003425"/>
                <a:gd name="connsiteX1124" fmla="*/ 618982 w 1674813"/>
                <a:gd name="connsiteY1124" fmla="*/ 565547 h 2003425"/>
                <a:gd name="connsiteX1125" fmla="*/ 698853 w 1674813"/>
                <a:gd name="connsiteY1125" fmla="*/ 581459 h 2003425"/>
                <a:gd name="connsiteX1126" fmla="*/ 693734 w 1674813"/>
                <a:gd name="connsiteY1126" fmla="*/ 581459 h 2003425"/>
                <a:gd name="connsiteX1127" fmla="*/ 725022 w 1674813"/>
                <a:gd name="connsiteY1127" fmla="*/ 582725 h 2003425"/>
                <a:gd name="connsiteX1128" fmla="*/ 725735 w 1674813"/>
                <a:gd name="connsiteY1128" fmla="*/ 581928 h 2003425"/>
                <a:gd name="connsiteX1129" fmla="*/ 780653 w 1674813"/>
                <a:gd name="connsiteY1129" fmla="*/ 538740 h 2003425"/>
                <a:gd name="connsiteX1130" fmla="*/ 802931 w 1674813"/>
                <a:gd name="connsiteY1130" fmla="*/ 527424 h 2003425"/>
                <a:gd name="connsiteX1131" fmla="*/ 813594 w 1674813"/>
                <a:gd name="connsiteY1131" fmla="*/ 516857 h 2003425"/>
                <a:gd name="connsiteX1132" fmla="*/ 732235 w 1674813"/>
                <a:gd name="connsiteY1132" fmla="*/ 565234 h 2003425"/>
                <a:gd name="connsiteX1133" fmla="*/ 764778 w 1674813"/>
                <a:gd name="connsiteY1133" fmla="*/ 500731 h 2003425"/>
                <a:gd name="connsiteX1134" fmla="*/ 878305 w 1674813"/>
                <a:gd name="connsiteY1134" fmla="*/ 500559 h 2003425"/>
                <a:gd name="connsiteX1135" fmla="*/ 881955 w 1674813"/>
                <a:gd name="connsiteY1135" fmla="*/ 502372 h 2003425"/>
                <a:gd name="connsiteX1136" fmla="*/ 910431 w 1674813"/>
                <a:gd name="connsiteY1136" fmla="*/ 516515 h 2003425"/>
                <a:gd name="connsiteX1137" fmla="*/ 861615 w 1674813"/>
                <a:gd name="connsiteY1137" fmla="*/ 516515 h 2003425"/>
                <a:gd name="connsiteX1138" fmla="*/ 894159 w 1674813"/>
                <a:gd name="connsiteY1138" fmla="*/ 532679 h 2003425"/>
                <a:gd name="connsiteX1139" fmla="*/ 886532 w 1674813"/>
                <a:gd name="connsiteY1139" fmla="*/ 532679 h 2003425"/>
                <a:gd name="connsiteX1140" fmla="*/ 872024 w 1674813"/>
                <a:gd name="connsiteY1140" fmla="*/ 532679 h 2003425"/>
                <a:gd name="connsiteX1141" fmla="*/ 881538 w 1674813"/>
                <a:gd name="connsiteY1141" fmla="*/ 540705 h 2003425"/>
                <a:gd name="connsiteX1142" fmla="*/ 887072 w 1674813"/>
                <a:gd name="connsiteY1142" fmla="*/ 544825 h 2003425"/>
                <a:gd name="connsiteX1143" fmla="*/ 927497 w 1674813"/>
                <a:gd name="connsiteY1143" fmla="*/ 581360 h 2003425"/>
                <a:gd name="connsiteX1144" fmla="*/ 938836 w 1674813"/>
                <a:gd name="connsiteY1144" fmla="*/ 594621 h 2003425"/>
                <a:gd name="connsiteX1145" fmla="*/ 956734 w 1674813"/>
                <a:gd name="connsiteY1145" fmla="*/ 591159 h 2003425"/>
                <a:gd name="connsiteX1146" fmla="*/ 963602 w 1674813"/>
                <a:gd name="connsiteY1146" fmla="*/ 589456 h 2003425"/>
                <a:gd name="connsiteX1147" fmla="*/ 955283 w 1674813"/>
                <a:gd name="connsiteY1147" fmla="*/ 583950 h 2003425"/>
                <a:gd name="connsiteX1148" fmla="*/ 927031 w 1674813"/>
                <a:gd name="connsiteY1148" fmla="*/ 565250 h 2003425"/>
                <a:gd name="connsiteX1149" fmla="*/ 959610 w 1674813"/>
                <a:gd name="connsiteY1149" fmla="*/ 565250 h 2003425"/>
                <a:gd name="connsiteX1150" fmla="*/ 910742 w 1674813"/>
                <a:gd name="connsiteY1150" fmla="*/ 549077 h 2003425"/>
                <a:gd name="connsiteX1151" fmla="*/ 959610 w 1674813"/>
                <a:gd name="connsiteY1151" fmla="*/ 532905 h 2003425"/>
                <a:gd name="connsiteX1152" fmla="*/ 894453 w 1674813"/>
                <a:gd name="connsiteY1152" fmla="*/ 532905 h 2003425"/>
                <a:gd name="connsiteX1153" fmla="*/ 943320 w 1674813"/>
                <a:gd name="connsiteY1153" fmla="*/ 500559 h 2003425"/>
                <a:gd name="connsiteX1154" fmla="*/ 915832 w 1674813"/>
                <a:gd name="connsiteY1154" fmla="*/ 500559 h 2003425"/>
                <a:gd name="connsiteX1155" fmla="*/ 877887 w 1674813"/>
                <a:gd name="connsiteY1155" fmla="*/ 500352 h 2003425"/>
                <a:gd name="connsiteX1156" fmla="*/ 878248 w 1674813"/>
                <a:gd name="connsiteY1156" fmla="*/ 500531 h 2003425"/>
                <a:gd name="connsiteX1157" fmla="*/ 878790 w 1674813"/>
                <a:gd name="connsiteY1157" fmla="*/ 500352 h 2003425"/>
                <a:gd name="connsiteX1158" fmla="*/ 1105906 w 1674813"/>
                <a:gd name="connsiteY1158" fmla="*/ 500298 h 2003425"/>
                <a:gd name="connsiteX1159" fmla="*/ 1119613 w 1674813"/>
                <a:gd name="connsiteY1159" fmla="*/ 513941 h 2003425"/>
                <a:gd name="connsiteX1160" fmla="*/ 1130615 w 1674813"/>
                <a:gd name="connsiteY1160" fmla="*/ 524890 h 2003425"/>
                <a:gd name="connsiteX1161" fmla="*/ 1149205 w 1674813"/>
                <a:gd name="connsiteY1161" fmla="*/ 511072 h 2003425"/>
                <a:gd name="connsiteX1162" fmla="*/ 1138397 w 1674813"/>
                <a:gd name="connsiteY1162" fmla="*/ 508383 h 2003425"/>
                <a:gd name="connsiteX1163" fmla="*/ 1105906 w 1674813"/>
                <a:gd name="connsiteY1163" fmla="*/ 500298 h 2003425"/>
                <a:gd name="connsiteX1164" fmla="*/ 677713 w 1674813"/>
                <a:gd name="connsiteY1164" fmla="*/ 499737 h 2003425"/>
                <a:gd name="connsiteX1165" fmla="*/ 665383 w 1674813"/>
                <a:gd name="connsiteY1165" fmla="*/ 500388 h 2003425"/>
                <a:gd name="connsiteX1166" fmla="*/ 650169 w 1674813"/>
                <a:gd name="connsiteY1166" fmla="*/ 500640 h 2003425"/>
                <a:gd name="connsiteX1167" fmla="*/ 660312 w 1674813"/>
                <a:gd name="connsiteY1167" fmla="*/ 502661 h 2003425"/>
                <a:gd name="connsiteX1168" fmla="*/ 673269 w 1674813"/>
                <a:gd name="connsiteY1168" fmla="*/ 505242 h 2003425"/>
                <a:gd name="connsiteX1169" fmla="*/ 1178143 w 1674813"/>
                <a:gd name="connsiteY1169" fmla="*/ 495824 h 2003425"/>
                <a:gd name="connsiteX1170" fmla="*/ 1171925 w 1674813"/>
                <a:gd name="connsiteY1170" fmla="*/ 500644 h 2003425"/>
                <a:gd name="connsiteX1171" fmla="*/ 1179111 w 1674813"/>
                <a:gd name="connsiteY1171" fmla="*/ 496306 h 2003425"/>
                <a:gd name="connsiteX1172" fmla="*/ 733401 w 1674813"/>
                <a:gd name="connsiteY1172" fmla="*/ 493429 h 2003425"/>
                <a:gd name="connsiteX1173" fmla="*/ 732322 w 1674813"/>
                <a:gd name="connsiteY1173" fmla="*/ 493821 h 2003425"/>
                <a:gd name="connsiteX1174" fmla="*/ 710953 w 1674813"/>
                <a:gd name="connsiteY1174" fmla="*/ 496885 h 2003425"/>
                <a:gd name="connsiteX1175" fmla="*/ 705793 w 1674813"/>
                <a:gd name="connsiteY1175" fmla="*/ 500731 h 2003425"/>
                <a:gd name="connsiteX1176" fmla="*/ 693237 w 1674813"/>
                <a:gd name="connsiteY1176" fmla="*/ 509220 h 2003425"/>
                <a:gd name="connsiteX1177" fmla="*/ 704526 w 1674813"/>
                <a:gd name="connsiteY1177" fmla="*/ 511469 h 2003425"/>
                <a:gd name="connsiteX1178" fmla="*/ 720547 w 1674813"/>
                <a:gd name="connsiteY1178" fmla="*/ 514660 h 2003425"/>
                <a:gd name="connsiteX1179" fmla="*/ 1083788 w 1674813"/>
                <a:gd name="connsiteY1179" fmla="*/ 485917 h 2003425"/>
                <a:gd name="connsiteX1180" fmla="*/ 1081846 w 1674813"/>
                <a:gd name="connsiteY1180" fmla="*/ 486400 h 2003425"/>
                <a:gd name="connsiteX1181" fmla="*/ 1062566 w 1674813"/>
                <a:gd name="connsiteY1181" fmla="*/ 491193 h 2003425"/>
                <a:gd name="connsiteX1182" fmla="*/ 1025721 w 1674813"/>
                <a:gd name="connsiteY1182" fmla="*/ 500354 h 2003425"/>
                <a:gd name="connsiteX1183" fmla="*/ 1025670 w 1674813"/>
                <a:gd name="connsiteY1183" fmla="*/ 500743 h 2003425"/>
                <a:gd name="connsiteX1184" fmla="*/ 1027589 w 1674813"/>
                <a:gd name="connsiteY1184" fmla="*/ 501379 h 2003425"/>
                <a:gd name="connsiteX1185" fmla="*/ 1045569 w 1674813"/>
                <a:gd name="connsiteY1185" fmla="*/ 507339 h 2003425"/>
                <a:gd name="connsiteX1186" fmla="*/ 1063399 w 1674813"/>
                <a:gd name="connsiteY1186" fmla="*/ 513250 h 2003425"/>
                <a:gd name="connsiteX1187" fmla="*/ 1072255 w 1674813"/>
                <a:gd name="connsiteY1187" fmla="*/ 500757 h 2003425"/>
                <a:gd name="connsiteX1188" fmla="*/ 1072338 w 1674813"/>
                <a:gd name="connsiteY1188" fmla="*/ 500625 h 2003425"/>
                <a:gd name="connsiteX1189" fmla="*/ 1072460 w 1674813"/>
                <a:gd name="connsiteY1189" fmla="*/ 500468 h 2003425"/>
                <a:gd name="connsiteX1190" fmla="*/ 1075446 w 1674813"/>
                <a:gd name="connsiteY1190" fmla="*/ 496256 h 2003425"/>
                <a:gd name="connsiteX1191" fmla="*/ 1077341 w 1674813"/>
                <a:gd name="connsiteY1191" fmla="*/ 494198 h 2003425"/>
                <a:gd name="connsiteX1192" fmla="*/ 532119 w 1674813"/>
                <a:gd name="connsiteY1192" fmla="*/ 473290 h 2003425"/>
                <a:gd name="connsiteX1193" fmla="*/ 530870 w 1674813"/>
                <a:gd name="connsiteY1193" fmla="*/ 474527 h 2003425"/>
                <a:gd name="connsiteX1194" fmla="*/ 529393 w 1674813"/>
                <a:gd name="connsiteY1194" fmla="*/ 475991 h 2003425"/>
                <a:gd name="connsiteX1195" fmla="*/ 535294 w 1674813"/>
                <a:gd name="connsiteY1195" fmla="*/ 489773 h 2003425"/>
                <a:gd name="connsiteX1196" fmla="*/ 537604 w 1674813"/>
                <a:gd name="connsiteY1196" fmla="*/ 499688 h 2003425"/>
                <a:gd name="connsiteX1197" fmla="*/ 537735 w 1674813"/>
                <a:gd name="connsiteY1197" fmla="*/ 499472 h 2003425"/>
                <a:gd name="connsiteX1198" fmla="*/ 540543 w 1674813"/>
                <a:gd name="connsiteY1198" fmla="*/ 494834 h 2003425"/>
                <a:gd name="connsiteX1199" fmla="*/ 536752 w 1674813"/>
                <a:gd name="connsiteY1199" fmla="*/ 482771 h 2003425"/>
                <a:gd name="connsiteX1200" fmla="*/ 949441 w 1674813"/>
                <a:gd name="connsiteY1200" fmla="*/ 470267 h 2003425"/>
                <a:gd name="connsiteX1201" fmla="*/ 966346 w 1674813"/>
                <a:gd name="connsiteY1201" fmla="*/ 514670 h 2003425"/>
                <a:gd name="connsiteX1202" fmla="*/ 979662 w 1674813"/>
                <a:gd name="connsiteY1202" fmla="*/ 510248 h 2003425"/>
                <a:gd name="connsiteX1203" fmla="*/ 1001516 w 1674813"/>
                <a:gd name="connsiteY1203" fmla="*/ 502990 h 2003425"/>
                <a:gd name="connsiteX1204" fmla="*/ 1002613 w 1674813"/>
                <a:gd name="connsiteY1204" fmla="*/ 499217 h 2003425"/>
                <a:gd name="connsiteX1205" fmla="*/ 1001674 w 1674813"/>
                <a:gd name="connsiteY1205" fmla="*/ 498905 h 2003425"/>
                <a:gd name="connsiteX1206" fmla="*/ 959168 w 1674813"/>
                <a:gd name="connsiteY1206" fmla="*/ 484789 h 2003425"/>
                <a:gd name="connsiteX1207" fmla="*/ 979662 w 1674813"/>
                <a:gd name="connsiteY1207" fmla="*/ 484789 h 2003425"/>
                <a:gd name="connsiteX1208" fmla="*/ 1006808 w 1674813"/>
                <a:gd name="connsiteY1208" fmla="*/ 484789 h 2003425"/>
                <a:gd name="connsiteX1209" fmla="*/ 1006872 w 1674813"/>
                <a:gd name="connsiteY1209" fmla="*/ 484571 h 2003425"/>
                <a:gd name="connsiteX1210" fmla="*/ 1006734 w 1674813"/>
                <a:gd name="connsiteY1210" fmla="*/ 484537 h 2003425"/>
                <a:gd name="connsiteX1211" fmla="*/ 980421 w 1674813"/>
                <a:gd name="connsiteY1211" fmla="*/ 477983 h 2003425"/>
                <a:gd name="connsiteX1212" fmla="*/ 748507 w 1674813"/>
                <a:gd name="connsiteY1212" fmla="*/ 468480 h 2003425"/>
                <a:gd name="connsiteX1213" fmla="*/ 735540 w 1674813"/>
                <a:gd name="connsiteY1213" fmla="*/ 478558 h 2003425"/>
                <a:gd name="connsiteX1214" fmla="*/ 732592 w 1674813"/>
                <a:gd name="connsiteY1214" fmla="*/ 480756 h 2003425"/>
                <a:gd name="connsiteX1215" fmla="*/ 739963 w 1674813"/>
                <a:gd name="connsiteY1215" fmla="*/ 482591 h 2003425"/>
                <a:gd name="connsiteX1216" fmla="*/ 691807 w 1674813"/>
                <a:gd name="connsiteY1216" fmla="*/ 468313 h 2003425"/>
                <a:gd name="connsiteX1217" fmla="*/ 689294 w 1674813"/>
                <a:gd name="connsiteY1217" fmla="*/ 469974 h 2003425"/>
                <a:gd name="connsiteX1218" fmla="*/ 690739 w 1674813"/>
                <a:gd name="connsiteY1218" fmla="*/ 470334 h 2003425"/>
                <a:gd name="connsiteX1219" fmla="*/ 699656 w 1674813"/>
                <a:gd name="connsiteY1219" fmla="*/ 472554 h 2003425"/>
                <a:gd name="connsiteX1220" fmla="*/ 703080 w 1674813"/>
                <a:gd name="connsiteY1220" fmla="*/ 468313 h 2003425"/>
                <a:gd name="connsiteX1221" fmla="*/ 695303 w 1674813"/>
                <a:gd name="connsiteY1221" fmla="*/ 468313 h 2003425"/>
                <a:gd name="connsiteX1222" fmla="*/ 1122152 w 1674813"/>
                <a:gd name="connsiteY1222" fmla="*/ 467960 h 2003425"/>
                <a:gd name="connsiteX1223" fmla="*/ 1142712 w 1674813"/>
                <a:gd name="connsiteY1223" fmla="*/ 488424 h 2003425"/>
                <a:gd name="connsiteX1224" fmla="*/ 1158515 w 1674813"/>
                <a:gd name="connsiteY1224" fmla="*/ 504152 h 2003425"/>
                <a:gd name="connsiteX1225" fmla="*/ 1162046 w 1674813"/>
                <a:gd name="connsiteY1225" fmla="*/ 501527 h 2003425"/>
                <a:gd name="connsiteX1226" fmla="*/ 1175209 w 1674813"/>
                <a:gd name="connsiteY1226" fmla="*/ 494364 h 2003425"/>
                <a:gd name="connsiteX1227" fmla="*/ 1154643 w 1674813"/>
                <a:gd name="connsiteY1227" fmla="*/ 484129 h 2003425"/>
                <a:gd name="connsiteX1228" fmla="*/ 1122152 w 1674813"/>
                <a:gd name="connsiteY1228" fmla="*/ 467960 h 2003425"/>
                <a:gd name="connsiteX1229" fmla="*/ 1229281 w 1674813"/>
                <a:gd name="connsiteY1229" fmla="*/ 465774 h 2003425"/>
                <a:gd name="connsiteX1230" fmla="*/ 1181855 w 1674813"/>
                <a:gd name="connsiteY1230" fmla="*/ 493293 h 2003425"/>
                <a:gd name="connsiteX1231" fmla="*/ 1182557 w 1674813"/>
                <a:gd name="connsiteY1231" fmla="*/ 494225 h 2003425"/>
                <a:gd name="connsiteX1232" fmla="*/ 1214767 w 1674813"/>
                <a:gd name="connsiteY1232" fmla="*/ 474779 h 2003425"/>
                <a:gd name="connsiteX1233" fmla="*/ 1232507 w 1674813"/>
                <a:gd name="connsiteY1233" fmla="*/ 466845 h 2003425"/>
                <a:gd name="connsiteX1234" fmla="*/ 1231681 w 1674813"/>
                <a:gd name="connsiteY1234" fmla="*/ 466571 h 2003425"/>
                <a:gd name="connsiteX1235" fmla="*/ 499978 w 1674813"/>
                <a:gd name="connsiteY1235" fmla="*/ 451460 h 2003425"/>
                <a:gd name="connsiteX1236" fmla="*/ 494877 w 1674813"/>
                <a:gd name="connsiteY1236" fmla="*/ 455618 h 2003425"/>
                <a:gd name="connsiteX1237" fmla="*/ 503767 w 1674813"/>
                <a:gd name="connsiteY1237" fmla="*/ 452702 h 2003425"/>
                <a:gd name="connsiteX1238" fmla="*/ 515335 w 1674813"/>
                <a:gd name="connsiteY1238" fmla="*/ 438944 h 2003425"/>
                <a:gd name="connsiteX1239" fmla="*/ 513996 w 1674813"/>
                <a:gd name="connsiteY1239" fmla="*/ 440035 h 2003425"/>
                <a:gd name="connsiteX1240" fmla="*/ 526708 w 1674813"/>
                <a:gd name="connsiteY1240" fmla="*/ 469722 h 2003425"/>
                <a:gd name="connsiteX1241" fmla="*/ 528367 w 1674813"/>
                <a:gd name="connsiteY1241" fmla="*/ 465612 h 2003425"/>
                <a:gd name="connsiteX1242" fmla="*/ 1140094 w 1674813"/>
                <a:gd name="connsiteY1242" fmla="*/ 436185 h 2003425"/>
                <a:gd name="connsiteX1243" fmla="*/ 1139404 w 1674813"/>
                <a:gd name="connsiteY1243" fmla="*/ 436958 h 2003425"/>
                <a:gd name="connsiteX1244" fmla="*/ 1144489 w 1674813"/>
                <a:gd name="connsiteY1244" fmla="*/ 443707 h 2003425"/>
                <a:gd name="connsiteX1245" fmla="*/ 1158958 w 1674813"/>
                <a:gd name="connsiteY1245" fmla="*/ 462907 h 2003425"/>
                <a:gd name="connsiteX1246" fmla="*/ 1180494 w 1674813"/>
                <a:gd name="connsiteY1246" fmla="*/ 491487 h 2003425"/>
                <a:gd name="connsiteX1247" fmla="*/ 1228324 w 1674813"/>
                <a:gd name="connsiteY1247" fmla="*/ 465457 h 2003425"/>
                <a:gd name="connsiteX1248" fmla="*/ 1220640 w 1674813"/>
                <a:gd name="connsiteY1248" fmla="*/ 462907 h 2003425"/>
                <a:gd name="connsiteX1249" fmla="*/ 1142586 w 1674813"/>
                <a:gd name="connsiteY1249" fmla="*/ 437012 h 2003425"/>
                <a:gd name="connsiteX1250" fmla="*/ 585788 w 1674813"/>
                <a:gd name="connsiteY1250" fmla="*/ 420103 h 2003425"/>
                <a:gd name="connsiteX1251" fmla="*/ 553244 w 1674813"/>
                <a:gd name="connsiteY1251" fmla="*/ 452354 h 2003425"/>
                <a:gd name="connsiteX1252" fmla="*/ 536760 w 1674813"/>
                <a:gd name="connsiteY1252" fmla="*/ 468691 h 2003425"/>
                <a:gd name="connsiteX1253" fmla="*/ 540798 w 1674813"/>
                <a:gd name="connsiteY1253" fmla="*/ 494412 h 2003425"/>
                <a:gd name="connsiteX1254" fmla="*/ 543074 w 1674813"/>
                <a:gd name="connsiteY1254" fmla="*/ 490653 h 2003425"/>
                <a:gd name="connsiteX1255" fmla="*/ 585788 w 1674813"/>
                <a:gd name="connsiteY1255" fmla="*/ 420103 h 2003425"/>
                <a:gd name="connsiteX1256" fmla="*/ 1170888 w 1674813"/>
                <a:gd name="connsiteY1256" fmla="*/ 419453 h 2003425"/>
                <a:gd name="connsiteX1257" fmla="*/ 1198302 w 1674813"/>
                <a:gd name="connsiteY1257" fmla="*/ 439917 h 2003425"/>
                <a:gd name="connsiteX1258" fmla="*/ 1230749 w 1674813"/>
                <a:gd name="connsiteY1258" fmla="*/ 464138 h 2003425"/>
                <a:gd name="connsiteX1259" fmla="*/ 1252538 w 1674813"/>
                <a:gd name="connsiteY1259" fmla="*/ 452279 h 2003425"/>
                <a:gd name="connsiteX1260" fmla="*/ 1231340 w 1674813"/>
                <a:gd name="connsiteY1260" fmla="*/ 464579 h 2003425"/>
                <a:gd name="connsiteX1261" fmla="*/ 1233675 w 1674813"/>
                <a:gd name="connsiteY1261" fmla="*/ 466322 h 2003425"/>
                <a:gd name="connsiteX1262" fmla="*/ 1267099 w 1674813"/>
                <a:gd name="connsiteY1262" fmla="*/ 451373 h 2003425"/>
                <a:gd name="connsiteX1263" fmla="*/ 1264172 w 1674813"/>
                <a:gd name="connsiteY1263" fmla="*/ 450402 h 2003425"/>
                <a:gd name="connsiteX1264" fmla="*/ 1260094 w 1674813"/>
                <a:gd name="connsiteY1264" fmla="*/ 449048 h 2003425"/>
                <a:gd name="connsiteX1265" fmla="*/ 1252538 w 1674813"/>
                <a:gd name="connsiteY1265" fmla="*/ 452279 h 2003425"/>
                <a:gd name="connsiteX1266" fmla="*/ 1259324 w 1674813"/>
                <a:gd name="connsiteY1266" fmla="*/ 448793 h 2003425"/>
                <a:gd name="connsiteX1267" fmla="*/ 1253131 w 1674813"/>
                <a:gd name="connsiteY1267" fmla="*/ 446738 h 2003425"/>
                <a:gd name="connsiteX1268" fmla="*/ 1170888 w 1674813"/>
                <a:gd name="connsiteY1268" fmla="*/ 419453 h 2003425"/>
                <a:gd name="connsiteX1269" fmla="*/ 553244 w 1674813"/>
                <a:gd name="connsiteY1269" fmla="*/ 403977 h 2003425"/>
                <a:gd name="connsiteX1270" fmla="*/ 518666 w 1674813"/>
                <a:gd name="connsiteY1270" fmla="*/ 436229 h 2003425"/>
                <a:gd name="connsiteX1271" fmla="*/ 518027 w 1674813"/>
                <a:gd name="connsiteY1271" fmla="*/ 436749 h 2003425"/>
                <a:gd name="connsiteX1272" fmla="*/ 531058 w 1674813"/>
                <a:gd name="connsiteY1272" fmla="*/ 458944 h 2003425"/>
                <a:gd name="connsiteX1273" fmla="*/ 534430 w 1674813"/>
                <a:gd name="connsiteY1273" fmla="*/ 450590 h 2003425"/>
                <a:gd name="connsiteX1274" fmla="*/ 553244 w 1674813"/>
                <a:gd name="connsiteY1274" fmla="*/ 403977 h 2003425"/>
                <a:gd name="connsiteX1275" fmla="*/ 484270 w 1674813"/>
                <a:gd name="connsiteY1275" fmla="*/ 402835 h 2003425"/>
                <a:gd name="connsiteX1276" fmla="*/ 482320 w 1674813"/>
                <a:gd name="connsiteY1276" fmla="*/ 404284 h 2003425"/>
                <a:gd name="connsiteX1277" fmla="*/ 487362 w 1674813"/>
                <a:gd name="connsiteY1277" fmla="*/ 404284 h 2003425"/>
                <a:gd name="connsiteX1278" fmla="*/ 489752 w 1674813"/>
                <a:gd name="connsiteY1278" fmla="*/ 398760 h 2003425"/>
                <a:gd name="connsiteX1279" fmla="*/ 489547 w 1674813"/>
                <a:gd name="connsiteY1279" fmla="*/ 398912 h 2003425"/>
                <a:gd name="connsiteX1280" fmla="*/ 495953 w 1674813"/>
                <a:gd name="connsiteY1280" fmla="*/ 408849 h 2003425"/>
                <a:gd name="connsiteX1281" fmla="*/ 496554 w 1674813"/>
                <a:gd name="connsiteY1281" fmla="*/ 407359 h 2003425"/>
                <a:gd name="connsiteX1282" fmla="*/ 504428 w 1674813"/>
                <a:gd name="connsiteY1282" fmla="*/ 387851 h 2003425"/>
                <a:gd name="connsiteX1283" fmla="*/ 494258 w 1674813"/>
                <a:gd name="connsiteY1283" fmla="*/ 395410 h 2003425"/>
                <a:gd name="connsiteX1284" fmla="*/ 491209 w 1674813"/>
                <a:gd name="connsiteY1284" fmla="*/ 397677 h 2003425"/>
                <a:gd name="connsiteX1285" fmla="*/ 497185 w 1674813"/>
                <a:gd name="connsiteY1285" fmla="*/ 405797 h 2003425"/>
                <a:gd name="connsiteX1286" fmla="*/ 439341 w 1674813"/>
                <a:gd name="connsiteY1286" fmla="*/ 387851 h 2003425"/>
                <a:gd name="connsiteX1287" fmla="*/ 438160 w 1674813"/>
                <a:gd name="connsiteY1287" fmla="*/ 388144 h 2003425"/>
                <a:gd name="connsiteX1288" fmla="*/ 439046 w 1674813"/>
                <a:gd name="connsiteY1288" fmla="*/ 388144 h 2003425"/>
                <a:gd name="connsiteX1289" fmla="*/ 242888 w 1674813"/>
                <a:gd name="connsiteY1289" fmla="*/ 387350 h 2003425"/>
                <a:gd name="connsiteX1290" fmla="*/ 259181 w 1674813"/>
                <a:gd name="connsiteY1290" fmla="*/ 387350 h 2003425"/>
                <a:gd name="connsiteX1291" fmla="*/ 272388 w 1674813"/>
                <a:gd name="connsiteY1291" fmla="*/ 396652 h 2003425"/>
                <a:gd name="connsiteX1292" fmla="*/ 271506 w 1674813"/>
                <a:gd name="connsiteY1292" fmla="*/ 395940 h 2003425"/>
                <a:gd name="connsiteX1293" fmla="*/ 260350 w 1674813"/>
                <a:gd name="connsiteY1293" fmla="*/ 387350 h 2003425"/>
                <a:gd name="connsiteX1294" fmla="*/ 471311 w 1674813"/>
                <a:gd name="connsiteY1294" fmla="*/ 597547 h 2003425"/>
                <a:gd name="connsiteX1295" fmla="*/ 390172 w 1674813"/>
                <a:gd name="connsiteY1295" fmla="*/ 500533 h 2003425"/>
                <a:gd name="connsiteX1296" fmla="*/ 380762 w 1674813"/>
                <a:gd name="connsiteY1296" fmla="*/ 491656 h 2003425"/>
                <a:gd name="connsiteX1297" fmla="*/ 389778 w 1674813"/>
                <a:gd name="connsiteY1297" fmla="*/ 501038 h 2003425"/>
                <a:gd name="connsiteX1298" fmla="*/ 438401 w 1674813"/>
                <a:gd name="connsiteY1298" fmla="*/ 565209 h 2003425"/>
                <a:gd name="connsiteX1299" fmla="*/ 340644 w 1674813"/>
                <a:gd name="connsiteY1299" fmla="*/ 581378 h 2003425"/>
                <a:gd name="connsiteX1300" fmla="*/ 422108 w 1674813"/>
                <a:gd name="connsiteY1300" fmla="*/ 549040 h 2003425"/>
                <a:gd name="connsiteX1301" fmla="*/ 324352 w 1674813"/>
                <a:gd name="connsiteY1301" fmla="*/ 549040 h 2003425"/>
                <a:gd name="connsiteX1302" fmla="*/ 389523 w 1674813"/>
                <a:gd name="connsiteY1302" fmla="*/ 516702 h 2003425"/>
                <a:gd name="connsiteX1303" fmla="*/ 324352 w 1674813"/>
                <a:gd name="connsiteY1303" fmla="*/ 532871 h 2003425"/>
                <a:gd name="connsiteX1304" fmla="*/ 373230 w 1674813"/>
                <a:gd name="connsiteY1304" fmla="*/ 500533 h 2003425"/>
                <a:gd name="connsiteX1305" fmla="*/ 308059 w 1674813"/>
                <a:gd name="connsiteY1305" fmla="*/ 516702 h 2003425"/>
                <a:gd name="connsiteX1306" fmla="*/ 328679 w 1674813"/>
                <a:gd name="connsiteY1306" fmla="*/ 496238 h 2003425"/>
                <a:gd name="connsiteX1307" fmla="*/ 356428 w 1674813"/>
                <a:gd name="connsiteY1307" fmla="*/ 468700 h 2003425"/>
                <a:gd name="connsiteX1308" fmla="*/ 356110 w 1674813"/>
                <a:gd name="connsiteY1308" fmla="*/ 468400 h 2003425"/>
                <a:gd name="connsiteX1309" fmla="*/ 346754 w 1674813"/>
                <a:gd name="connsiteY1309" fmla="*/ 470722 h 2003425"/>
                <a:gd name="connsiteX1310" fmla="*/ 291766 w 1674813"/>
                <a:gd name="connsiteY1310" fmla="*/ 484364 h 2003425"/>
                <a:gd name="connsiteX1311" fmla="*/ 324352 w 1674813"/>
                <a:gd name="connsiteY1311" fmla="*/ 452026 h 2003425"/>
                <a:gd name="connsiteX1312" fmla="*/ 275473 w 1674813"/>
                <a:gd name="connsiteY1312" fmla="*/ 452026 h 2003425"/>
                <a:gd name="connsiteX1313" fmla="*/ 308059 w 1674813"/>
                <a:gd name="connsiteY1313" fmla="*/ 435857 h 2003425"/>
                <a:gd name="connsiteX1314" fmla="*/ 300422 w 1674813"/>
                <a:gd name="connsiteY1314" fmla="*/ 435857 h 2003425"/>
                <a:gd name="connsiteX1315" fmla="*/ 291766 w 1674813"/>
                <a:gd name="connsiteY1315" fmla="*/ 435857 h 2003425"/>
                <a:gd name="connsiteX1316" fmla="*/ 259181 w 1674813"/>
                <a:gd name="connsiteY1316" fmla="*/ 419688 h 2003425"/>
                <a:gd name="connsiteX1317" fmla="*/ 275473 w 1674813"/>
                <a:gd name="connsiteY1317" fmla="*/ 403519 h 2003425"/>
                <a:gd name="connsiteX1318" fmla="*/ 242888 w 1674813"/>
                <a:gd name="connsiteY1318" fmla="*/ 387350 h 2003425"/>
                <a:gd name="connsiteX1319" fmla="*/ 795911 w 1674813"/>
                <a:gd name="connsiteY1319" fmla="*/ 371178 h 2003425"/>
                <a:gd name="connsiteX1320" fmla="*/ 796219 w 1674813"/>
                <a:gd name="connsiteY1320" fmla="*/ 371331 h 2003425"/>
                <a:gd name="connsiteX1321" fmla="*/ 747536 w 1674813"/>
                <a:gd name="connsiteY1321" fmla="*/ 387495 h 2003425"/>
                <a:gd name="connsiteX1322" fmla="*/ 779991 w 1674813"/>
                <a:gd name="connsiteY1322" fmla="*/ 403659 h 2003425"/>
                <a:gd name="connsiteX1323" fmla="*/ 715080 w 1674813"/>
                <a:gd name="connsiteY1323" fmla="*/ 403659 h 2003425"/>
                <a:gd name="connsiteX1324" fmla="*/ 779991 w 1674813"/>
                <a:gd name="connsiteY1324" fmla="*/ 435986 h 2003425"/>
                <a:gd name="connsiteX1325" fmla="*/ 739422 w 1674813"/>
                <a:gd name="connsiteY1325" fmla="*/ 435986 h 2003425"/>
                <a:gd name="connsiteX1326" fmla="*/ 730978 w 1674813"/>
                <a:gd name="connsiteY1326" fmla="*/ 435986 h 2003425"/>
                <a:gd name="connsiteX1327" fmla="*/ 731838 w 1674813"/>
                <a:gd name="connsiteY1327" fmla="*/ 436404 h 2003425"/>
                <a:gd name="connsiteX1328" fmla="*/ 794415 w 1674813"/>
                <a:gd name="connsiteY1328" fmla="*/ 473855 h 2003425"/>
                <a:gd name="connsiteX1329" fmla="*/ 841576 w 1674813"/>
                <a:gd name="connsiteY1329" fmla="*/ 507794 h 2003425"/>
                <a:gd name="connsiteX1330" fmla="*/ 847774 w 1674813"/>
                <a:gd name="connsiteY1330" fmla="*/ 504645 h 2003425"/>
                <a:gd name="connsiteX1331" fmla="*/ 859743 w 1674813"/>
                <a:gd name="connsiteY1331" fmla="*/ 501559 h 2003425"/>
                <a:gd name="connsiteX1332" fmla="*/ 884498 w 1674813"/>
                <a:gd name="connsiteY1332" fmla="*/ 490502 h 2003425"/>
                <a:gd name="connsiteX1333" fmla="*/ 901692 w 1674813"/>
                <a:gd name="connsiteY1333" fmla="*/ 487930 h 2003425"/>
                <a:gd name="connsiteX1334" fmla="*/ 905417 w 1674813"/>
                <a:gd name="connsiteY1334" fmla="*/ 489780 h 2003425"/>
                <a:gd name="connsiteX1335" fmla="*/ 908385 w 1674813"/>
                <a:gd name="connsiteY1335" fmla="*/ 489015 h 2003425"/>
                <a:gd name="connsiteX1336" fmla="*/ 905607 w 1674813"/>
                <a:gd name="connsiteY1336" fmla="*/ 489874 h 2003425"/>
                <a:gd name="connsiteX1337" fmla="*/ 907544 w 1674813"/>
                <a:gd name="connsiteY1337" fmla="*/ 490836 h 2003425"/>
                <a:gd name="connsiteX1338" fmla="*/ 927031 w 1674813"/>
                <a:gd name="connsiteY1338" fmla="*/ 484387 h 2003425"/>
                <a:gd name="connsiteX1339" fmla="*/ 926330 w 1674813"/>
                <a:gd name="connsiteY1339" fmla="*/ 484387 h 2003425"/>
                <a:gd name="connsiteX1340" fmla="*/ 908385 w 1674813"/>
                <a:gd name="connsiteY1340" fmla="*/ 489015 h 2003425"/>
                <a:gd name="connsiteX1341" fmla="*/ 913370 w 1674813"/>
                <a:gd name="connsiteY1341" fmla="*/ 487471 h 2003425"/>
                <a:gd name="connsiteX1342" fmla="*/ 923477 w 1674813"/>
                <a:gd name="connsiteY1342" fmla="*/ 484977 h 2003425"/>
                <a:gd name="connsiteX1343" fmla="*/ 926189 w 1674813"/>
                <a:gd name="connsiteY1343" fmla="*/ 484387 h 2003425"/>
                <a:gd name="connsiteX1344" fmla="*/ 926013 w 1674813"/>
                <a:gd name="connsiteY1344" fmla="*/ 484387 h 2003425"/>
                <a:gd name="connsiteX1345" fmla="*/ 925376 w 1674813"/>
                <a:gd name="connsiteY1345" fmla="*/ 484387 h 2003425"/>
                <a:gd name="connsiteX1346" fmla="*/ 901692 w 1674813"/>
                <a:gd name="connsiteY1346" fmla="*/ 487930 h 2003425"/>
                <a:gd name="connsiteX1347" fmla="*/ 898227 w 1674813"/>
                <a:gd name="connsiteY1347" fmla="*/ 486209 h 2003425"/>
                <a:gd name="connsiteX1348" fmla="*/ 894559 w 1674813"/>
                <a:gd name="connsiteY1348" fmla="*/ 484387 h 2003425"/>
                <a:gd name="connsiteX1349" fmla="*/ 861875 w 1674813"/>
                <a:gd name="connsiteY1349" fmla="*/ 484387 h 2003425"/>
                <a:gd name="connsiteX1350" fmla="*/ 927031 w 1674813"/>
                <a:gd name="connsiteY1350" fmla="*/ 452041 h 2003425"/>
                <a:gd name="connsiteX1351" fmla="*/ 845586 w 1674813"/>
                <a:gd name="connsiteY1351" fmla="*/ 468214 h 2003425"/>
                <a:gd name="connsiteX1352" fmla="*/ 894453 w 1674813"/>
                <a:gd name="connsiteY1352" fmla="*/ 435869 h 2003425"/>
                <a:gd name="connsiteX1353" fmla="*/ 829296 w 1674813"/>
                <a:gd name="connsiteY1353" fmla="*/ 435869 h 2003425"/>
                <a:gd name="connsiteX1354" fmla="*/ 894453 w 1674813"/>
                <a:gd name="connsiteY1354" fmla="*/ 403523 h 2003425"/>
                <a:gd name="connsiteX1355" fmla="*/ 796718 w 1674813"/>
                <a:gd name="connsiteY1355" fmla="*/ 403523 h 2003425"/>
                <a:gd name="connsiteX1356" fmla="*/ 878164 w 1674813"/>
                <a:gd name="connsiteY1356" fmla="*/ 371178 h 2003425"/>
                <a:gd name="connsiteX1357" fmla="*/ 821152 w 1674813"/>
                <a:gd name="connsiteY1357" fmla="*/ 371178 h 2003425"/>
                <a:gd name="connsiteX1358" fmla="*/ 1240357 w 1674813"/>
                <a:gd name="connsiteY1358" fmla="*/ 341051 h 2003425"/>
                <a:gd name="connsiteX1359" fmla="*/ 1220187 w 1674813"/>
                <a:gd name="connsiteY1359" fmla="*/ 356713 h 2003425"/>
                <a:gd name="connsiteX1360" fmla="*/ 1201740 w 1674813"/>
                <a:gd name="connsiteY1360" fmla="*/ 374473 h 2003425"/>
                <a:gd name="connsiteX1361" fmla="*/ 438150 w 1674813"/>
                <a:gd name="connsiteY1361" fmla="*/ 339725 h 2003425"/>
                <a:gd name="connsiteX1362" fmla="*/ 453555 w 1674813"/>
                <a:gd name="connsiteY1362" fmla="*/ 354882 h 2003425"/>
                <a:gd name="connsiteX1363" fmla="*/ 440200 w 1674813"/>
                <a:gd name="connsiteY1363" fmla="*/ 341743 h 2003425"/>
                <a:gd name="connsiteX1364" fmla="*/ 438150 w 1674813"/>
                <a:gd name="connsiteY1364" fmla="*/ 339725 h 2003425"/>
                <a:gd name="connsiteX1365" fmla="*/ 829296 w 1674813"/>
                <a:gd name="connsiteY1365" fmla="*/ 306487 h 2003425"/>
                <a:gd name="connsiteX1366" fmla="*/ 814025 w 1674813"/>
                <a:gd name="connsiteY1366" fmla="*/ 309014 h 2003425"/>
                <a:gd name="connsiteX1367" fmla="*/ 809318 w 1674813"/>
                <a:gd name="connsiteY1367" fmla="*/ 309793 h 2003425"/>
                <a:gd name="connsiteX1368" fmla="*/ 796219 w 1674813"/>
                <a:gd name="connsiteY1368" fmla="*/ 322840 h 2003425"/>
                <a:gd name="connsiteX1369" fmla="*/ 798248 w 1674813"/>
                <a:gd name="connsiteY1369" fmla="*/ 322840 h 2003425"/>
                <a:gd name="connsiteX1370" fmla="*/ 801845 w 1674813"/>
                <a:gd name="connsiteY1370" fmla="*/ 322840 h 2003425"/>
                <a:gd name="connsiteX1371" fmla="*/ 802413 w 1674813"/>
                <a:gd name="connsiteY1371" fmla="*/ 322502 h 2003425"/>
                <a:gd name="connsiteX1372" fmla="*/ 829296 w 1674813"/>
                <a:gd name="connsiteY1372" fmla="*/ 306487 h 2003425"/>
                <a:gd name="connsiteX1373" fmla="*/ 1301030 w 1674813"/>
                <a:gd name="connsiteY1373" fmla="*/ 0 h 2003425"/>
                <a:gd name="connsiteX1374" fmla="*/ 1301751 w 1674813"/>
                <a:gd name="connsiteY1374" fmla="*/ 0 h 2003425"/>
                <a:gd name="connsiteX1375" fmla="*/ 1305089 w 1674813"/>
                <a:gd name="connsiteY1375" fmla="*/ 0 h 2003425"/>
                <a:gd name="connsiteX1376" fmla="*/ 1333501 w 1674813"/>
                <a:gd name="connsiteY1376" fmla="*/ 0 h 2003425"/>
                <a:gd name="connsiteX1377" fmla="*/ 1284794 w 1674813"/>
                <a:gd name="connsiteY1377" fmla="*/ 32292 h 2003425"/>
                <a:gd name="connsiteX1378" fmla="*/ 1317265 w 1674813"/>
                <a:gd name="connsiteY1378" fmla="*/ 32292 h 2003425"/>
                <a:gd name="connsiteX1379" fmla="*/ 1268558 w 1674813"/>
                <a:gd name="connsiteY1379" fmla="*/ 64584 h 2003425"/>
                <a:gd name="connsiteX1380" fmla="*/ 1317265 w 1674813"/>
                <a:gd name="connsiteY1380" fmla="*/ 64584 h 2003425"/>
                <a:gd name="connsiteX1381" fmla="*/ 1252322 w 1674813"/>
                <a:gd name="connsiteY1381" fmla="*/ 80730 h 2003425"/>
                <a:gd name="connsiteX1382" fmla="*/ 1301030 w 1674813"/>
                <a:gd name="connsiteY1382" fmla="*/ 96876 h 2003425"/>
                <a:gd name="connsiteX1383" fmla="*/ 1236086 w 1674813"/>
                <a:gd name="connsiteY1383" fmla="*/ 113022 h 2003425"/>
                <a:gd name="connsiteX1384" fmla="*/ 1284794 w 1674813"/>
                <a:gd name="connsiteY1384" fmla="*/ 145314 h 2003425"/>
                <a:gd name="connsiteX1385" fmla="*/ 1203615 w 1674813"/>
                <a:gd name="connsiteY1385" fmla="*/ 145314 h 2003425"/>
                <a:gd name="connsiteX1386" fmla="*/ 1268558 w 1674813"/>
                <a:gd name="connsiteY1386" fmla="*/ 177606 h 2003425"/>
                <a:gd name="connsiteX1387" fmla="*/ 1187379 w 1674813"/>
                <a:gd name="connsiteY1387" fmla="*/ 177606 h 2003425"/>
                <a:gd name="connsiteX1388" fmla="*/ 1252322 w 1674813"/>
                <a:gd name="connsiteY1388" fmla="*/ 209899 h 2003425"/>
                <a:gd name="connsiteX1389" fmla="*/ 1154907 w 1674813"/>
                <a:gd name="connsiteY1389" fmla="*/ 209899 h 2003425"/>
                <a:gd name="connsiteX1390" fmla="*/ 1236086 w 1674813"/>
                <a:gd name="connsiteY1390" fmla="*/ 242191 h 2003425"/>
                <a:gd name="connsiteX1391" fmla="*/ 1122436 w 1674813"/>
                <a:gd name="connsiteY1391" fmla="*/ 258337 h 2003425"/>
                <a:gd name="connsiteX1392" fmla="*/ 1219851 w 1674813"/>
                <a:gd name="connsiteY1392" fmla="*/ 274483 h 2003425"/>
                <a:gd name="connsiteX1393" fmla="*/ 1106200 w 1674813"/>
                <a:gd name="connsiteY1393" fmla="*/ 290629 h 2003425"/>
                <a:gd name="connsiteX1394" fmla="*/ 1203615 w 1674813"/>
                <a:gd name="connsiteY1394" fmla="*/ 306775 h 2003425"/>
                <a:gd name="connsiteX1395" fmla="*/ 1089964 w 1674813"/>
                <a:gd name="connsiteY1395" fmla="*/ 322921 h 2003425"/>
                <a:gd name="connsiteX1396" fmla="*/ 1171143 w 1674813"/>
                <a:gd name="connsiteY1396" fmla="*/ 355213 h 2003425"/>
                <a:gd name="connsiteX1397" fmla="*/ 1062376 w 1674813"/>
                <a:gd name="connsiteY1397" fmla="*/ 370665 h 2003425"/>
                <a:gd name="connsiteX1398" fmla="*/ 1060252 w 1674813"/>
                <a:gd name="connsiteY1398" fmla="*/ 370967 h 2003425"/>
                <a:gd name="connsiteX1399" fmla="*/ 1059881 w 1674813"/>
                <a:gd name="connsiteY1399" fmla="*/ 371834 h 2003425"/>
                <a:gd name="connsiteX1400" fmla="*/ 1067640 w 1674813"/>
                <a:gd name="connsiteY1400" fmla="*/ 373377 h 2003425"/>
                <a:gd name="connsiteX1401" fmla="*/ 1138671 w 1674813"/>
                <a:gd name="connsiteY1401" fmla="*/ 387505 h 2003425"/>
                <a:gd name="connsiteX1402" fmla="*/ 1057492 w 1674813"/>
                <a:gd name="connsiteY1402" fmla="*/ 403651 h 2003425"/>
                <a:gd name="connsiteX1403" fmla="*/ 1122436 w 1674813"/>
                <a:gd name="connsiteY1403" fmla="*/ 419797 h 2003425"/>
                <a:gd name="connsiteX1404" fmla="*/ 1041257 w 1674813"/>
                <a:gd name="connsiteY1404" fmla="*/ 435943 h 2003425"/>
                <a:gd name="connsiteX1405" fmla="*/ 1106200 w 1674813"/>
                <a:gd name="connsiteY1405" fmla="*/ 452090 h 2003425"/>
                <a:gd name="connsiteX1406" fmla="*/ 1041257 w 1674813"/>
                <a:gd name="connsiteY1406" fmla="*/ 468236 h 2003425"/>
                <a:gd name="connsiteX1407" fmla="*/ 1061805 w 1674813"/>
                <a:gd name="connsiteY1407" fmla="*/ 475047 h 2003425"/>
                <a:gd name="connsiteX1408" fmla="*/ 1086005 w 1674813"/>
                <a:gd name="connsiteY1408" fmla="*/ 483069 h 2003425"/>
                <a:gd name="connsiteX1409" fmla="*/ 1110126 w 1674813"/>
                <a:gd name="connsiteY1409" fmla="*/ 452086 h 2003425"/>
                <a:gd name="connsiteX1410" fmla="*/ 1155154 w 1674813"/>
                <a:gd name="connsiteY1410" fmla="*/ 403169 h 2003425"/>
                <a:gd name="connsiteX1411" fmla="*/ 1356349 w 1674813"/>
                <a:gd name="connsiteY1411" fmla="*/ 257742 h 2003425"/>
                <a:gd name="connsiteX1412" fmla="*/ 1401363 w 1674813"/>
                <a:gd name="connsiteY1412" fmla="*/ 241835 h 2003425"/>
                <a:gd name="connsiteX1413" fmla="*/ 1401878 w 1674813"/>
                <a:gd name="connsiteY1413" fmla="*/ 241594 h 2003425"/>
                <a:gd name="connsiteX1414" fmla="*/ 1447060 w 1674813"/>
                <a:gd name="connsiteY1414" fmla="*/ 225425 h 2003425"/>
                <a:gd name="connsiteX1415" fmla="*/ 1447801 w 1674813"/>
                <a:gd name="connsiteY1415" fmla="*/ 225425 h 2003425"/>
                <a:gd name="connsiteX1416" fmla="*/ 1451122 w 1674813"/>
                <a:gd name="connsiteY1416" fmla="*/ 225425 h 2003425"/>
                <a:gd name="connsiteX1417" fmla="*/ 1479551 w 1674813"/>
                <a:gd name="connsiteY1417" fmla="*/ 225425 h 2003425"/>
                <a:gd name="connsiteX1418" fmla="*/ 1463306 w 1674813"/>
                <a:gd name="connsiteY1418" fmla="*/ 241594 h 2003425"/>
                <a:gd name="connsiteX1419" fmla="*/ 1430815 w 1674813"/>
                <a:gd name="connsiteY1419" fmla="*/ 241594 h 2003425"/>
                <a:gd name="connsiteX1420" fmla="*/ 1463306 w 1674813"/>
                <a:gd name="connsiteY1420" fmla="*/ 257763 h 2003425"/>
                <a:gd name="connsiteX1421" fmla="*/ 1398324 w 1674813"/>
                <a:gd name="connsiteY1421" fmla="*/ 257763 h 2003425"/>
                <a:gd name="connsiteX1422" fmla="*/ 1430815 w 1674813"/>
                <a:gd name="connsiteY1422" fmla="*/ 273932 h 2003425"/>
                <a:gd name="connsiteX1423" fmla="*/ 1382079 w 1674813"/>
                <a:gd name="connsiteY1423" fmla="*/ 273932 h 2003425"/>
                <a:gd name="connsiteX1424" fmla="*/ 1414570 w 1674813"/>
                <a:gd name="connsiteY1424" fmla="*/ 306270 h 2003425"/>
                <a:gd name="connsiteX1425" fmla="*/ 1349588 w 1674813"/>
                <a:gd name="connsiteY1425" fmla="*/ 290101 h 2003425"/>
                <a:gd name="connsiteX1426" fmla="*/ 1382079 w 1674813"/>
                <a:gd name="connsiteY1426" fmla="*/ 322439 h 2003425"/>
                <a:gd name="connsiteX1427" fmla="*/ 1317097 w 1674813"/>
                <a:gd name="connsiteY1427" fmla="*/ 306270 h 2003425"/>
                <a:gd name="connsiteX1428" fmla="*/ 1365833 w 1674813"/>
                <a:gd name="connsiteY1428" fmla="*/ 354777 h 2003425"/>
                <a:gd name="connsiteX1429" fmla="*/ 1300851 w 1674813"/>
                <a:gd name="connsiteY1429" fmla="*/ 322439 h 2003425"/>
                <a:gd name="connsiteX1430" fmla="*/ 1333342 w 1674813"/>
                <a:gd name="connsiteY1430" fmla="*/ 387115 h 2003425"/>
                <a:gd name="connsiteX1431" fmla="*/ 1268361 w 1674813"/>
                <a:gd name="connsiteY1431" fmla="*/ 338608 h 2003425"/>
                <a:gd name="connsiteX1432" fmla="*/ 1317097 w 1674813"/>
                <a:gd name="connsiteY1432" fmla="*/ 403284 h 2003425"/>
                <a:gd name="connsiteX1433" fmla="*/ 1219624 w 1674813"/>
                <a:gd name="connsiteY1433" fmla="*/ 370946 h 2003425"/>
                <a:gd name="connsiteX1434" fmla="*/ 1284606 w 1674813"/>
                <a:gd name="connsiteY1434" fmla="*/ 419453 h 2003425"/>
                <a:gd name="connsiteX1435" fmla="*/ 1203379 w 1674813"/>
                <a:gd name="connsiteY1435" fmla="*/ 387115 h 2003425"/>
                <a:gd name="connsiteX1436" fmla="*/ 1230793 w 1674813"/>
                <a:gd name="connsiteY1436" fmla="*/ 414400 h 2003425"/>
                <a:gd name="connsiteX1437" fmla="*/ 1263297 w 1674813"/>
                <a:gd name="connsiteY1437" fmla="*/ 446752 h 2003425"/>
                <a:gd name="connsiteX1438" fmla="*/ 1304846 w 1674813"/>
                <a:gd name="connsiteY1438" fmla="*/ 425407 h 2003425"/>
                <a:gd name="connsiteX1439" fmla="*/ 1524838 w 1674813"/>
                <a:gd name="connsiteY1439" fmla="*/ 363908 h 2003425"/>
                <a:gd name="connsiteX1440" fmla="*/ 1573964 w 1674813"/>
                <a:gd name="connsiteY1440" fmla="*/ 360456 h 2003425"/>
                <a:gd name="connsiteX1441" fmla="*/ 1582409 w 1674813"/>
                <a:gd name="connsiteY1441" fmla="*/ 359128 h 2003425"/>
                <a:gd name="connsiteX1442" fmla="*/ 1642666 w 1674813"/>
                <a:gd name="connsiteY1442" fmla="*/ 355600 h 2003425"/>
                <a:gd name="connsiteX1443" fmla="*/ 1642693 w 1674813"/>
                <a:gd name="connsiteY1443" fmla="*/ 355626 h 2003425"/>
                <a:gd name="connsiteX1444" fmla="*/ 1643063 w 1674813"/>
                <a:gd name="connsiteY1444" fmla="*/ 355600 h 2003425"/>
                <a:gd name="connsiteX1445" fmla="*/ 1642716 w 1674813"/>
                <a:gd name="connsiteY1445" fmla="*/ 355650 h 2003425"/>
                <a:gd name="connsiteX1446" fmla="*/ 1644700 w 1674813"/>
                <a:gd name="connsiteY1446" fmla="*/ 357616 h 2003425"/>
                <a:gd name="connsiteX1447" fmla="*/ 1658938 w 1674813"/>
                <a:gd name="connsiteY1447" fmla="*/ 371726 h 2003425"/>
                <a:gd name="connsiteX1448" fmla="*/ 1610123 w 1674813"/>
                <a:gd name="connsiteY1448" fmla="*/ 371726 h 2003425"/>
                <a:gd name="connsiteX1449" fmla="*/ 1642666 w 1674813"/>
                <a:gd name="connsiteY1449" fmla="*/ 387851 h 2003425"/>
                <a:gd name="connsiteX1450" fmla="*/ 1577579 w 1674813"/>
                <a:gd name="connsiteY1450" fmla="*/ 387851 h 2003425"/>
                <a:gd name="connsiteX1451" fmla="*/ 1610123 w 1674813"/>
                <a:gd name="connsiteY1451" fmla="*/ 403977 h 2003425"/>
                <a:gd name="connsiteX1452" fmla="*/ 1545035 w 1674813"/>
                <a:gd name="connsiteY1452" fmla="*/ 387851 h 2003425"/>
                <a:gd name="connsiteX1453" fmla="*/ 1577579 w 1674813"/>
                <a:gd name="connsiteY1453" fmla="*/ 420103 h 2003425"/>
                <a:gd name="connsiteX1454" fmla="*/ 1512491 w 1674813"/>
                <a:gd name="connsiteY1454" fmla="*/ 387851 h 2003425"/>
                <a:gd name="connsiteX1455" fmla="*/ 1545035 w 1674813"/>
                <a:gd name="connsiteY1455" fmla="*/ 452354 h 2003425"/>
                <a:gd name="connsiteX1456" fmla="*/ 1479948 w 1674813"/>
                <a:gd name="connsiteY1456" fmla="*/ 387851 h 2003425"/>
                <a:gd name="connsiteX1457" fmla="*/ 1512491 w 1674813"/>
                <a:gd name="connsiteY1457" fmla="*/ 468480 h 2003425"/>
                <a:gd name="connsiteX1458" fmla="*/ 1431132 w 1674813"/>
                <a:gd name="connsiteY1458" fmla="*/ 403977 h 2003425"/>
                <a:gd name="connsiteX1459" fmla="*/ 1463676 w 1674813"/>
                <a:gd name="connsiteY1459" fmla="*/ 484606 h 2003425"/>
                <a:gd name="connsiteX1460" fmla="*/ 1398588 w 1674813"/>
                <a:gd name="connsiteY1460" fmla="*/ 420103 h 2003425"/>
                <a:gd name="connsiteX1461" fmla="*/ 1447404 w 1674813"/>
                <a:gd name="connsiteY1461" fmla="*/ 500731 h 2003425"/>
                <a:gd name="connsiteX1462" fmla="*/ 1349773 w 1674813"/>
                <a:gd name="connsiteY1462" fmla="*/ 420103 h 2003425"/>
                <a:gd name="connsiteX1463" fmla="*/ 1398588 w 1674813"/>
                <a:gd name="connsiteY1463" fmla="*/ 516857 h 2003425"/>
                <a:gd name="connsiteX1464" fmla="*/ 1300957 w 1674813"/>
                <a:gd name="connsiteY1464" fmla="*/ 436229 h 2003425"/>
                <a:gd name="connsiteX1465" fmla="*/ 1406978 w 1674813"/>
                <a:gd name="connsiteY1465" fmla="*/ 396418 h 2003425"/>
                <a:gd name="connsiteX1466" fmla="*/ 1453957 w 1674813"/>
                <a:gd name="connsiteY1466" fmla="*/ 384252 h 2003425"/>
                <a:gd name="connsiteX1467" fmla="*/ 1431529 w 1674813"/>
                <a:gd name="connsiteY1467" fmla="*/ 387826 h 2003425"/>
                <a:gd name="connsiteX1468" fmla="*/ 1342033 w 1674813"/>
                <a:gd name="connsiteY1468" fmla="*/ 414010 h 2003425"/>
                <a:gd name="connsiteX1469" fmla="*/ 1263949 w 1674813"/>
                <a:gd name="connsiteY1469" fmla="*/ 447400 h 2003425"/>
                <a:gd name="connsiteX1470" fmla="*/ 1267679 w 1674813"/>
                <a:gd name="connsiteY1470" fmla="*/ 451113 h 2003425"/>
                <a:gd name="connsiteX1471" fmla="*/ 1300957 w 1674813"/>
                <a:gd name="connsiteY1471" fmla="*/ 436229 h 2003425"/>
                <a:gd name="connsiteX1472" fmla="*/ 1366044 w 1674813"/>
                <a:gd name="connsiteY1472" fmla="*/ 532983 h 2003425"/>
                <a:gd name="connsiteX1473" fmla="*/ 1268413 w 1674813"/>
                <a:gd name="connsiteY1473" fmla="*/ 468480 h 2003425"/>
                <a:gd name="connsiteX1474" fmla="*/ 1333501 w 1674813"/>
                <a:gd name="connsiteY1474" fmla="*/ 549108 h 2003425"/>
                <a:gd name="connsiteX1475" fmla="*/ 1235869 w 1674813"/>
                <a:gd name="connsiteY1475" fmla="*/ 468480 h 2003425"/>
                <a:gd name="connsiteX1476" fmla="*/ 1284685 w 1674813"/>
                <a:gd name="connsiteY1476" fmla="*/ 549108 h 2003425"/>
                <a:gd name="connsiteX1477" fmla="*/ 1219598 w 1674813"/>
                <a:gd name="connsiteY1477" fmla="*/ 500731 h 2003425"/>
                <a:gd name="connsiteX1478" fmla="*/ 1252141 w 1674813"/>
                <a:gd name="connsiteY1478" fmla="*/ 565234 h 2003425"/>
                <a:gd name="connsiteX1479" fmla="*/ 1170782 w 1674813"/>
                <a:gd name="connsiteY1479" fmla="*/ 516857 h 2003425"/>
                <a:gd name="connsiteX1480" fmla="*/ 1219598 w 1674813"/>
                <a:gd name="connsiteY1480" fmla="*/ 581360 h 2003425"/>
                <a:gd name="connsiteX1481" fmla="*/ 1154510 w 1674813"/>
                <a:gd name="connsiteY1481" fmla="*/ 532983 h 2003425"/>
                <a:gd name="connsiteX1482" fmla="*/ 1187054 w 1674813"/>
                <a:gd name="connsiteY1482" fmla="*/ 581360 h 2003425"/>
                <a:gd name="connsiteX1483" fmla="*/ 1138238 w 1674813"/>
                <a:gd name="connsiteY1483" fmla="*/ 549108 h 2003425"/>
                <a:gd name="connsiteX1484" fmla="*/ 1154510 w 1674813"/>
                <a:gd name="connsiteY1484" fmla="*/ 597485 h 2003425"/>
                <a:gd name="connsiteX1485" fmla="*/ 1105694 w 1674813"/>
                <a:gd name="connsiteY1485" fmla="*/ 565234 h 2003425"/>
                <a:gd name="connsiteX1486" fmla="*/ 1121966 w 1674813"/>
                <a:gd name="connsiteY1486" fmla="*/ 613611 h 2003425"/>
                <a:gd name="connsiteX1487" fmla="*/ 1073151 w 1674813"/>
                <a:gd name="connsiteY1487" fmla="*/ 597485 h 2003425"/>
                <a:gd name="connsiteX1488" fmla="*/ 1105694 w 1674813"/>
                <a:gd name="connsiteY1488" fmla="*/ 613611 h 2003425"/>
                <a:gd name="connsiteX1489" fmla="*/ 1078236 w 1674813"/>
                <a:gd name="connsiteY1489" fmla="*/ 620414 h 2003425"/>
                <a:gd name="connsiteX1490" fmla="*/ 1040906 w 1674813"/>
                <a:gd name="connsiteY1490" fmla="*/ 629663 h 2003425"/>
                <a:gd name="connsiteX1491" fmla="*/ 1040794 w 1674813"/>
                <a:gd name="connsiteY1491" fmla="*/ 629737 h 2003425"/>
                <a:gd name="connsiteX1492" fmla="*/ 1044675 w 1674813"/>
                <a:gd name="connsiteY1492" fmla="*/ 629737 h 2003425"/>
                <a:gd name="connsiteX1493" fmla="*/ 1073151 w 1674813"/>
                <a:gd name="connsiteY1493" fmla="*/ 629737 h 2003425"/>
                <a:gd name="connsiteX1494" fmla="*/ 1062981 w 1674813"/>
                <a:gd name="connsiteY1494" fmla="*/ 634776 h 2003425"/>
                <a:gd name="connsiteX1495" fmla="*/ 1049986 w 1674813"/>
                <a:gd name="connsiteY1495" fmla="*/ 641215 h 2003425"/>
                <a:gd name="connsiteX1496" fmla="*/ 1079650 w 1674813"/>
                <a:gd name="connsiteY1496" fmla="*/ 632644 h 2003425"/>
                <a:gd name="connsiteX1497" fmla="*/ 1088681 w 1674813"/>
                <a:gd name="connsiteY1497" fmla="*/ 630670 h 2003425"/>
                <a:gd name="connsiteX1498" fmla="*/ 1089474 w 1674813"/>
                <a:gd name="connsiteY1498" fmla="*/ 630437 h 2003425"/>
                <a:gd name="connsiteX1499" fmla="*/ 1096577 w 1674813"/>
                <a:gd name="connsiteY1499" fmla="*/ 628943 h 2003425"/>
                <a:gd name="connsiteX1500" fmla="*/ 1124874 w 1674813"/>
                <a:gd name="connsiteY1500" fmla="*/ 622755 h 2003425"/>
                <a:gd name="connsiteX1501" fmla="*/ 1128308 w 1674813"/>
                <a:gd name="connsiteY1501" fmla="*/ 622270 h 2003425"/>
                <a:gd name="connsiteX1502" fmla="*/ 1132468 w 1674813"/>
                <a:gd name="connsiteY1502" fmla="*/ 621395 h 2003425"/>
                <a:gd name="connsiteX1503" fmla="*/ 1135724 w 1674813"/>
                <a:gd name="connsiteY1503" fmla="*/ 621222 h 2003425"/>
                <a:gd name="connsiteX1504" fmla="*/ 1177535 w 1674813"/>
                <a:gd name="connsiteY1504" fmla="*/ 615315 h 2003425"/>
                <a:gd name="connsiteX1505" fmla="*/ 1301354 w 1674813"/>
                <a:gd name="connsiteY1505" fmla="*/ 614562 h 2003425"/>
                <a:gd name="connsiteX1506" fmla="*/ 1555348 w 1674813"/>
                <a:gd name="connsiteY1506" fmla="*/ 675591 h 2003425"/>
                <a:gd name="connsiteX1507" fmla="*/ 1625176 w 1674813"/>
                <a:gd name="connsiteY1507" fmla="*/ 716577 h 2003425"/>
                <a:gd name="connsiteX1508" fmla="*/ 1643063 w 1674813"/>
                <a:gd name="connsiteY1508" fmla="*/ 726878 h 2003425"/>
                <a:gd name="connsiteX1509" fmla="*/ 1643063 w 1674813"/>
                <a:gd name="connsiteY1509" fmla="*/ 727076 h 2003425"/>
                <a:gd name="connsiteX1510" fmla="*/ 1643063 w 1674813"/>
                <a:gd name="connsiteY1510" fmla="*/ 728887 h 2003425"/>
                <a:gd name="connsiteX1511" fmla="*/ 1643063 w 1674813"/>
                <a:gd name="connsiteY1511" fmla="*/ 742951 h 2003425"/>
                <a:gd name="connsiteX1512" fmla="*/ 1610499 w 1674813"/>
                <a:gd name="connsiteY1512" fmla="*/ 710804 h 2003425"/>
                <a:gd name="connsiteX1513" fmla="*/ 1626781 w 1674813"/>
                <a:gd name="connsiteY1513" fmla="*/ 742951 h 2003425"/>
                <a:gd name="connsiteX1514" fmla="*/ 1577935 w 1674813"/>
                <a:gd name="connsiteY1514" fmla="*/ 710804 h 2003425"/>
                <a:gd name="connsiteX1515" fmla="*/ 1577935 w 1674813"/>
                <a:gd name="connsiteY1515" fmla="*/ 742951 h 2003425"/>
                <a:gd name="connsiteX1516" fmla="*/ 1561653 w 1674813"/>
                <a:gd name="connsiteY1516" fmla="*/ 710804 h 2003425"/>
                <a:gd name="connsiteX1517" fmla="*/ 1561653 w 1674813"/>
                <a:gd name="connsiteY1517" fmla="*/ 742951 h 2003425"/>
                <a:gd name="connsiteX1518" fmla="*/ 1529089 w 1674813"/>
                <a:gd name="connsiteY1518" fmla="*/ 694731 h 2003425"/>
                <a:gd name="connsiteX1519" fmla="*/ 1512807 w 1674813"/>
                <a:gd name="connsiteY1519" fmla="*/ 742951 h 2003425"/>
                <a:gd name="connsiteX1520" fmla="*/ 1496525 w 1674813"/>
                <a:gd name="connsiteY1520" fmla="*/ 678657 h 2003425"/>
                <a:gd name="connsiteX1521" fmla="*/ 1480243 w 1674813"/>
                <a:gd name="connsiteY1521" fmla="*/ 742951 h 2003425"/>
                <a:gd name="connsiteX1522" fmla="*/ 1466505 w 1674813"/>
                <a:gd name="connsiteY1522" fmla="*/ 675141 h 2003425"/>
                <a:gd name="connsiteX1523" fmla="*/ 1463996 w 1674813"/>
                <a:gd name="connsiteY1523" fmla="*/ 662760 h 2003425"/>
                <a:gd name="connsiteX1524" fmla="*/ 1463929 w 1674813"/>
                <a:gd name="connsiteY1524" fmla="*/ 662740 h 2003425"/>
                <a:gd name="connsiteX1525" fmla="*/ 1463706 w 1674813"/>
                <a:gd name="connsiteY1525" fmla="*/ 663839 h 2003425"/>
                <a:gd name="connsiteX1526" fmla="*/ 1447679 w 1674813"/>
                <a:gd name="connsiteY1526" fmla="*/ 742951 h 2003425"/>
                <a:gd name="connsiteX1527" fmla="*/ 1431397 w 1674813"/>
                <a:gd name="connsiteY1527" fmla="*/ 662584 h 2003425"/>
                <a:gd name="connsiteX1528" fmla="*/ 1415115 w 1674813"/>
                <a:gd name="connsiteY1528" fmla="*/ 742951 h 2003425"/>
                <a:gd name="connsiteX1529" fmla="*/ 1382550 w 1674813"/>
                <a:gd name="connsiteY1529" fmla="*/ 646510 h 2003425"/>
                <a:gd name="connsiteX1530" fmla="*/ 1382550 w 1674813"/>
                <a:gd name="connsiteY1530" fmla="*/ 726878 h 2003425"/>
                <a:gd name="connsiteX1531" fmla="*/ 1355074 w 1674813"/>
                <a:gd name="connsiteY1531" fmla="*/ 645506 h 2003425"/>
                <a:gd name="connsiteX1532" fmla="*/ 1352018 w 1674813"/>
                <a:gd name="connsiteY1532" fmla="*/ 636455 h 2003425"/>
                <a:gd name="connsiteX1533" fmla="*/ 1349986 w 1674813"/>
                <a:gd name="connsiteY1533" fmla="*/ 636221 h 2003425"/>
                <a:gd name="connsiteX1534" fmla="*/ 1349986 w 1674813"/>
                <a:gd name="connsiteY1534" fmla="*/ 642492 h 2003425"/>
                <a:gd name="connsiteX1535" fmla="*/ 1349986 w 1674813"/>
                <a:gd name="connsiteY1535" fmla="*/ 726878 h 2003425"/>
                <a:gd name="connsiteX1536" fmla="*/ 1303239 w 1674813"/>
                <a:gd name="connsiteY1536" fmla="*/ 634581 h 2003425"/>
                <a:gd name="connsiteX1537" fmla="*/ 1301236 w 1674813"/>
                <a:gd name="connsiteY1537" fmla="*/ 630625 h 2003425"/>
                <a:gd name="connsiteX1538" fmla="*/ 1301140 w 1674813"/>
                <a:gd name="connsiteY1538" fmla="*/ 630617 h 2003425"/>
                <a:gd name="connsiteX1539" fmla="*/ 1301140 w 1674813"/>
                <a:gd name="connsiteY1539" fmla="*/ 631692 h 2003425"/>
                <a:gd name="connsiteX1540" fmla="*/ 1301140 w 1674813"/>
                <a:gd name="connsiteY1540" fmla="*/ 710804 h 2003425"/>
                <a:gd name="connsiteX1541" fmla="*/ 1268576 w 1674813"/>
                <a:gd name="connsiteY1541" fmla="*/ 630437 h 2003425"/>
                <a:gd name="connsiteX1542" fmla="*/ 1268576 w 1674813"/>
                <a:gd name="connsiteY1542" fmla="*/ 664342 h 2003425"/>
                <a:gd name="connsiteX1543" fmla="*/ 1268576 w 1674813"/>
                <a:gd name="connsiteY1543" fmla="*/ 703103 h 2003425"/>
                <a:gd name="connsiteX1544" fmla="*/ 1333694 w 1674813"/>
                <a:gd name="connsiteY1544" fmla="*/ 727076 h 2003425"/>
                <a:gd name="connsiteX1545" fmla="*/ 1502415 w 1674813"/>
                <a:gd name="connsiteY1545" fmla="*/ 824231 h 2003425"/>
                <a:gd name="connsiteX1546" fmla="*/ 1565817 w 1674813"/>
                <a:gd name="connsiteY1546" fmla="*/ 873981 h 2003425"/>
                <a:gd name="connsiteX1547" fmla="*/ 1569109 w 1674813"/>
                <a:gd name="connsiteY1547" fmla="*/ 876338 h 2003425"/>
                <a:gd name="connsiteX1548" fmla="*/ 1570759 w 1674813"/>
                <a:gd name="connsiteY1548" fmla="*/ 877859 h 2003425"/>
                <a:gd name="connsiteX1549" fmla="*/ 1587537 w 1674813"/>
                <a:gd name="connsiteY1549" fmla="*/ 891025 h 2003425"/>
                <a:gd name="connsiteX1550" fmla="*/ 1600052 w 1674813"/>
                <a:gd name="connsiteY1550" fmla="*/ 904861 h 2003425"/>
                <a:gd name="connsiteX1551" fmla="*/ 1624502 w 1674813"/>
                <a:gd name="connsiteY1551" fmla="*/ 927398 h 2003425"/>
                <a:gd name="connsiteX1552" fmla="*/ 1658551 w 1674813"/>
                <a:gd name="connsiteY1552" fmla="*/ 969358 h 2003425"/>
                <a:gd name="connsiteX1553" fmla="*/ 1658751 w 1674813"/>
                <a:gd name="connsiteY1553" fmla="*/ 969757 h 2003425"/>
                <a:gd name="connsiteX1554" fmla="*/ 1658938 w 1674813"/>
                <a:gd name="connsiteY1554" fmla="*/ 969963 h 2003425"/>
                <a:gd name="connsiteX1555" fmla="*/ 1658779 w 1674813"/>
                <a:gd name="connsiteY1555" fmla="*/ 969811 h 2003425"/>
                <a:gd name="connsiteX1556" fmla="*/ 1660584 w 1674813"/>
                <a:gd name="connsiteY1556" fmla="*/ 973403 h 2003425"/>
                <a:gd name="connsiteX1557" fmla="*/ 1674813 w 1674813"/>
                <a:gd name="connsiteY1557" fmla="*/ 1001713 h 2003425"/>
                <a:gd name="connsiteX1558" fmla="*/ 1661092 w 1674813"/>
                <a:gd name="connsiteY1558" fmla="*/ 981239 h 2003425"/>
                <a:gd name="connsiteX1559" fmla="*/ 1644346 w 1674813"/>
                <a:gd name="connsiteY1559" fmla="*/ 956251 h 2003425"/>
                <a:gd name="connsiteX1560" fmla="*/ 1642289 w 1674813"/>
                <a:gd name="connsiteY1560" fmla="*/ 954423 h 2003425"/>
                <a:gd name="connsiteX1561" fmla="*/ 1642289 w 1674813"/>
                <a:gd name="connsiteY1561" fmla="*/ 959247 h 2003425"/>
                <a:gd name="connsiteX1562" fmla="*/ 1642289 w 1674813"/>
                <a:gd name="connsiteY1562" fmla="*/ 1001713 h 2003425"/>
                <a:gd name="connsiteX1563" fmla="*/ 1609764 w 1674813"/>
                <a:gd name="connsiteY1563" fmla="*/ 937004 h 2003425"/>
                <a:gd name="connsiteX1564" fmla="*/ 1609764 w 1674813"/>
                <a:gd name="connsiteY1564" fmla="*/ 985536 h 2003425"/>
                <a:gd name="connsiteX1565" fmla="*/ 1593502 w 1674813"/>
                <a:gd name="connsiteY1565" fmla="*/ 937004 h 2003425"/>
                <a:gd name="connsiteX1566" fmla="*/ 1577240 w 1674813"/>
                <a:gd name="connsiteY1566" fmla="*/ 969358 h 2003425"/>
                <a:gd name="connsiteX1567" fmla="*/ 1560978 w 1674813"/>
                <a:gd name="connsiteY1567" fmla="*/ 904649 h 2003425"/>
                <a:gd name="connsiteX1568" fmla="*/ 1528453 w 1674813"/>
                <a:gd name="connsiteY1568" fmla="*/ 953181 h 2003425"/>
                <a:gd name="connsiteX1569" fmla="*/ 1528453 w 1674813"/>
                <a:gd name="connsiteY1569" fmla="*/ 872294 h 2003425"/>
                <a:gd name="connsiteX1570" fmla="*/ 1495929 w 1674813"/>
                <a:gd name="connsiteY1570" fmla="*/ 937004 h 2003425"/>
                <a:gd name="connsiteX1571" fmla="*/ 1495929 w 1674813"/>
                <a:gd name="connsiteY1571" fmla="*/ 856117 h 2003425"/>
                <a:gd name="connsiteX1572" fmla="*/ 1463405 w 1674813"/>
                <a:gd name="connsiteY1572" fmla="*/ 920826 h 2003425"/>
                <a:gd name="connsiteX1573" fmla="*/ 1463405 w 1674813"/>
                <a:gd name="connsiteY1573" fmla="*/ 823762 h 2003425"/>
                <a:gd name="connsiteX1574" fmla="*/ 1430880 w 1674813"/>
                <a:gd name="connsiteY1574" fmla="*/ 904649 h 2003425"/>
                <a:gd name="connsiteX1575" fmla="*/ 1414618 w 1674813"/>
                <a:gd name="connsiteY1575" fmla="*/ 791407 h 2003425"/>
                <a:gd name="connsiteX1576" fmla="*/ 1398356 w 1674813"/>
                <a:gd name="connsiteY1576" fmla="*/ 888471 h 2003425"/>
                <a:gd name="connsiteX1577" fmla="*/ 1382094 w 1674813"/>
                <a:gd name="connsiteY1577" fmla="*/ 775230 h 2003425"/>
                <a:gd name="connsiteX1578" fmla="*/ 1349569 w 1674813"/>
                <a:gd name="connsiteY1578" fmla="*/ 872294 h 2003425"/>
                <a:gd name="connsiteX1579" fmla="*/ 1349569 w 1674813"/>
                <a:gd name="connsiteY1579" fmla="*/ 759052 h 2003425"/>
                <a:gd name="connsiteX1580" fmla="*/ 1317045 w 1674813"/>
                <a:gd name="connsiteY1580" fmla="*/ 839939 h 2003425"/>
                <a:gd name="connsiteX1581" fmla="*/ 1300783 w 1674813"/>
                <a:gd name="connsiteY1581" fmla="*/ 742875 h 2003425"/>
                <a:gd name="connsiteX1582" fmla="*/ 1268258 w 1674813"/>
                <a:gd name="connsiteY1582" fmla="*/ 823762 h 2003425"/>
                <a:gd name="connsiteX1583" fmla="*/ 1268258 w 1674813"/>
                <a:gd name="connsiteY1583" fmla="*/ 726698 h 2003425"/>
                <a:gd name="connsiteX1584" fmla="*/ 1251996 w 1674813"/>
                <a:gd name="connsiteY1584" fmla="*/ 791407 h 2003425"/>
                <a:gd name="connsiteX1585" fmla="*/ 1235734 w 1674813"/>
                <a:gd name="connsiteY1585" fmla="*/ 710520 h 2003425"/>
                <a:gd name="connsiteX1586" fmla="*/ 1219472 w 1674813"/>
                <a:gd name="connsiteY1586" fmla="*/ 775230 h 2003425"/>
                <a:gd name="connsiteX1587" fmla="*/ 1203210 w 1674813"/>
                <a:gd name="connsiteY1587" fmla="*/ 710520 h 2003425"/>
                <a:gd name="connsiteX1588" fmla="*/ 1186947 w 1674813"/>
                <a:gd name="connsiteY1588" fmla="*/ 759052 h 2003425"/>
                <a:gd name="connsiteX1589" fmla="*/ 1170685 w 1674813"/>
                <a:gd name="connsiteY1589" fmla="*/ 710520 h 2003425"/>
                <a:gd name="connsiteX1590" fmla="*/ 1154423 w 1674813"/>
                <a:gd name="connsiteY1590" fmla="*/ 742875 h 2003425"/>
                <a:gd name="connsiteX1591" fmla="*/ 1138161 w 1674813"/>
                <a:gd name="connsiteY1591" fmla="*/ 694343 h 2003425"/>
                <a:gd name="connsiteX1592" fmla="*/ 1138161 w 1674813"/>
                <a:gd name="connsiteY1592" fmla="*/ 726698 h 2003425"/>
                <a:gd name="connsiteX1593" fmla="*/ 1124439 w 1674813"/>
                <a:gd name="connsiteY1593" fmla="*/ 706223 h 2003425"/>
                <a:gd name="connsiteX1594" fmla="*/ 1105750 w 1674813"/>
                <a:gd name="connsiteY1594" fmla="*/ 678336 h 2003425"/>
                <a:gd name="connsiteX1595" fmla="*/ 1105636 w 1674813"/>
                <a:gd name="connsiteY1595" fmla="*/ 678321 h 2003425"/>
                <a:gd name="connsiteX1596" fmla="*/ 1105636 w 1674813"/>
                <a:gd name="connsiteY1596" fmla="*/ 678421 h 2003425"/>
                <a:gd name="connsiteX1597" fmla="*/ 1105756 w 1674813"/>
                <a:gd name="connsiteY1597" fmla="*/ 678657 h 2003425"/>
                <a:gd name="connsiteX1598" fmla="*/ 1105636 w 1674813"/>
                <a:gd name="connsiteY1598" fmla="*/ 678579 h 2003425"/>
                <a:gd name="connsiteX1599" fmla="*/ 1105636 w 1674813"/>
                <a:gd name="connsiteY1599" fmla="*/ 678924 h 2003425"/>
                <a:gd name="connsiteX1600" fmla="*/ 1105636 w 1674813"/>
                <a:gd name="connsiteY1600" fmla="*/ 726698 h 2003425"/>
                <a:gd name="connsiteX1601" fmla="*/ 1073112 w 1674813"/>
                <a:gd name="connsiteY1601" fmla="*/ 678166 h 2003425"/>
                <a:gd name="connsiteX1602" fmla="*/ 1073112 w 1674813"/>
                <a:gd name="connsiteY1602" fmla="*/ 678501 h 2003425"/>
                <a:gd name="connsiteX1603" fmla="*/ 1073191 w 1674813"/>
                <a:gd name="connsiteY1603" fmla="*/ 678657 h 2003425"/>
                <a:gd name="connsiteX1604" fmla="*/ 1073112 w 1674813"/>
                <a:gd name="connsiteY1604" fmla="*/ 678638 h 2003425"/>
                <a:gd name="connsiteX1605" fmla="*/ 1073112 w 1674813"/>
                <a:gd name="connsiteY1605" fmla="*/ 679872 h 2003425"/>
                <a:gd name="connsiteX1606" fmla="*/ 1073112 w 1674813"/>
                <a:gd name="connsiteY1606" fmla="*/ 691815 h 2003425"/>
                <a:gd name="connsiteX1607" fmla="*/ 1073112 w 1674813"/>
                <a:gd name="connsiteY1607" fmla="*/ 699186 h 2003425"/>
                <a:gd name="connsiteX1608" fmla="*/ 1091683 w 1674813"/>
                <a:gd name="connsiteY1608" fmla="*/ 714585 h 2003425"/>
                <a:gd name="connsiteX1609" fmla="*/ 1220171 w 1674813"/>
                <a:gd name="connsiteY1609" fmla="*/ 888560 h 2003425"/>
                <a:gd name="connsiteX1610" fmla="*/ 1271159 w 1674813"/>
                <a:gd name="connsiteY1610" fmla="*/ 1042305 h 2003425"/>
                <a:gd name="connsiteX1611" fmla="*/ 1279423 w 1674813"/>
                <a:gd name="connsiteY1611" fmla="*/ 1093638 h 2003425"/>
                <a:gd name="connsiteX1612" fmla="*/ 1285409 w 1674813"/>
                <a:gd name="connsiteY1612" fmla="*/ 1120892 h 2003425"/>
                <a:gd name="connsiteX1613" fmla="*/ 1291538 w 1674813"/>
                <a:gd name="connsiteY1613" fmla="*/ 1189420 h 2003425"/>
                <a:gd name="connsiteX1614" fmla="*/ 1285443 w 1674813"/>
                <a:gd name="connsiteY1614" fmla="*/ 1243994 h 2003425"/>
                <a:gd name="connsiteX1615" fmla="*/ 1285435 w 1674813"/>
                <a:gd name="connsiteY1615" fmla="*/ 1244601 h 2003425"/>
                <a:gd name="connsiteX1616" fmla="*/ 1285432 w 1674813"/>
                <a:gd name="connsiteY1616" fmla="*/ 1244093 h 2003425"/>
                <a:gd name="connsiteX1617" fmla="*/ 1285409 w 1674813"/>
                <a:gd name="connsiteY1617" fmla="*/ 1244292 h 2003425"/>
                <a:gd name="connsiteX1618" fmla="*/ 1285409 w 1674813"/>
                <a:gd name="connsiteY1618" fmla="*/ 1260476 h 2003425"/>
                <a:gd name="connsiteX1619" fmla="*/ 1269067 w 1674813"/>
                <a:gd name="connsiteY1619" fmla="*/ 1260476 h 2003425"/>
                <a:gd name="connsiteX1620" fmla="*/ 1275962 w 1674813"/>
                <a:gd name="connsiteY1620" fmla="*/ 1239994 h 2003425"/>
                <a:gd name="connsiteX1621" fmla="*/ 1284626 w 1674813"/>
                <a:gd name="connsiteY1621" fmla="*/ 1214251 h 2003425"/>
                <a:gd name="connsiteX1622" fmla="*/ 1284597 w 1674813"/>
                <a:gd name="connsiteY1622" fmla="*/ 1213534 h 2003425"/>
                <a:gd name="connsiteX1623" fmla="*/ 1283367 w 1674813"/>
                <a:gd name="connsiteY1623" fmla="*/ 1215971 h 2003425"/>
                <a:gd name="connsiteX1624" fmla="*/ 1269067 w 1674813"/>
                <a:gd name="connsiteY1624" fmla="*/ 1244292 h 2003425"/>
                <a:gd name="connsiteX1625" fmla="*/ 1269067 w 1674813"/>
                <a:gd name="connsiteY1625" fmla="*/ 1195741 h 2003425"/>
                <a:gd name="connsiteX1626" fmla="*/ 1252725 w 1674813"/>
                <a:gd name="connsiteY1626" fmla="*/ 1211925 h 2003425"/>
                <a:gd name="connsiteX1627" fmla="*/ 1269067 w 1674813"/>
                <a:gd name="connsiteY1627" fmla="*/ 1163374 h 2003425"/>
                <a:gd name="connsiteX1628" fmla="*/ 1236383 w 1674813"/>
                <a:gd name="connsiteY1628" fmla="*/ 1195741 h 2003425"/>
                <a:gd name="connsiteX1629" fmla="*/ 1269067 w 1674813"/>
                <a:gd name="connsiteY1629" fmla="*/ 1131007 h 2003425"/>
                <a:gd name="connsiteX1630" fmla="*/ 1220042 w 1674813"/>
                <a:gd name="connsiteY1630" fmla="*/ 1163374 h 2003425"/>
                <a:gd name="connsiteX1631" fmla="*/ 1269067 w 1674813"/>
                <a:gd name="connsiteY1631" fmla="*/ 1098639 h 2003425"/>
                <a:gd name="connsiteX1632" fmla="*/ 1187358 w 1674813"/>
                <a:gd name="connsiteY1632" fmla="*/ 1131007 h 2003425"/>
                <a:gd name="connsiteX1633" fmla="*/ 1252725 w 1674813"/>
                <a:gd name="connsiteY1633" fmla="*/ 1066272 h 2003425"/>
                <a:gd name="connsiteX1634" fmla="*/ 1171016 w 1674813"/>
                <a:gd name="connsiteY1634" fmla="*/ 1098639 h 2003425"/>
                <a:gd name="connsiteX1635" fmla="*/ 1236383 w 1674813"/>
                <a:gd name="connsiteY1635" fmla="*/ 1017721 h 2003425"/>
                <a:gd name="connsiteX1636" fmla="*/ 1171016 w 1674813"/>
                <a:gd name="connsiteY1636" fmla="*/ 1066272 h 2003425"/>
                <a:gd name="connsiteX1637" fmla="*/ 1236383 w 1674813"/>
                <a:gd name="connsiteY1637" fmla="*/ 985353 h 2003425"/>
                <a:gd name="connsiteX1638" fmla="*/ 1154674 w 1674813"/>
                <a:gd name="connsiteY1638" fmla="*/ 1033904 h 2003425"/>
                <a:gd name="connsiteX1639" fmla="*/ 1220042 w 1674813"/>
                <a:gd name="connsiteY1639" fmla="*/ 952986 h 2003425"/>
                <a:gd name="connsiteX1640" fmla="*/ 1138332 w 1674813"/>
                <a:gd name="connsiteY1640" fmla="*/ 1001537 h 2003425"/>
                <a:gd name="connsiteX1641" fmla="*/ 1203700 w 1674813"/>
                <a:gd name="connsiteY1641" fmla="*/ 920619 h 2003425"/>
                <a:gd name="connsiteX1642" fmla="*/ 1121990 w 1674813"/>
                <a:gd name="connsiteY1642" fmla="*/ 969170 h 2003425"/>
                <a:gd name="connsiteX1643" fmla="*/ 1187358 w 1674813"/>
                <a:gd name="connsiteY1643" fmla="*/ 888251 h 2003425"/>
                <a:gd name="connsiteX1644" fmla="*/ 1121990 w 1674813"/>
                <a:gd name="connsiteY1644" fmla="*/ 920619 h 2003425"/>
                <a:gd name="connsiteX1645" fmla="*/ 1171016 w 1674813"/>
                <a:gd name="connsiteY1645" fmla="*/ 855884 h 2003425"/>
                <a:gd name="connsiteX1646" fmla="*/ 1105648 w 1674813"/>
                <a:gd name="connsiteY1646" fmla="*/ 888251 h 2003425"/>
                <a:gd name="connsiteX1647" fmla="*/ 1154674 w 1674813"/>
                <a:gd name="connsiteY1647" fmla="*/ 823516 h 2003425"/>
                <a:gd name="connsiteX1648" fmla="*/ 1089306 w 1674813"/>
                <a:gd name="connsiteY1648" fmla="*/ 855884 h 2003425"/>
                <a:gd name="connsiteX1649" fmla="*/ 1138332 w 1674813"/>
                <a:gd name="connsiteY1649" fmla="*/ 807333 h 2003425"/>
                <a:gd name="connsiteX1650" fmla="*/ 1089306 w 1674813"/>
                <a:gd name="connsiteY1650" fmla="*/ 823516 h 2003425"/>
                <a:gd name="connsiteX1651" fmla="*/ 1121990 w 1674813"/>
                <a:gd name="connsiteY1651" fmla="*/ 791149 h 2003425"/>
                <a:gd name="connsiteX1652" fmla="*/ 1072964 w 1674813"/>
                <a:gd name="connsiteY1652" fmla="*/ 807333 h 2003425"/>
                <a:gd name="connsiteX1653" fmla="*/ 1105648 w 1674813"/>
                <a:gd name="connsiteY1653" fmla="*/ 758782 h 2003425"/>
                <a:gd name="connsiteX1654" fmla="*/ 1072964 w 1674813"/>
                <a:gd name="connsiteY1654" fmla="*/ 791149 h 2003425"/>
                <a:gd name="connsiteX1655" fmla="*/ 1072964 w 1674813"/>
                <a:gd name="connsiteY1655" fmla="*/ 726414 h 2003425"/>
                <a:gd name="connsiteX1656" fmla="*/ 1056622 w 1674813"/>
                <a:gd name="connsiteY1656" fmla="*/ 758782 h 2003425"/>
                <a:gd name="connsiteX1657" fmla="*/ 1056622 w 1674813"/>
                <a:gd name="connsiteY1657" fmla="*/ 710231 h 2003425"/>
                <a:gd name="connsiteX1658" fmla="*/ 1040280 w 1674813"/>
                <a:gd name="connsiteY1658" fmla="*/ 742598 h 2003425"/>
                <a:gd name="connsiteX1659" fmla="*/ 1035109 w 1674813"/>
                <a:gd name="connsiteY1659" fmla="*/ 722115 h 2003425"/>
                <a:gd name="connsiteX1660" fmla="*/ 1027019 w 1674813"/>
                <a:gd name="connsiteY1660" fmla="*/ 690065 h 2003425"/>
                <a:gd name="connsiteX1661" fmla="*/ 1008571 w 1674813"/>
                <a:gd name="connsiteY1661" fmla="*/ 678491 h 2003425"/>
                <a:gd name="connsiteX1662" fmla="*/ 1008530 w 1674813"/>
                <a:gd name="connsiteY1662" fmla="*/ 679775 h 2003425"/>
                <a:gd name="connsiteX1663" fmla="*/ 1004630 w 1674813"/>
                <a:gd name="connsiteY1663" fmla="*/ 800195 h 2003425"/>
                <a:gd name="connsiteX1664" fmla="*/ 1003186 w 1674813"/>
                <a:gd name="connsiteY1664" fmla="*/ 844781 h 2003425"/>
                <a:gd name="connsiteX1665" fmla="*/ 1013073 w 1674813"/>
                <a:gd name="connsiteY1665" fmla="*/ 848787 h 2003425"/>
                <a:gd name="connsiteX1666" fmla="*/ 1039483 w 1674813"/>
                <a:gd name="connsiteY1666" fmla="*/ 858080 h 2003425"/>
                <a:gd name="connsiteX1667" fmla="*/ 1072765 w 1674813"/>
                <a:gd name="connsiteY1667" fmla="*/ 872672 h 2003425"/>
                <a:gd name="connsiteX1668" fmla="*/ 1072947 w 1674813"/>
                <a:gd name="connsiteY1668" fmla="*/ 873032 h 2003425"/>
                <a:gd name="connsiteX1669" fmla="*/ 1073150 w 1674813"/>
                <a:gd name="connsiteY1669" fmla="*/ 873126 h 2003425"/>
                <a:gd name="connsiteX1670" fmla="*/ 1072954 w 1674813"/>
                <a:gd name="connsiteY1670" fmla="*/ 873047 h 2003425"/>
                <a:gd name="connsiteX1671" fmla="*/ 1074798 w 1674813"/>
                <a:gd name="connsiteY1671" fmla="*/ 876698 h 2003425"/>
                <a:gd name="connsiteX1672" fmla="*/ 1089025 w 1674813"/>
                <a:gd name="connsiteY1672" fmla="*/ 904876 h 2003425"/>
                <a:gd name="connsiteX1673" fmla="*/ 1072765 w 1674813"/>
                <a:gd name="connsiteY1673" fmla="*/ 904876 h 2003425"/>
                <a:gd name="connsiteX1674" fmla="*/ 1056506 w 1674813"/>
                <a:gd name="connsiteY1674" fmla="*/ 872672 h 2003425"/>
                <a:gd name="connsiteX1675" fmla="*/ 1056506 w 1674813"/>
                <a:gd name="connsiteY1675" fmla="*/ 904876 h 2003425"/>
                <a:gd name="connsiteX1676" fmla="*/ 1023986 w 1674813"/>
                <a:gd name="connsiteY1676" fmla="*/ 872672 h 2003425"/>
                <a:gd name="connsiteX1677" fmla="*/ 1023986 w 1674813"/>
                <a:gd name="connsiteY1677" fmla="*/ 904876 h 2003425"/>
                <a:gd name="connsiteX1678" fmla="*/ 1007726 w 1674813"/>
                <a:gd name="connsiteY1678" fmla="*/ 872672 h 2003425"/>
                <a:gd name="connsiteX1679" fmla="*/ 1007726 w 1674813"/>
                <a:gd name="connsiteY1679" fmla="*/ 904876 h 2003425"/>
                <a:gd name="connsiteX1680" fmla="*/ 1005186 w 1674813"/>
                <a:gd name="connsiteY1680" fmla="*/ 897328 h 2003425"/>
                <a:gd name="connsiteX1681" fmla="*/ 1001809 w 1674813"/>
                <a:gd name="connsiteY1681" fmla="*/ 887297 h 2003425"/>
                <a:gd name="connsiteX1682" fmla="*/ 1001746 w 1674813"/>
                <a:gd name="connsiteY1682" fmla="*/ 889253 h 2003425"/>
                <a:gd name="connsiteX1683" fmla="*/ 999888 w 1674813"/>
                <a:gd name="connsiteY1683" fmla="*/ 946627 h 2003425"/>
                <a:gd name="connsiteX1684" fmla="*/ 998470 w 1674813"/>
                <a:gd name="connsiteY1684" fmla="*/ 990417 h 2003425"/>
                <a:gd name="connsiteX1685" fmla="*/ 1032370 w 1674813"/>
                <a:gd name="connsiteY1685" fmla="*/ 1015964 h 2003425"/>
                <a:gd name="connsiteX1686" fmla="*/ 1042214 w 1674813"/>
                <a:gd name="connsiteY1686" fmla="*/ 1027556 h 2003425"/>
                <a:gd name="connsiteX1687" fmla="*/ 1066228 w 1674813"/>
                <a:gd name="connsiteY1687" fmla="*/ 1050120 h 2003425"/>
                <a:gd name="connsiteX1688" fmla="*/ 1090180 w 1674813"/>
                <a:gd name="connsiteY1688" fmla="*/ 1082147 h 2003425"/>
                <a:gd name="connsiteX1689" fmla="*/ 1106488 w 1674813"/>
                <a:gd name="connsiteY1689" fmla="*/ 1114426 h 2003425"/>
                <a:gd name="connsiteX1690" fmla="*/ 1092728 w 1674813"/>
                <a:gd name="connsiteY1690" fmla="*/ 1093999 h 2003425"/>
                <a:gd name="connsiteX1691" fmla="*/ 1077955 w 1674813"/>
                <a:gd name="connsiteY1691" fmla="*/ 1072068 h 2003425"/>
                <a:gd name="connsiteX1692" fmla="*/ 1073872 w 1674813"/>
                <a:gd name="connsiteY1692" fmla="*/ 1068289 h 2003425"/>
                <a:gd name="connsiteX1693" fmla="*/ 1073872 w 1674813"/>
                <a:gd name="connsiteY1693" fmla="*/ 1070042 h 2003425"/>
                <a:gd name="connsiteX1694" fmla="*/ 1073872 w 1674813"/>
                <a:gd name="connsiteY1694" fmla="*/ 1098287 h 2003425"/>
                <a:gd name="connsiteX1695" fmla="*/ 1057564 w 1674813"/>
                <a:gd name="connsiteY1695" fmla="*/ 1066007 h 2003425"/>
                <a:gd name="connsiteX1696" fmla="*/ 1041256 w 1674813"/>
                <a:gd name="connsiteY1696" fmla="*/ 1098287 h 2003425"/>
                <a:gd name="connsiteX1697" fmla="*/ 1041256 w 1674813"/>
                <a:gd name="connsiteY1697" fmla="*/ 1049868 h 2003425"/>
                <a:gd name="connsiteX1698" fmla="*/ 1024948 w 1674813"/>
                <a:gd name="connsiteY1698" fmla="*/ 1082147 h 2003425"/>
                <a:gd name="connsiteX1699" fmla="*/ 1008640 w 1674813"/>
                <a:gd name="connsiteY1699" fmla="*/ 1017588 h 2003425"/>
                <a:gd name="connsiteX1700" fmla="*/ 1001760 w 1674813"/>
                <a:gd name="connsiteY1700" fmla="*/ 1038015 h 2003425"/>
                <a:gd name="connsiteX1701" fmla="*/ 996414 w 1674813"/>
                <a:gd name="connsiteY1701" fmla="*/ 1053889 h 2003425"/>
                <a:gd name="connsiteX1702" fmla="*/ 995221 w 1674813"/>
                <a:gd name="connsiteY1702" fmla="*/ 1090734 h 2003425"/>
                <a:gd name="connsiteX1703" fmla="*/ 992364 w 1674813"/>
                <a:gd name="connsiteY1703" fmla="*/ 1178936 h 2003425"/>
                <a:gd name="connsiteX1704" fmla="*/ 992364 w 1674813"/>
                <a:gd name="connsiteY1704" fmla="*/ 1405227 h 2003425"/>
                <a:gd name="connsiteX1705" fmla="*/ 1035850 w 1674813"/>
                <a:gd name="connsiteY1705" fmla="*/ 1751735 h 2003425"/>
                <a:gd name="connsiteX1706" fmla="*/ 1044326 w 1674813"/>
                <a:gd name="connsiteY1706" fmla="*/ 1819281 h 2003425"/>
                <a:gd name="connsiteX1707" fmla="*/ 1112266 w 1674813"/>
                <a:gd name="connsiteY1707" fmla="*/ 1842407 h 2003425"/>
                <a:gd name="connsiteX1708" fmla="*/ 1317626 w 1674813"/>
                <a:gd name="connsiteY1708" fmla="*/ 2003425 h 2003425"/>
                <a:gd name="connsiteX1709" fmla="*/ 195263 w 1674813"/>
                <a:gd name="connsiteY1709" fmla="*/ 2003425 h 2003425"/>
                <a:gd name="connsiteX1710" fmla="*/ 464671 w 1674813"/>
                <a:gd name="connsiteY1710" fmla="*/ 1815361 h 2003425"/>
                <a:gd name="connsiteX1711" fmla="*/ 516010 w 1674813"/>
                <a:gd name="connsiteY1711" fmla="*/ 1803469 h 2003425"/>
                <a:gd name="connsiteX1712" fmla="*/ 512358 w 1674813"/>
                <a:gd name="connsiteY1712" fmla="*/ 1756275 h 2003425"/>
                <a:gd name="connsiteX1713" fmla="*/ 487760 w 1674813"/>
                <a:gd name="connsiteY1713" fmla="*/ 1438351 h 2003425"/>
                <a:gd name="connsiteX1714" fmla="*/ 487760 w 1674813"/>
                <a:gd name="connsiteY1714" fmla="*/ 1244223 h 2003425"/>
                <a:gd name="connsiteX1715" fmla="*/ 509561 w 1674813"/>
                <a:gd name="connsiteY1715" fmla="*/ 973283 h 2003425"/>
                <a:gd name="connsiteX1716" fmla="*/ 514154 w 1674813"/>
                <a:gd name="connsiteY1716" fmla="*/ 916215 h 2003425"/>
                <a:gd name="connsiteX1717" fmla="*/ 512168 w 1674813"/>
                <a:gd name="connsiteY1717" fmla="*/ 912935 h 2003425"/>
                <a:gd name="connsiteX1718" fmla="*/ 506339 w 1674813"/>
                <a:gd name="connsiteY1718" fmla="*/ 907133 h 2003425"/>
                <a:gd name="connsiteX1719" fmla="*/ 490798 w 1674813"/>
                <a:gd name="connsiteY1719" fmla="*/ 891664 h 2003425"/>
                <a:gd name="connsiteX1720" fmla="*/ 492954 w 1674813"/>
                <a:gd name="connsiteY1720" fmla="*/ 904488 h 2003425"/>
                <a:gd name="connsiteX1721" fmla="*/ 494431 w 1674813"/>
                <a:gd name="connsiteY1721" fmla="*/ 908898 h 2003425"/>
                <a:gd name="connsiteX1722" fmla="*/ 503805 w 1674813"/>
                <a:gd name="connsiteY1722" fmla="*/ 936890 h 2003425"/>
                <a:gd name="connsiteX1723" fmla="*/ 499751 w 1674813"/>
                <a:gd name="connsiteY1723" fmla="*/ 934873 h 2003425"/>
                <a:gd name="connsiteX1724" fmla="*/ 497908 w 1674813"/>
                <a:gd name="connsiteY1724" fmla="*/ 933955 h 2003425"/>
                <a:gd name="connsiteX1725" fmla="*/ 500574 w 1674813"/>
                <a:gd name="connsiteY1725" fmla="*/ 949814 h 2003425"/>
                <a:gd name="connsiteX1726" fmla="*/ 503805 w 1674813"/>
                <a:gd name="connsiteY1726" fmla="*/ 953030 h 2003425"/>
                <a:gd name="connsiteX1727" fmla="*/ 503045 w 1674813"/>
                <a:gd name="connsiteY1727" fmla="*/ 952778 h 2003425"/>
                <a:gd name="connsiteX1728" fmla="*/ 500956 w 1674813"/>
                <a:gd name="connsiteY1728" fmla="*/ 952085 h 2003425"/>
                <a:gd name="connsiteX1729" fmla="*/ 501277 w 1674813"/>
                <a:gd name="connsiteY1729" fmla="*/ 953993 h 2003425"/>
                <a:gd name="connsiteX1730" fmla="*/ 503823 w 1674813"/>
                <a:gd name="connsiteY1730" fmla="*/ 969135 h 2003425"/>
                <a:gd name="connsiteX1731" fmla="*/ 499750 w 1674813"/>
                <a:gd name="connsiteY1731" fmla="*/ 961059 h 2003425"/>
                <a:gd name="connsiteX1732" fmla="*/ 494071 w 1674813"/>
                <a:gd name="connsiteY1732" fmla="*/ 949800 h 2003425"/>
                <a:gd name="connsiteX1733" fmla="*/ 483283 w 1674813"/>
                <a:gd name="connsiteY1733" fmla="*/ 946221 h 2003425"/>
                <a:gd name="connsiteX1734" fmla="*/ 464109 w 1674813"/>
                <a:gd name="connsiteY1734" fmla="*/ 939860 h 2003425"/>
                <a:gd name="connsiteX1735" fmla="*/ 463112 w 1674813"/>
                <a:gd name="connsiteY1735" fmla="*/ 944806 h 2003425"/>
                <a:gd name="connsiteX1736" fmla="*/ 468841 w 1674813"/>
                <a:gd name="connsiteY1736" fmla="*/ 950508 h 2003425"/>
                <a:gd name="connsiteX1737" fmla="*/ 487590 w 1674813"/>
                <a:gd name="connsiteY1737" fmla="*/ 969170 h 2003425"/>
                <a:gd name="connsiteX1738" fmla="*/ 473908 w 1674813"/>
                <a:gd name="connsiteY1738" fmla="*/ 962361 h 2003425"/>
                <a:gd name="connsiteX1739" fmla="*/ 460878 w 1674813"/>
                <a:gd name="connsiteY1739" fmla="*/ 955876 h 2003425"/>
                <a:gd name="connsiteX1740" fmla="*/ 459995 w 1674813"/>
                <a:gd name="connsiteY1740" fmla="*/ 960250 h 2003425"/>
                <a:gd name="connsiteX1741" fmla="*/ 460227 w 1674813"/>
                <a:gd name="connsiteY1741" fmla="*/ 960595 h 2003425"/>
                <a:gd name="connsiteX1742" fmla="*/ 487590 w 1674813"/>
                <a:gd name="connsiteY1742" fmla="*/ 1001449 h 2003425"/>
                <a:gd name="connsiteX1743" fmla="*/ 467067 w 1674813"/>
                <a:gd name="connsiteY1743" fmla="*/ 987831 h 2003425"/>
                <a:gd name="connsiteX1744" fmla="*/ 455923 w 1674813"/>
                <a:gd name="connsiteY1744" fmla="*/ 980436 h 2003425"/>
                <a:gd name="connsiteX1745" fmla="*/ 454944 w 1674813"/>
                <a:gd name="connsiteY1745" fmla="*/ 985286 h 2003425"/>
                <a:gd name="connsiteX1746" fmla="*/ 452908 w 1674813"/>
                <a:gd name="connsiteY1746" fmla="*/ 979229 h 2003425"/>
                <a:gd name="connsiteX1747" fmla="*/ 452564 w 1674813"/>
                <a:gd name="connsiteY1747" fmla="*/ 978207 h 2003425"/>
                <a:gd name="connsiteX1748" fmla="*/ 438944 w 1674813"/>
                <a:gd name="connsiteY1748" fmla="*/ 969170 h 2003425"/>
                <a:gd name="connsiteX1749" fmla="*/ 471375 w 1674813"/>
                <a:gd name="connsiteY1749" fmla="*/ 1017588 h 2003425"/>
                <a:gd name="connsiteX1750" fmla="*/ 450852 w 1674813"/>
                <a:gd name="connsiteY1750" fmla="*/ 1003971 h 2003425"/>
                <a:gd name="connsiteX1751" fmla="*/ 431784 w 1674813"/>
                <a:gd name="connsiteY1751" fmla="*/ 991317 h 2003425"/>
                <a:gd name="connsiteX1752" fmla="*/ 431778 w 1674813"/>
                <a:gd name="connsiteY1752" fmla="*/ 991343 h 2003425"/>
                <a:gd name="connsiteX1753" fmla="*/ 429198 w 1674813"/>
                <a:gd name="connsiteY1753" fmla="*/ 994108 h 2003425"/>
                <a:gd name="connsiteX1754" fmla="*/ 430330 w 1674813"/>
                <a:gd name="connsiteY1754" fmla="*/ 995649 h 2003425"/>
                <a:gd name="connsiteX1755" fmla="*/ 471375 w 1674813"/>
                <a:gd name="connsiteY1755" fmla="*/ 1066007 h 2003425"/>
                <a:gd name="connsiteX1756" fmla="*/ 406514 w 1674813"/>
                <a:gd name="connsiteY1756" fmla="*/ 1017588 h 2003425"/>
                <a:gd name="connsiteX1757" fmla="*/ 455159 w 1674813"/>
                <a:gd name="connsiteY1757" fmla="*/ 1098286 h 2003425"/>
                <a:gd name="connsiteX1758" fmla="*/ 390299 w 1674813"/>
                <a:gd name="connsiteY1758" fmla="*/ 1033728 h 2003425"/>
                <a:gd name="connsiteX1759" fmla="*/ 455159 w 1674813"/>
                <a:gd name="connsiteY1759" fmla="*/ 1114426 h 2003425"/>
                <a:gd name="connsiteX1760" fmla="*/ 374083 w 1674813"/>
                <a:gd name="connsiteY1760" fmla="*/ 1066007 h 2003425"/>
                <a:gd name="connsiteX1761" fmla="*/ 438944 w 1674813"/>
                <a:gd name="connsiteY1761" fmla="*/ 1146705 h 2003425"/>
                <a:gd name="connsiteX1762" fmla="*/ 374083 w 1674813"/>
                <a:gd name="connsiteY1762" fmla="*/ 1098286 h 2003425"/>
                <a:gd name="connsiteX1763" fmla="*/ 422729 w 1674813"/>
                <a:gd name="connsiteY1763" fmla="*/ 1162845 h 2003425"/>
                <a:gd name="connsiteX1764" fmla="*/ 374083 w 1674813"/>
                <a:gd name="connsiteY1764" fmla="*/ 1130566 h 2003425"/>
                <a:gd name="connsiteX1765" fmla="*/ 422729 w 1674813"/>
                <a:gd name="connsiteY1765" fmla="*/ 1195124 h 2003425"/>
                <a:gd name="connsiteX1766" fmla="*/ 357868 w 1674813"/>
                <a:gd name="connsiteY1766" fmla="*/ 1162845 h 2003425"/>
                <a:gd name="connsiteX1767" fmla="*/ 406514 w 1674813"/>
                <a:gd name="connsiteY1767" fmla="*/ 1211264 h 2003425"/>
                <a:gd name="connsiteX1768" fmla="*/ 357868 w 1674813"/>
                <a:gd name="connsiteY1768" fmla="*/ 1195124 h 2003425"/>
                <a:gd name="connsiteX1769" fmla="*/ 390299 w 1674813"/>
                <a:gd name="connsiteY1769" fmla="*/ 1243543 h 2003425"/>
                <a:gd name="connsiteX1770" fmla="*/ 357868 w 1674813"/>
                <a:gd name="connsiteY1770" fmla="*/ 1227403 h 2003425"/>
                <a:gd name="connsiteX1771" fmla="*/ 374083 w 1674813"/>
                <a:gd name="connsiteY1771" fmla="*/ 1259682 h 2003425"/>
                <a:gd name="connsiteX1772" fmla="*/ 357868 w 1674813"/>
                <a:gd name="connsiteY1772" fmla="*/ 1243543 h 2003425"/>
                <a:gd name="connsiteX1773" fmla="*/ 357868 w 1674813"/>
                <a:gd name="connsiteY1773" fmla="*/ 1291962 h 2003425"/>
                <a:gd name="connsiteX1774" fmla="*/ 351027 w 1674813"/>
                <a:gd name="connsiteY1774" fmla="*/ 1278344 h 2003425"/>
                <a:gd name="connsiteX1775" fmla="*/ 342132 w 1674813"/>
                <a:gd name="connsiteY1775" fmla="*/ 1260636 h 2003425"/>
                <a:gd name="connsiteX1776" fmla="*/ 342109 w 1674813"/>
                <a:gd name="connsiteY1776" fmla="*/ 1261044 h 2003425"/>
                <a:gd name="connsiteX1777" fmla="*/ 343680 w 1674813"/>
                <a:gd name="connsiteY1777" fmla="*/ 1265735 h 2003425"/>
                <a:gd name="connsiteX1778" fmla="*/ 357868 w 1674813"/>
                <a:gd name="connsiteY1778" fmla="*/ 1308101 h 2003425"/>
                <a:gd name="connsiteX1779" fmla="*/ 341653 w 1674813"/>
                <a:gd name="connsiteY1779" fmla="*/ 1308101 h 2003425"/>
                <a:gd name="connsiteX1780" fmla="*/ 341653 w 1674813"/>
                <a:gd name="connsiteY1780" fmla="*/ 1275822 h 2003425"/>
                <a:gd name="connsiteX1781" fmla="*/ 341643 w 1674813"/>
                <a:gd name="connsiteY1781" fmla="*/ 1275768 h 2003425"/>
                <a:gd name="connsiteX1782" fmla="*/ 341630 w 1674813"/>
                <a:gd name="connsiteY1782" fmla="*/ 1276351 h 2003425"/>
                <a:gd name="connsiteX1783" fmla="*/ 341589 w 1674813"/>
                <a:gd name="connsiteY1783" fmla="*/ 1275464 h 2003425"/>
                <a:gd name="connsiteX1784" fmla="*/ 335319 w 1674813"/>
                <a:gd name="connsiteY1784" fmla="*/ 1240264 h 2003425"/>
                <a:gd name="connsiteX1785" fmla="*/ 338219 w 1674813"/>
                <a:gd name="connsiteY1785" fmla="*/ 1203083 h 2003425"/>
                <a:gd name="connsiteX1786" fmla="*/ 337835 w 1674813"/>
                <a:gd name="connsiteY1786" fmla="*/ 1194851 h 2003425"/>
                <a:gd name="connsiteX1787" fmla="*/ 366678 w 1674813"/>
                <a:gd name="connsiteY1787" fmla="*/ 1056072 h 2003425"/>
                <a:gd name="connsiteX1788" fmla="*/ 370669 w 1674813"/>
                <a:gd name="connsiteY1788" fmla="*/ 1046871 h 2003425"/>
                <a:gd name="connsiteX1789" fmla="*/ 374083 w 1674813"/>
                <a:gd name="connsiteY1789" fmla="*/ 1033728 h 2003425"/>
                <a:gd name="connsiteX1790" fmla="*/ 387919 w 1674813"/>
                <a:gd name="connsiteY1790" fmla="*/ 1007100 h 2003425"/>
                <a:gd name="connsiteX1791" fmla="*/ 390208 w 1674813"/>
                <a:gd name="connsiteY1791" fmla="*/ 1001823 h 2003425"/>
                <a:gd name="connsiteX1792" fmla="*/ 389315 w 1674813"/>
                <a:gd name="connsiteY1792" fmla="*/ 1004413 h 2003425"/>
                <a:gd name="connsiteX1793" fmla="*/ 391632 w 1674813"/>
                <a:gd name="connsiteY1793" fmla="*/ 999954 h 2003425"/>
                <a:gd name="connsiteX1794" fmla="*/ 390208 w 1674813"/>
                <a:gd name="connsiteY1794" fmla="*/ 1001823 h 2003425"/>
                <a:gd name="connsiteX1795" fmla="*/ 392989 w 1674813"/>
                <a:gd name="connsiteY1795" fmla="*/ 997343 h 2003425"/>
                <a:gd name="connsiteX1796" fmla="*/ 394558 w 1674813"/>
                <a:gd name="connsiteY1796" fmla="*/ 994322 h 2003425"/>
                <a:gd name="connsiteX1797" fmla="*/ 389773 w 1674813"/>
                <a:gd name="connsiteY1797" fmla="*/ 1001437 h 2003425"/>
                <a:gd name="connsiteX1798" fmla="*/ 389773 w 1674813"/>
                <a:gd name="connsiteY1798" fmla="*/ 969135 h 2003425"/>
                <a:gd name="connsiteX1799" fmla="*/ 373481 w 1674813"/>
                <a:gd name="connsiteY1799" fmla="*/ 1017588 h 2003425"/>
                <a:gd name="connsiteX1800" fmla="*/ 357188 w 1674813"/>
                <a:gd name="connsiteY1800" fmla="*/ 1017588 h 2003425"/>
                <a:gd name="connsiteX1801" fmla="*/ 364061 w 1674813"/>
                <a:gd name="connsiteY1801" fmla="*/ 1003961 h 2003425"/>
                <a:gd name="connsiteX1802" fmla="*/ 373412 w 1674813"/>
                <a:gd name="connsiteY1802" fmla="*/ 985423 h 2003425"/>
                <a:gd name="connsiteX1803" fmla="*/ 373063 w 1674813"/>
                <a:gd name="connsiteY1803" fmla="*/ 985838 h 2003425"/>
                <a:gd name="connsiteX1804" fmla="*/ 373505 w 1674813"/>
                <a:gd name="connsiteY1804" fmla="*/ 985251 h 2003425"/>
                <a:gd name="connsiteX1805" fmla="*/ 404794 w 1674813"/>
                <a:gd name="connsiteY1805" fmla="*/ 940871 h 2003425"/>
                <a:gd name="connsiteX1806" fmla="*/ 423746 w 1674813"/>
                <a:gd name="connsiteY1806" fmla="*/ 918603 h 2003425"/>
                <a:gd name="connsiteX1807" fmla="*/ 439507 w 1674813"/>
                <a:gd name="connsiteY1807" fmla="*/ 897696 h 2003425"/>
                <a:gd name="connsiteX1808" fmla="*/ 450885 w 1674813"/>
                <a:gd name="connsiteY1808" fmla="*/ 886718 h 2003425"/>
                <a:gd name="connsiteX1809" fmla="*/ 452908 w 1674813"/>
                <a:gd name="connsiteY1809" fmla="*/ 884342 h 2003425"/>
                <a:gd name="connsiteX1810" fmla="*/ 453577 w 1674813"/>
                <a:gd name="connsiteY1810" fmla="*/ 883739 h 2003425"/>
                <a:gd name="connsiteX1811" fmla="*/ 448281 w 1674813"/>
                <a:gd name="connsiteY1811" fmla="*/ 868007 h 2003425"/>
                <a:gd name="connsiteX1812" fmla="*/ 439108 w 1674813"/>
                <a:gd name="connsiteY1812" fmla="*/ 840755 h 2003425"/>
                <a:gd name="connsiteX1813" fmla="*/ 439016 w 1674813"/>
                <a:gd name="connsiteY1813" fmla="*/ 840847 h 2003425"/>
                <a:gd name="connsiteX1814" fmla="*/ 439016 w 1674813"/>
                <a:gd name="connsiteY1814" fmla="*/ 840482 h 2003425"/>
                <a:gd name="connsiteX1815" fmla="*/ 438867 w 1674813"/>
                <a:gd name="connsiteY1815" fmla="*/ 840039 h 2003425"/>
                <a:gd name="connsiteX1816" fmla="*/ 422582 w 1674813"/>
                <a:gd name="connsiteY1816" fmla="*/ 888416 h 2003425"/>
                <a:gd name="connsiteX1817" fmla="*/ 406297 w 1674813"/>
                <a:gd name="connsiteY1817" fmla="*/ 856164 h 2003425"/>
                <a:gd name="connsiteX1818" fmla="*/ 406297 w 1674813"/>
                <a:gd name="connsiteY1818" fmla="*/ 904542 h 2003425"/>
                <a:gd name="connsiteX1819" fmla="*/ 390013 w 1674813"/>
                <a:gd name="connsiteY1819" fmla="*/ 856164 h 2003425"/>
                <a:gd name="connsiteX1820" fmla="*/ 390013 w 1674813"/>
                <a:gd name="connsiteY1820" fmla="*/ 920667 h 2003425"/>
                <a:gd name="connsiteX1821" fmla="*/ 373728 w 1674813"/>
                <a:gd name="connsiteY1821" fmla="*/ 872290 h 2003425"/>
                <a:gd name="connsiteX1822" fmla="*/ 357443 w 1674813"/>
                <a:gd name="connsiteY1822" fmla="*/ 936793 h 2003425"/>
                <a:gd name="connsiteX1823" fmla="*/ 341159 w 1674813"/>
                <a:gd name="connsiteY1823" fmla="*/ 888416 h 2003425"/>
                <a:gd name="connsiteX1824" fmla="*/ 341159 w 1674813"/>
                <a:gd name="connsiteY1824" fmla="*/ 952919 h 2003425"/>
                <a:gd name="connsiteX1825" fmla="*/ 308589 w 1674813"/>
                <a:gd name="connsiteY1825" fmla="*/ 888416 h 2003425"/>
                <a:gd name="connsiteX1826" fmla="*/ 308589 w 1674813"/>
                <a:gd name="connsiteY1826" fmla="*/ 985170 h 2003425"/>
                <a:gd name="connsiteX1827" fmla="*/ 276020 w 1674813"/>
                <a:gd name="connsiteY1827" fmla="*/ 904542 h 2003425"/>
                <a:gd name="connsiteX1828" fmla="*/ 276020 w 1674813"/>
                <a:gd name="connsiteY1828" fmla="*/ 1001296 h 2003425"/>
                <a:gd name="connsiteX1829" fmla="*/ 243451 w 1674813"/>
                <a:gd name="connsiteY1829" fmla="*/ 920667 h 2003425"/>
                <a:gd name="connsiteX1830" fmla="*/ 313424 w 1674813"/>
                <a:gd name="connsiteY1830" fmla="*/ 880605 h 2003425"/>
                <a:gd name="connsiteX1831" fmla="*/ 364618 w 1674813"/>
                <a:gd name="connsiteY1831" fmla="*/ 858879 h 2003425"/>
                <a:gd name="connsiteX1832" fmla="*/ 335306 w 1674813"/>
                <a:gd name="connsiteY1832" fmla="*/ 868711 h 2003425"/>
                <a:gd name="connsiteX1833" fmla="*/ 387567 w 1674813"/>
                <a:gd name="connsiteY1833" fmla="*/ 844604 h 2003425"/>
                <a:gd name="connsiteX1834" fmla="*/ 422756 w 1674813"/>
                <a:gd name="connsiteY1834" fmla="*/ 836843 h 2003425"/>
                <a:gd name="connsiteX1835" fmla="*/ 422756 w 1674813"/>
                <a:gd name="connsiteY1835" fmla="*/ 834795 h 2003425"/>
                <a:gd name="connsiteX1836" fmla="*/ 422756 w 1674813"/>
                <a:gd name="connsiteY1836" fmla="*/ 792428 h 2003425"/>
                <a:gd name="connsiteX1837" fmla="*/ 390236 w 1674813"/>
                <a:gd name="connsiteY1837" fmla="*/ 840847 h 2003425"/>
                <a:gd name="connsiteX1838" fmla="*/ 390236 w 1674813"/>
                <a:gd name="connsiteY1838" fmla="*/ 792428 h 2003425"/>
                <a:gd name="connsiteX1839" fmla="*/ 373976 w 1674813"/>
                <a:gd name="connsiteY1839" fmla="*/ 840847 h 2003425"/>
                <a:gd name="connsiteX1840" fmla="*/ 373976 w 1674813"/>
                <a:gd name="connsiteY1840" fmla="*/ 792428 h 2003425"/>
                <a:gd name="connsiteX1841" fmla="*/ 341457 w 1674813"/>
                <a:gd name="connsiteY1841" fmla="*/ 840847 h 2003425"/>
                <a:gd name="connsiteX1842" fmla="*/ 341457 w 1674813"/>
                <a:gd name="connsiteY1842" fmla="*/ 792428 h 2003425"/>
                <a:gd name="connsiteX1843" fmla="*/ 325197 w 1674813"/>
                <a:gd name="connsiteY1843" fmla="*/ 856986 h 2003425"/>
                <a:gd name="connsiteX1844" fmla="*/ 325197 w 1674813"/>
                <a:gd name="connsiteY1844" fmla="*/ 792428 h 2003425"/>
                <a:gd name="connsiteX1845" fmla="*/ 292677 w 1674813"/>
                <a:gd name="connsiteY1845" fmla="*/ 856986 h 2003425"/>
                <a:gd name="connsiteX1846" fmla="*/ 292677 w 1674813"/>
                <a:gd name="connsiteY1846" fmla="*/ 792428 h 2003425"/>
                <a:gd name="connsiteX1847" fmla="*/ 260157 w 1674813"/>
                <a:gd name="connsiteY1847" fmla="*/ 873126 h 2003425"/>
                <a:gd name="connsiteX1848" fmla="*/ 260157 w 1674813"/>
                <a:gd name="connsiteY1848" fmla="*/ 792428 h 2003425"/>
                <a:gd name="connsiteX1849" fmla="*/ 227638 w 1674813"/>
                <a:gd name="connsiteY1849" fmla="*/ 873126 h 2003425"/>
                <a:gd name="connsiteX1850" fmla="*/ 227638 w 1674813"/>
                <a:gd name="connsiteY1850" fmla="*/ 792428 h 2003425"/>
                <a:gd name="connsiteX1851" fmla="*/ 195118 w 1674813"/>
                <a:gd name="connsiteY1851" fmla="*/ 873126 h 2003425"/>
                <a:gd name="connsiteX1852" fmla="*/ 195118 w 1674813"/>
                <a:gd name="connsiteY1852" fmla="*/ 808567 h 2003425"/>
                <a:gd name="connsiteX1853" fmla="*/ 178858 w 1674813"/>
                <a:gd name="connsiteY1853" fmla="*/ 873126 h 2003425"/>
                <a:gd name="connsiteX1854" fmla="*/ 162598 w 1674813"/>
                <a:gd name="connsiteY1854" fmla="*/ 808567 h 2003425"/>
                <a:gd name="connsiteX1855" fmla="*/ 146338 w 1674813"/>
                <a:gd name="connsiteY1855" fmla="*/ 873126 h 2003425"/>
                <a:gd name="connsiteX1856" fmla="*/ 130079 w 1674813"/>
                <a:gd name="connsiteY1856" fmla="*/ 824707 h 2003425"/>
                <a:gd name="connsiteX1857" fmla="*/ 113819 w 1674813"/>
                <a:gd name="connsiteY1857" fmla="*/ 873126 h 2003425"/>
                <a:gd name="connsiteX1858" fmla="*/ 113819 w 1674813"/>
                <a:gd name="connsiteY1858" fmla="*/ 824707 h 2003425"/>
                <a:gd name="connsiteX1859" fmla="*/ 81299 w 1674813"/>
                <a:gd name="connsiteY1859" fmla="*/ 873126 h 2003425"/>
                <a:gd name="connsiteX1860" fmla="*/ 81299 w 1674813"/>
                <a:gd name="connsiteY1860" fmla="*/ 840847 h 2003425"/>
                <a:gd name="connsiteX1861" fmla="*/ 65039 w 1674813"/>
                <a:gd name="connsiteY1861" fmla="*/ 873126 h 2003425"/>
                <a:gd name="connsiteX1862" fmla="*/ 65039 w 1674813"/>
                <a:gd name="connsiteY1862" fmla="*/ 840847 h 2003425"/>
                <a:gd name="connsiteX1863" fmla="*/ 37601 w 1674813"/>
                <a:gd name="connsiteY1863" fmla="*/ 868083 h 2003425"/>
                <a:gd name="connsiteX1864" fmla="*/ 36280 w 1674813"/>
                <a:gd name="connsiteY1864" fmla="*/ 869393 h 2003425"/>
                <a:gd name="connsiteX1865" fmla="*/ 48779 w 1674813"/>
                <a:gd name="connsiteY1865" fmla="*/ 856986 h 2003425"/>
                <a:gd name="connsiteX1866" fmla="*/ 16260 w 1674813"/>
                <a:gd name="connsiteY1866" fmla="*/ 873126 h 2003425"/>
                <a:gd name="connsiteX1867" fmla="*/ 0 w 1674813"/>
                <a:gd name="connsiteY1867" fmla="*/ 873126 h 2003425"/>
                <a:gd name="connsiteX1868" fmla="*/ 16260 w 1674813"/>
                <a:gd name="connsiteY1868" fmla="*/ 856986 h 2003425"/>
                <a:gd name="connsiteX1869" fmla="*/ 24715 w 1674813"/>
                <a:gd name="connsiteY1869" fmla="*/ 852241 h 2003425"/>
                <a:gd name="connsiteX1870" fmla="*/ 19495 w 1674813"/>
                <a:gd name="connsiteY1870" fmla="*/ 854245 h 2003425"/>
                <a:gd name="connsiteX1871" fmla="*/ 15875 w 1674813"/>
                <a:gd name="connsiteY1871" fmla="*/ 855663 h 2003425"/>
                <a:gd name="connsiteX1872" fmla="*/ 242242 w 1674813"/>
                <a:gd name="connsiteY1872" fmla="*/ 778495 h 2003425"/>
                <a:gd name="connsiteX1873" fmla="*/ 250836 w 1674813"/>
                <a:gd name="connsiteY1873" fmla="*/ 778038 h 2003425"/>
                <a:gd name="connsiteX1874" fmla="*/ 260157 w 1674813"/>
                <a:gd name="connsiteY1874" fmla="*/ 776288 h 2003425"/>
                <a:gd name="connsiteX1875" fmla="*/ 282928 w 1674813"/>
                <a:gd name="connsiteY1875" fmla="*/ 776329 h 2003425"/>
                <a:gd name="connsiteX1876" fmla="*/ 283792 w 1674813"/>
                <a:gd name="connsiteY1876" fmla="*/ 776283 h 2003425"/>
                <a:gd name="connsiteX1877" fmla="*/ 283489 w 1674813"/>
                <a:gd name="connsiteY1877" fmla="*/ 776330 h 2003425"/>
                <a:gd name="connsiteX1878" fmla="*/ 307428 w 1674813"/>
                <a:gd name="connsiteY1878" fmla="*/ 776373 h 2003425"/>
                <a:gd name="connsiteX1879" fmla="*/ 298210 w 1674813"/>
                <a:gd name="connsiteY1879" fmla="*/ 775516 h 2003425"/>
                <a:gd name="connsiteX1880" fmla="*/ 308552 w 1674813"/>
                <a:gd name="connsiteY1880" fmla="*/ 774965 h 2003425"/>
                <a:gd name="connsiteX1881" fmla="*/ 408398 w 1674813"/>
                <a:gd name="connsiteY1881" fmla="*/ 775721 h 2003425"/>
                <a:gd name="connsiteX1882" fmla="*/ 443023 w 1674813"/>
                <a:gd name="connsiteY1882" fmla="*/ 783548 h 2003425"/>
                <a:gd name="connsiteX1883" fmla="*/ 445875 w 1674813"/>
                <a:gd name="connsiteY1883" fmla="*/ 777866 h 2003425"/>
                <a:gd name="connsiteX1884" fmla="*/ 455276 w 1674813"/>
                <a:gd name="connsiteY1884" fmla="*/ 759143 h 2003425"/>
                <a:gd name="connsiteX1885" fmla="*/ 422756 w 1674813"/>
                <a:gd name="connsiteY1885" fmla="*/ 775336 h 2003425"/>
                <a:gd name="connsiteX1886" fmla="*/ 439016 w 1674813"/>
                <a:gd name="connsiteY1886" fmla="*/ 742950 h 2003425"/>
                <a:gd name="connsiteX1887" fmla="*/ 390236 w 1674813"/>
                <a:gd name="connsiteY1887" fmla="*/ 759143 h 2003425"/>
                <a:gd name="connsiteX1888" fmla="*/ 422756 w 1674813"/>
                <a:gd name="connsiteY1888" fmla="*/ 726758 h 2003425"/>
                <a:gd name="connsiteX1889" fmla="*/ 373976 w 1674813"/>
                <a:gd name="connsiteY1889" fmla="*/ 759143 h 2003425"/>
                <a:gd name="connsiteX1890" fmla="*/ 390236 w 1674813"/>
                <a:gd name="connsiteY1890" fmla="*/ 710565 h 2003425"/>
                <a:gd name="connsiteX1891" fmla="*/ 341457 w 1674813"/>
                <a:gd name="connsiteY1891" fmla="*/ 742950 h 2003425"/>
                <a:gd name="connsiteX1892" fmla="*/ 355176 w 1674813"/>
                <a:gd name="connsiteY1892" fmla="*/ 722457 h 2003425"/>
                <a:gd name="connsiteX1893" fmla="*/ 372290 w 1674813"/>
                <a:gd name="connsiteY1893" fmla="*/ 696892 h 2003425"/>
                <a:gd name="connsiteX1894" fmla="*/ 363067 w 1674813"/>
                <a:gd name="connsiteY1894" fmla="*/ 706115 h 2003425"/>
                <a:gd name="connsiteX1895" fmla="*/ 357982 w 1674813"/>
                <a:gd name="connsiteY1895" fmla="*/ 711200 h 2003425"/>
                <a:gd name="connsiteX1896" fmla="*/ 360016 w 1674813"/>
                <a:gd name="connsiteY1896" fmla="*/ 707132 h 2003425"/>
                <a:gd name="connsiteX1897" fmla="*/ 361877 w 1674813"/>
                <a:gd name="connsiteY1897" fmla="*/ 703410 h 2003425"/>
                <a:gd name="connsiteX1898" fmla="*/ 341457 w 1674813"/>
                <a:gd name="connsiteY1898" fmla="*/ 718662 h 2003425"/>
                <a:gd name="connsiteX1899" fmla="*/ 308937 w 1674813"/>
                <a:gd name="connsiteY1899" fmla="*/ 742950 h 2003425"/>
                <a:gd name="connsiteX1900" fmla="*/ 329516 w 1674813"/>
                <a:gd name="connsiteY1900" fmla="*/ 715626 h 2003425"/>
                <a:gd name="connsiteX1901" fmla="*/ 340321 w 1674813"/>
                <a:gd name="connsiteY1901" fmla="*/ 701278 h 2003425"/>
                <a:gd name="connsiteX1902" fmla="*/ 325438 w 1674813"/>
                <a:gd name="connsiteY1902" fmla="*/ 711200 h 2003425"/>
                <a:gd name="connsiteX1903" fmla="*/ 341710 w 1674813"/>
                <a:gd name="connsiteY1903" fmla="*/ 694928 h 2003425"/>
                <a:gd name="connsiteX1904" fmla="*/ 347762 w 1674813"/>
                <a:gd name="connsiteY1904" fmla="*/ 691398 h 2003425"/>
                <a:gd name="connsiteX1905" fmla="*/ 357716 w 1674813"/>
                <a:gd name="connsiteY1905" fmla="*/ 678180 h 2003425"/>
                <a:gd name="connsiteX1906" fmla="*/ 276417 w 1674813"/>
                <a:gd name="connsiteY1906" fmla="*/ 726758 h 2003425"/>
                <a:gd name="connsiteX1907" fmla="*/ 325197 w 1674813"/>
                <a:gd name="connsiteY1907" fmla="*/ 661988 h 2003425"/>
                <a:gd name="connsiteX1908" fmla="*/ 243897 w 1674813"/>
                <a:gd name="connsiteY1908" fmla="*/ 710565 h 2003425"/>
                <a:gd name="connsiteX1909" fmla="*/ 292677 w 1674813"/>
                <a:gd name="connsiteY1909" fmla="*/ 645795 h 2003425"/>
                <a:gd name="connsiteX1910" fmla="*/ 211378 w 1674813"/>
                <a:gd name="connsiteY1910" fmla="*/ 710565 h 2003425"/>
                <a:gd name="connsiteX1911" fmla="*/ 260157 w 1674813"/>
                <a:gd name="connsiteY1911" fmla="*/ 629603 h 2003425"/>
                <a:gd name="connsiteX1912" fmla="*/ 178858 w 1674813"/>
                <a:gd name="connsiteY1912" fmla="*/ 694373 h 2003425"/>
                <a:gd name="connsiteX1913" fmla="*/ 227638 w 1674813"/>
                <a:gd name="connsiteY1913" fmla="*/ 629603 h 2003425"/>
                <a:gd name="connsiteX1914" fmla="*/ 162598 w 1674813"/>
                <a:gd name="connsiteY1914" fmla="*/ 678180 h 2003425"/>
                <a:gd name="connsiteX1915" fmla="*/ 176317 w 1674813"/>
                <a:gd name="connsiteY1915" fmla="*/ 650855 h 2003425"/>
                <a:gd name="connsiteX1916" fmla="*/ 194973 w 1674813"/>
                <a:gd name="connsiteY1916" fmla="*/ 613699 h 2003425"/>
                <a:gd name="connsiteX1917" fmla="*/ 194775 w 1674813"/>
                <a:gd name="connsiteY1917" fmla="*/ 613666 h 2003425"/>
                <a:gd name="connsiteX1918" fmla="*/ 184955 w 1674813"/>
                <a:gd name="connsiteY1918" fmla="*/ 621000 h 2003425"/>
                <a:gd name="connsiteX1919" fmla="*/ 130079 w 1674813"/>
                <a:gd name="connsiteY1919" fmla="*/ 661988 h 2003425"/>
                <a:gd name="connsiteX1920" fmla="*/ 162598 w 1674813"/>
                <a:gd name="connsiteY1920" fmla="*/ 613410 h 2003425"/>
                <a:gd name="connsiteX1921" fmla="*/ 97559 w 1674813"/>
                <a:gd name="connsiteY1921" fmla="*/ 645795 h 2003425"/>
                <a:gd name="connsiteX1922" fmla="*/ 130079 w 1674813"/>
                <a:gd name="connsiteY1922" fmla="*/ 597218 h 2003425"/>
                <a:gd name="connsiteX1923" fmla="*/ 81299 w 1674813"/>
                <a:gd name="connsiteY1923" fmla="*/ 629603 h 2003425"/>
                <a:gd name="connsiteX1924" fmla="*/ 97559 w 1674813"/>
                <a:gd name="connsiteY1924" fmla="*/ 597218 h 2003425"/>
                <a:gd name="connsiteX1925" fmla="*/ 48779 w 1674813"/>
                <a:gd name="connsiteY1925" fmla="*/ 613410 h 2003425"/>
                <a:gd name="connsiteX1926" fmla="*/ 81299 w 1674813"/>
                <a:gd name="connsiteY1926" fmla="*/ 597218 h 2003425"/>
                <a:gd name="connsiteX1927" fmla="*/ 32519 w 1674813"/>
                <a:gd name="connsiteY1927" fmla="*/ 597218 h 2003425"/>
                <a:gd name="connsiteX1928" fmla="*/ 34552 w 1674813"/>
                <a:gd name="connsiteY1928" fmla="*/ 595194 h 2003425"/>
                <a:gd name="connsiteX1929" fmla="*/ 47793 w 1674813"/>
                <a:gd name="connsiteY1929" fmla="*/ 582008 h 2003425"/>
                <a:gd name="connsiteX1930" fmla="*/ 46262 w 1674813"/>
                <a:gd name="connsiteY1930" fmla="*/ 581861 h 2003425"/>
                <a:gd name="connsiteX1931" fmla="*/ 42682 w 1674813"/>
                <a:gd name="connsiteY1931" fmla="*/ 583049 h 2003425"/>
                <a:gd name="connsiteX1932" fmla="*/ 0 w 1674813"/>
                <a:gd name="connsiteY1932" fmla="*/ 597218 h 2003425"/>
                <a:gd name="connsiteX1933" fmla="*/ 13719 w 1674813"/>
                <a:gd name="connsiteY1933" fmla="*/ 590386 h 2003425"/>
                <a:gd name="connsiteX1934" fmla="*/ 31949 w 1674813"/>
                <a:gd name="connsiteY1934" fmla="*/ 581309 h 2003425"/>
                <a:gd name="connsiteX1935" fmla="*/ 31750 w 1674813"/>
                <a:gd name="connsiteY1935" fmla="*/ 581305 h 2003425"/>
                <a:gd name="connsiteX1936" fmla="*/ 31962 w 1674813"/>
                <a:gd name="connsiteY1936" fmla="*/ 581302 h 2003425"/>
                <a:gd name="connsiteX1937" fmla="*/ 32519 w 1674813"/>
                <a:gd name="connsiteY1937" fmla="*/ 581025 h 2003425"/>
                <a:gd name="connsiteX1938" fmla="*/ 41351 w 1674813"/>
                <a:gd name="connsiteY1938" fmla="*/ 581173 h 2003425"/>
                <a:gd name="connsiteX1939" fmla="*/ 48634 w 1674813"/>
                <a:gd name="connsiteY1939" fmla="*/ 581073 h 2003425"/>
                <a:gd name="connsiteX1940" fmla="*/ 48779 w 1674813"/>
                <a:gd name="connsiteY1940" fmla="*/ 581025 h 2003425"/>
                <a:gd name="connsiteX1941" fmla="*/ 48732 w 1674813"/>
                <a:gd name="connsiteY1941" fmla="*/ 581072 h 2003425"/>
                <a:gd name="connsiteX1942" fmla="*/ 123533 w 1674813"/>
                <a:gd name="connsiteY1942" fmla="*/ 580043 h 2003425"/>
                <a:gd name="connsiteX1943" fmla="*/ 340915 w 1674813"/>
                <a:gd name="connsiteY1943" fmla="*/ 645926 h 2003425"/>
                <a:gd name="connsiteX1944" fmla="*/ 381758 w 1674813"/>
                <a:gd name="connsiteY1944" fmla="*/ 671567 h 2003425"/>
                <a:gd name="connsiteX1945" fmla="*/ 387474 w 1674813"/>
                <a:gd name="connsiteY1945" fmla="*/ 668232 h 2003425"/>
                <a:gd name="connsiteX1946" fmla="*/ 400031 w 1674813"/>
                <a:gd name="connsiteY1946" fmla="*/ 662701 h 2003425"/>
                <a:gd name="connsiteX1947" fmla="*/ 429993 w 1674813"/>
                <a:gd name="connsiteY1947" fmla="*/ 646054 h 2003425"/>
                <a:gd name="connsiteX1948" fmla="*/ 415999 w 1674813"/>
                <a:gd name="connsiteY1948" fmla="*/ 646054 h 2003425"/>
                <a:gd name="connsiteX1949" fmla="*/ 405816 w 1674813"/>
                <a:gd name="connsiteY1949" fmla="*/ 646054 h 2003425"/>
                <a:gd name="connsiteX1950" fmla="*/ 470987 w 1674813"/>
                <a:gd name="connsiteY1950" fmla="*/ 613716 h 2003425"/>
                <a:gd name="connsiteX1951" fmla="*/ 389523 w 1674813"/>
                <a:gd name="connsiteY1951" fmla="*/ 629885 h 2003425"/>
                <a:gd name="connsiteX1952" fmla="*/ 454694 w 1674813"/>
                <a:gd name="connsiteY1952" fmla="*/ 597547 h 2003425"/>
                <a:gd name="connsiteX1953" fmla="*/ 356937 w 1674813"/>
                <a:gd name="connsiteY1953" fmla="*/ 597547 h 2003425"/>
                <a:gd name="connsiteX1954" fmla="*/ 438401 w 1674813"/>
                <a:gd name="connsiteY1954" fmla="*/ 565209 h 2003425"/>
                <a:gd name="connsiteX1955" fmla="*/ 481170 w 1674813"/>
                <a:gd name="connsiteY1955" fmla="*/ 622811 h 2003425"/>
                <a:gd name="connsiteX1956" fmla="*/ 483411 w 1674813"/>
                <a:gd name="connsiteY1956" fmla="*/ 626593 h 2003425"/>
                <a:gd name="connsiteX1957" fmla="*/ 471311 w 1674813"/>
                <a:gd name="connsiteY1957" fmla="*/ 597547 h 2003425"/>
                <a:gd name="connsiteX1958" fmla="*/ 487664 w 1674813"/>
                <a:gd name="connsiteY1958" fmla="*/ 626162 h 2003425"/>
                <a:gd name="connsiteX1959" fmla="*/ 524371 w 1674813"/>
                <a:gd name="connsiteY1959" fmla="*/ 613682 h 2003425"/>
                <a:gd name="connsiteX1960" fmla="*/ 544480 w 1674813"/>
                <a:gd name="connsiteY1960" fmla="*/ 609198 h 2003425"/>
                <a:gd name="connsiteX1961" fmla="*/ 508060 w 1674813"/>
                <a:gd name="connsiteY1961" fmla="*/ 602031 h 2003425"/>
                <a:gd name="connsiteX1962" fmla="*/ 487362 w 1674813"/>
                <a:gd name="connsiteY1962" fmla="*/ 597959 h 2003425"/>
                <a:gd name="connsiteX1963" fmla="*/ 552979 w 1674813"/>
                <a:gd name="connsiteY1963" fmla="*/ 597959 h 2003425"/>
                <a:gd name="connsiteX1964" fmla="*/ 470958 w 1674813"/>
                <a:gd name="connsiteY1964" fmla="*/ 565680 h 2003425"/>
                <a:gd name="connsiteX1965" fmla="*/ 552979 w 1674813"/>
                <a:gd name="connsiteY1965" fmla="*/ 565680 h 2003425"/>
                <a:gd name="connsiteX1966" fmla="*/ 564352 w 1674813"/>
                <a:gd name="connsiteY1966" fmla="*/ 604767 h 2003425"/>
                <a:gd name="connsiteX1967" fmla="*/ 569909 w 1674813"/>
                <a:gd name="connsiteY1967" fmla="*/ 603527 h 2003425"/>
                <a:gd name="connsiteX1968" fmla="*/ 569207 w 1674813"/>
                <a:gd name="connsiteY1968" fmla="*/ 597831 h 2003425"/>
                <a:gd name="connsiteX1969" fmla="*/ 570243 w 1674813"/>
                <a:gd name="connsiteY1969" fmla="*/ 603453 h 2003425"/>
                <a:gd name="connsiteX1970" fmla="*/ 588363 w 1674813"/>
                <a:gd name="connsiteY1970" fmla="*/ 599412 h 2003425"/>
                <a:gd name="connsiteX1971" fmla="*/ 601662 w 1674813"/>
                <a:gd name="connsiteY1971" fmla="*/ 565151 h 2003425"/>
                <a:gd name="connsiteX1972" fmla="*/ 629328 w 1674813"/>
                <a:gd name="connsiteY1972" fmla="*/ 509592 h 2003425"/>
                <a:gd name="connsiteX1973" fmla="*/ 622527 w 1674813"/>
                <a:gd name="connsiteY1973" fmla="*/ 514085 h 2003425"/>
                <a:gd name="connsiteX1974" fmla="*/ 618332 w 1674813"/>
                <a:gd name="connsiteY1974" fmla="*/ 516857 h 2003425"/>
                <a:gd name="connsiteX1975" fmla="*/ 626468 w 1674813"/>
                <a:gd name="connsiteY1975" fmla="*/ 506778 h 2003425"/>
                <a:gd name="connsiteX1976" fmla="*/ 637589 w 1674813"/>
                <a:gd name="connsiteY1976" fmla="*/ 493001 h 2003425"/>
                <a:gd name="connsiteX1977" fmla="*/ 652003 w 1674813"/>
                <a:gd name="connsiteY1977" fmla="*/ 464055 h 2003425"/>
                <a:gd name="connsiteX1978" fmla="*/ 656864 w 1674813"/>
                <a:gd name="connsiteY1978" fmla="*/ 457313 h 2003425"/>
                <a:gd name="connsiteX1979" fmla="*/ 634603 w 1674813"/>
                <a:gd name="connsiteY1979" fmla="*/ 474527 h 2003425"/>
                <a:gd name="connsiteX1980" fmla="*/ 585788 w 1674813"/>
                <a:gd name="connsiteY1980" fmla="*/ 500731 h 2003425"/>
                <a:gd name="connsiteX1981" fmla="*/ 634603 w 1674813"/>
                <a:gd name="connsiteY1981" fmla="*/ 420103 h 2003425"/>
                <a:gd name="connsiteX1982" fmla="*/ 552227 w 1674813"/>
                <a:gd name="connsiteY1982" fmla="*/ 488133 h 2003425"/>
                <a:gd name="connsiteX1983" fmla="*/ 541278 w 1674813"/>
                <a:gd name="connsiteY1983" fmla="*/ 497175 h 2003425"/>
                <a:gd name="connsiteX1984" fmla="*/ 556022 w 1674813"/>
                <a:gd name="connsiteY1984" fmla="*/ 544086 h 2003425"/>
                <a:gd name="connsiteX1985" fmla="*/ 569207 w 1674813"/>
                <a:gd name="connsiteY1985" fmla="*/ 597831 h 2003425"/>
                <a:gd name="connsiteX1986" fmla="*/ 546894 w 1674813"/>
                <a:gd name="connsiteY1986" fmla="*/ 533236 h 2003425"/>
                <a:gd name="connsiteX1987" fmla="*/ 541237 w 1674813"/>
                <a:gd name="connsiteY1987" fmla="*/ 497209 h 2003425"/>
                <a:gd name="connsiteX1988" fmla="*/ 541167 w 1674813"/>
                <a:gd name="connsiteY1988" fmla="*/ 497267 h 2003425"/>
                <a:gd name="connsiteX1989" fmla="*/ 537706 w 1674813"/>
                <a:gd name="connsiteY1989" fmla="*/ 500126 h 2003425"/>
                <a:gd name="connsiteX1990" fmla="*/ 552979 w 1674813"/>
                <a:gd name="connsiteY1990" fmla="*/ 565680 h 2003425"/>
                <a:gd name="connsiteX1991" fmla="*/ 470958 w 1674813"/>
                <a:gd name="connsiteY1991" fmla="*/ 533400 h 2003425"/>
                <a:gd name="connsiteX1992" fmla="*/ 536575 w 1674813"/>
                <a:gd name="connsiteY1992" fmla="*/ 533400 h 2003425"/>
                <a:gd name="connsiteX1993" fmla="*/ 470958 w 1674813"/>
                <a:gd name="connsiteY1993" fmla="*/ 517261 h 2003425"/>
                <a:gd name="connsiteX1994" fmla="*/ 520171 w 1674813"/>
                <a:gd name="connsiteY1994" fmla="*/ 501121 h 2003425"/>
                <a:gd name="connsiteX1995" fmla="*/ 454554 w 1674813"/>
                <a:gd name="connsiteY1995" fmla="*/ 484982 h 2003425"/>
                <a:gd name="connsiteX1996" fmla="*/ 520171 w 1674813"/>
                <a:gd name="connsiteY1996" fmla="*/ 484982 h 2003425"/>
                <a:gd name="connsiteX1997" fmla="*/ 454554 w 1674813"/>
                <a:gd name="connsiteY1997" fmla="*/ 468842 h 2003425"/>
                <a:gd name="connsiteX1998" fmla="*/ 460705 w 1674813"/>
                <a:gd name="connsiteY1998" fmla="*/ 466824 h 2003425"/>
                <a:gd name="connsiteX1999" fmla="*/ 474360 w 1674813"/>
                <a:gd name="connsiteY1999" fmla="*/ 462346 h 2003425"/>
                <a:gd name="connsiteX2000" fmla="*/ 475953 w 1674813"/>
                <a:gd name="connsiteY2000" fmla="*/ 458401 h 2003425"/>
                <a:gd name="connsiteX2001" fmla="*/ 481235 w 1674813"/>
                <a:gd name="connsiteY2001" fmla="*/ 445313 h 2003425"/>
                <a:gd name="connsiteX2002" fmla="*/ 479160 w 1674813"/>
                <a:gd name="connsiteY2002" fmla="*/ 444633 h 2003425"/>
                <a:gd name="connsiteX2003" fmla="*/ 454554 w 1674813"/>
                <a:gd name="connsiteY2003" fmla="*/ 436563 h 2003425"/>
                <a:gd name="connsiteX2004" fmla="*/ 475315 w 1674813"/>
                <a:gd name="connsiteY2004" fmla="*/ 429754 h 2003425"/>
                <a:gd name="connsiteX2005" fmla="*/ 489377 w 1674813"/>
                <a:gd name="connsiteY2005" fmla="*/ 425142 h 2003425"/>
                <a:gd name="connsiteX2006" fmla="*/ 492741 w 1674813"/>
                <a:gd name="connsiteY2006" fmla="*/ 416807 h 2003425"/>
                <a:gd name="connsiteX2007" fmla="*/ 473819 w 1674813"/>
                <a:gd name="connsiteY2007" fmla="*/ 410602 h 2003425"/>
                <a:gd name="connsiteX2008" fmla="*/ 471885 w 1674813"/>
                <a:gd name="connsiteY2008" fmla="*/ 412040 h 2003425"/>
                <a:gd name="connsiteX2009" fmla="*/ 439341 w 1674813"/>
                <a:gd name="connsiteY2009" fmla="*/ 436229 h 2003425"/>
                <a:gd name="connsiteX2010" fmla="*/ 453070 w 1674813"/>
                <a:gd name="connsiteY2010" fmla="*/ 415820 h 2003425"/>
                <a:gd name="connsiteX2011" fmla="*/ 459696 w 1674813"/>
                <a:gd name="connsiteY2011" fmla="*/ 405970 h 2003425"/>
                <a:gd name="connsiteX2012" fmla="*/ 459095 w 1674813"/>
                <a:gd name="connsiteY2012" fmla="*/ 405773 h 2003425"/>
                <a:gd name="connsiteX2013" fmla="*/ 454554 w 1674813"/>
                <a:gd name="connsiteY2013" fmla="*/ 404284 h 2003425"/>
                <a:gd name="connsiteX2014" fmla="*/ 458655 w 1674813"/>
                <a:gd name="connsiteY2014" fmla="*/ 404284 h 2003425"/>
                <a:gd name="connsiteX2015" fmla="*/ 460831 w 1674813"/>
                <a:gd name="connsiteY2015" fmla="*/ 404284 h 2003425"/>
                <a:gd name="connsiteX2016" fmla="*/ 466657 w 1674813"/>
                <a:gd name="connsiteY2016" fmla="*/ 395623 h 2003425"/>
                <a:gd name="connsiteX2017" fmla="*/ 459820 w 1674813"/>
                <a:gd name="connsiteY2017" fmla="*/ 393830 h 2003425"/>
                <a:gd name="connsiteX2018" fmla="*/ 439341 w 1674813"/>
                <a:gd name="connsiteY2018" fmla="*/ 403977 h 2003425"/>
                <a:gd name="connsiteX2019" fmla="*/ 406797 w 1674813"/>
                <a:gd name="connsiteY2019" fmla="*/ 420103 h 2003425"/>
                <a:gd name="connsiteX2020" fmla="*/ 420527 w 1674813"/>
                <a:gd name="connsiteY2020" fmla="*/ 406497 h 2003425"/>
                <a:gd name="connsiteX2021" fmla="*/ 438858 w 1674813"/>
                <a:gd name="connsiteY2021" fmla="*/ 388330 h 2003425"/>
                <a:gd name="connsiteX2022" fmla="*/ 438155 w 1674813"/>
                <a:gd name="connsiteY2022" fmla="*/ 388145 h 2003425"/>
                <a:gd name="connsiteX2023" fmla="*/ 429171 w 1674813"/>
                <a:gd name="connsiteY2023" fmla="*/ 390371 h 2003425"/>
                <a:gd name="connsiteX2024" fmla="*/ 374253 w 1674813"/>
                <a:gd name="connsiteY2024" fmla="*/ 403977 h 2003425"/>
                <a:gd name="connsiteX2025" fmla="*/ 406797 w 1674813"/>
                <a:gd name="connsiteY2025" fmla="*/ 371726 h 2003425"/>
                <a:gd name="connsiteX2026" fmla="*/ 341710 w 1674813"/>
                <a:gd name="connsiteY2026" fmla="*/ 387851 h 2003425"/>
                <a:gd name="connsiteX2027" fmla="*/ 355439 w 1674813"/>
                <a:gd name="connsiteY2027" fmla="*/ 374245 h 2003425"/>
                <a:gd name="connsiteX2028" fmla="*/ 372832 w 1674813"/>
                <a:gd name="connsiteY2028" fmla="*/ 357009 h 2003425"/>
                <a:gd name="connsiteX2029" fmla="*/ 370392 w 1674813"/>
                <a:gd name="connsiteY2029" fmla="*/ 356876 h 2003425"/>
                <a:gd name="connsiteX2030" fmla="*/ 368151 w 1674813"/>
                <a:gd name="connsiteY2030" fmla="*/ 357616 h 2003425"/>
                <a:gd name="connsiteX2031" fmla="*/ 325438 w 1674813"/>
                <a:gd name="connsiteY2031" fmla="*/ 371726 h 2003425"/>
                <a:gd name="connsiteX2032" fmla="*/ 327472 w 1674813"/>
                <a:gd name="connsiteY2032" fmla="*/ 369710 h 2003425"/>
                <a:gd name="connsiteX2033" fmla="*/ 341467 w 1674813"/>
                <a:gd name="connsiteY2033" fmla="*/ 355840 h 2003425"/>
                <a:gd name="connsiteX2034" fmla="*/ 341313 w 1674813"/>
                <a:gd name="connsiteY2034" fmla="*/ 355838 h 2003425"/>
                <a:gd name="connsiteX2035" fmla="*/ 341471 w 1674813"/>
                <a:gd name="connsiteY2035" fmla="*/ 355837 h 2003425"/>
                <a:gd name="connsiteX2036" fmla="*/ 341710 w 1674813"/>
                <a:gd name="connsiteY2036" fmla="*/ 355600 h 2003425"/>
                <a:gd name="connsiteX2037" fmla="*/ 351015 w 1674813"/>
                <a:gd name="connsiteY2037" fmla="*/ 355756 h 2003425"/>
                <a:gd name="connsiteX2038" fmla="*/ 453555 w 1674813"/>
                <a:gd name="connsiteY2038" fmla="*/ 354882 h 2003425"/>
                <a:gd name="connsiteX2039" fmla="*/ 459538 w 1674813"/>
                <a:gd name="connsiteY2039" fmla="*/ 354831 h 2003425"/>
                <a:gd name="connsiteX2040" fmla="*/ 659377 w 1674813"/>
                <a:gd name="connsiteY2040" fmla="*/ 401157 h 2003425"/>
                <a:gd name="connsiteX2041" fmla="*/ 687491 w 1674813"/>
                <a:gd name="connsiteY2041" fmla="*/ 414832 h 2003425"/>
                <a:gd name="connsiteX2042" fmla="*/ 729803 w 1674813"/>
                <a:gd name="connsiteY2042" fmla="*/ 356143 h 2003425"/>
                <a:gd name="connsiteX2043" fmla="*/ 770665 w 1674813"/>
                <a:gd name="connsiteY2043" fmla="*/ 316190 h 2003425"/>
                <a:gd name="connsiteX2044" fmla="*/ 746833 w 1674813"/>
                <a:gd name="connsiteY2044" fmla="*/ 320133 h 2003425"/>
                <a:gd name="connsiteX2045" fmla="*/ 731562 w 1674813"/>
                <a:gd name="connsiteY2045" fmla="*/ 322660 h 2003425"/>
                <a:gd name="connsiteX2046" fmla="*/ 796718 w 1674813"/>
                <a:gd name="connsiteY2046" fmla="*/ 274142 h 2003425"/>
                <a:gd name="connsiteX2047" fmla="*/ 715273 w 1674813"/>
                <a:gd name="connsiteY2047" fmla="*/ 290315 h 2003425"/>
                <a:gd name="connsiteX2048" fmla="*/ 780429 w 1674813"/>
                <a:gd name="connsiteY2048" fmla="*/ 257969 h 2003425"/>
                <a:gd name="connsiteX2049" fmla="*/ 698983 w 1674813"/>
                <a:gd name="connsiteY2049" fmla="*/ 274142 h 2003425"/>
                <a:gd name="connsiteX2050" fmla="*/ 747851 w 1674813"/>
                <a:gd name="connsiteY2050" fmla="*/ 225624 h 2003425"/>
                <a:gd name="connsiteX2051" fmla="*/ 666405 w 1674813"/>
                <a:gd name="connsiteY2051" fmla="*/ 241797 h 2003425"/>
                <a:gd name="connsiteX2052" fmla="*/ 731562 w 1674813"/>
                <a:gd name="connsiteY2052" fmla="*/ 209451 h 2003425"/>
                <a:gd name="connsiteX2053" fmla="*/ 650116 w 1674813"/>
                <a:gd name="connsiteY2053" fmla="*/ 209451 h 2003425"/>
                <a:gd name="connsiteX2054" fmla="*/ 698983 w 1674813"/>
                <a:gd name="connsiteY2054" fmla="*/ 177106 h 2003425"/>
                <a:gd name="connsiteX2055" fmla="*/ 650116 w 1674813"/>
                <a:gd name="connsiteY2055" fmla="*/ 177106 h 2003425"/>
                <a:gd name="connsiteX2056" fmla="*/ 682694 w 1674813"/>
                <a:gd name="connsiteY2056" fmla="*/ 160933 h 2003425"/>
                <a:gd name="connsiteX2057" fmla="*/ 633827 w 1674813"/>
                <a:gd name="connsiteY2057" fmla="*/ 144761 h 2003425"/>
                <a:gd name="connsiteX2058" fmla="*/ 666405 w 1674813"/>
                <a:gd name="connsiteY2058" fmla="*/ 144761 h 2003425"/>
                <a:gd name="connsiteX2059" fmla="*/ 617538 w 1674813"/>
                <a:gd name="connsiteY2059" fmla="*/ 128588 h 2003425"/>
                <a:gd name="connsiteX2060" fmla="*/ 650116 w 1674813"/>
                <a:gd name="connsiteY2060" fmla="*/ 128588 h 2003425"/>
                <a:gd name="connsiteX2061" fmla="*/ 652046 w 1674813"/>
                <a:gd name="connsiteY2061" fmla="*/ 129488 h 2003425"/>
                <a:gd name="connsiteX2062" fmla="*/ 650875 w 1674813"/>
                <a:gd name="connsiteY2062" fmla="*/ 128588 h 2003425"/>
                <a:gd name="connsiteX2063" fmla="*/ 652539 w 1674813"/>
                <a:gd name="connsiteY2063" fmla="*/ 129718 h 2003425"/>
                <a:gd name="connsiteX2064" fmla="*/ 680825 w 1674813"/>
                <a:gd name="connsiteY2064" fmla="*/ 142909 h 2003425"/>
                <a:gd name="connsiteX2065" fmla="*/ 757706 w 1674813"/>
                <a:gd name="connsiteY2065" fmla="*/ 204812 h 2003425"/>
                <a:gd name="connsiteX2066" fmla="*/ 771496 w 1674813"/>
                <a:gd name="connsiteY2066" fmla="*/ 220269 h 2003425"/>
                <a:gd name="connsiteX2067" fmla="*/ 797152 w 1674813"/>
                <a:gd name="connsiteY2067" fmla="*/ 243754 h 2003425"/>
                <a:gd name="connsiteX2068" fmla="*/ 894670 w 1674813"/>
                <a:gd name="connsiteY2068" fmla="*/ 371043 h 2003425"/>
                <a:gd name="connsiteX2069" fmla="*/ 843879 w 1674813"/>
                <a:gd name="connsiteY2069" fmla="*/ 300327 h 2003425"/>
                <a:gd name="connsiteX2070" fmla="*/ 816105 w 1674813"/>
                <a:gd name="connsiteY2070" fmla="*/ 274487 h 2003425"/>
                <a:gd name="connsiteX2071" fmla="*/ 827504 w 1674813"/>
                <a:gd name="connsiteY2071" fmla="*/ 290513 h 2003425"/>
                <a:gd name="connsiteX2072" fmla="*/ 828675 w 1674813"/>
                <a:gd name="connsiteY2072" fmla="*/ 290513 h 2003425"/>
                <a:gd name="connsiteX2073" fmla="*/ 827990 w 1674813"/>
                <a:gd name="connsiteY2073" fmla="*/ 291196 h 2003425"/>
                <a:gd name="connsiteX2074" fmla="*/ 861875 w 1674813"/>
                <a:gd name="connsiteY2074" fmla="*/ 338833 h 2003425"/>
                <a:gd name="connsiteX2075" fmla="*/ 844059 w 1674813"/>
                <a:gd name="connsiteY2075" fmla="*/ 341360 h 2003425"/>
                <a:gd name="connsiteX2076" fmla="*/ 806153 w 1674813"/>
                <a:gd name="connsiteY2076" fmla="*/ 346736 h 2003425"/>
                <a:gd name="connsiteX2077" fmla="*/ 804840 w 1674813"/>
                <a:gd name="connsiteY2077" fmla="*/ 348349 h 2003425"/>
                <a:gd name="connsiteX2078" fmla="*/ 763764 w 1674813"/>
                <a:gd name="connsiteY2078" fmla="*/ 355168 h 2003425"/>
                <a:gd name="connsiteX2079" fmla="*/ 777456 w 1674813"/>
                <a:gd name="connsiteY2079" fmla="*/ 361987 h 2003425"/>
                <a:gd name="connsiteX2080" fmla="*/ 783227 w 1674813"/>
                <a:gd name="connsiteY2080" fmla="*/ 364861 h 2003425"/>
                <a:gd name="connsiteX2081" fmla="*/ 805372 w 1674813"/>
                <a:gd name="connsiteY2081" fmla="*/ 357532 h 2003425"/>
                <a:gd name="connsiteX2082" fmla="*/ 861875 w 1674813"/>
                <a:gd name="connsiteY2082" fmla="*/ 338833 h 2003425"/>
                <a:gd name="connsiteX2083" fmla="*/ 914051 w 1674813"/>
                <a:gd name="connsiteY2083" fmla="*/ 408325 h 2003425"/>
                <a:gd name="connsiteX2084" fmla="*/ 915303 w 1674813"/>
                <a:gd name="connsiteY2084" fmla="*/ 410515 h 2003425"/>
                <a:gd name="connsiteX2085" fmla="*/ 894670 w 1674813"/>
                <a:gd name="connsiteY2085" fmla="*/ 371043 h 2003425"/>
                <a:gd name="connsiteX2086" fmla="*/ 926858 w 1674813"/>
                <a:gd name="connsiteY2086" fmla="*/ 425311 h 2003425"/>
                <a:gd name="connsiteX2087" fmla="*/ 939686 w 1674813"/>
                <a:gd name="connsiteY2087" fmla="*/ 453186 h 2003425"/>
                <a:gd name="connsiteX2088" fmla="*/ 947835 w 1674813"/>
                <a:gd name="connsiteY2088" fmla="*/ 467446 h 2003425"/>
                <a:gd name="connsiteX2089" fmla="*/ 951072 w 1674813"/>
                <a:gd name="connsiteY2089" fmla="*/ 466640 h 2003425"/>
                <a:gd name="connsiteX2090" fmla="*/ 1007746 w 1674813"/>
                <a:gd name="connsiteY2090" fmla="*/ 452524 h 2003425"/>
                <a:gd name="connsiteX2091" fmla="*/ 942975 w 1674813"/>
                <a:gd name="connsiteY2091" fmla="*/ 436392 h 2003425"/>
                <a:gd name="connsiteX2092" fmla="*/ 1007746 w 1674813"/>
                <a:gd name="connsiteY2092" fmla="*/ 420259 h 2003425"/>
                <a:gd name="connsiteX2093" fmla="*/ 926783 w 1674813"/>
                <a:gd name="connsiteY2093" fmla="*/ 404127 h 2003425"/>
                <a:gd name="connsiteX2094" fmla="*/ 1007746 w 1674813"/>
                <a:gd name="connsiteY2094" fmla="*/ 404127 h 2003425"/>
                <a:gd name="connsiteX2095" fmla="*/ 910590 w 1674813"/>
                <a:gd name="connsiteY2095" fmla="*/ 371862 h 2003425"/>
                <a:gd name="connsiteX2096" fmla="*/ 991553 w 1674813"/>
                <a:gd name="connsiteY2096" fmla="*/ 371862 h 2003425"/>
                <a:gd name="connsiteX2097" fmla="*/ 910590 w 1674813"/>
                <a:gd name="connsiteY2097" fmla="*/ 339597 h 2003425"/>
                <a:gd name="connsiteX2098" fmla="*/ 991553 w 1674813"/>
                <a:gd name="connsiteY2098" fmla="*/ 323464 h 2003425"/>
                <a:gd name="connsiteX2099" fmla="*/ 894398 w 1674813"/>
                <a:gd name="connsiteY2099" fmla="*/ 307332 h 2003425"/>
                <a:gd name="connsiteX2100" fmla="*/ 991553 w 1674813"/>
                <a:gd name="connsiteY2100" fmla="*/ 291200 h 2003425"/>
                <a:gd name="connsiteX2101" fmla="*/ 894398 w 1674813"/>
                <a:gd name="connsiteY2101" fmla="*/ 275067 h 2003425"/>
                <a:gd name="connsiteX2102" fmla="*/ 959168 w 1674813"/>
                <a:gd name="connsiteY2102" fmla="*/ 258935 h 2003425"/>
                <a:gd name="connsiteX2103" fmla="*/ 878205 w 1674813"/>
                <a:gd name="connsiteY2103" fmla="*/ 242802 h 2003425"/>
                <a:gd name="connsiteX2104" fmla="*/ 959168 w 1674813"/>
                <a:gd name="connsiteY2104" fmla="*/ 226670 h 2003425"/>
                <a:gd name="connsiteX2105" fmla="*/ 878205 w 1674813"/>
                <a:gd name="connsiteY2105" fmla="*/ 210537 h 2003425"/>
                <a:gd name="connsiteX2106" fmla="*/ 942975 w 1674813"/>
                <a:gd name="connsiteY2106" fmla="*/ 194405 h 2003425"/>
                <a:gd name="connsiteX2107" fmla="*/ 878205 w 1674813"/>
                <a:gd name="connsiteY2107" fmla="*/ 178272 h 2003425"/>
                <a:gd name="connsiteX2108" fmla="*/ 926783 w 1674813"/>
                <a:gd name="connsiteY2108" fmla="*/ 162140 h 2003425"/>
                <a:gd name="connsiteX2109" fmla="*/ 862013 w 1674813"/>
                <a:gd name="connsiteY2109" fmla="*/ 146007 h 2003425"/>
                <a:gd name="connsiteX2110" fmla="*/ 910590 w 1674813"/>
                <a:gd name="connsiteY2110" fmla="*/ 146007 h 2003425"/>
                <a:gd name="connsiteX2111" fmla="*/ 862013 w 1674813"/>
                <a:gd name="connsiteY2111" fmla="*/ 113743 h 2003425"/>
                <a:gd name="connsiteX2112" fmla="*/ 894398 w 1674813"/>
                <a:gd name="connsiteY2112" fmla="*/ 113743 h 2003425"/>
                <a:gd name="connsiteX2113" fmla="*/ 862013 w 1674813"/>
                <a:gd name="connsiteY2113" fmla="*/ 81478 h 2003425"/>
                <a:gd name="connsiteX2114" fmla="*/ 894398 w 1674813"/>
                <a:gd name="connsiteY2114" fmla="*/ 97610 h 2003425"/>
                <a:gd name="connsiteX2115" fmla="*/ 862013 w 1674813"/>
                <a:gd name="connsiteY2115" fmla="*/ 65345 h 2003425"/>
                <a:gd name="connsiteX2116" fmla="*/ 862013 w 1674813"/>
                <a:gd name="connsiteY2116" fmla="*/ 49213 h 2003425"/>
                <a:gd name="connsiteX2117" fmla="*/ 878205 w 1674813"/>
                <a:gd name="connsiteY2117" fmla="*/ 65345 h 2003425"/>
                <a:gd name="connsiteX2118" fmla="*/ 878880 w 1674813"/>
                <a:gd name="connsiteY2118" fmla="*/ 66324 h 2003425"/>
                <a:gd name="connsiteX2119" fmla="*/ 939972 w 1674813"/>
                <a:gd name="connsiteY2119" fmla="*/ 142473 h 2003425"/>
                <a:gd name="connsiteX2120" fmla="*/ 1025050 w 1674813"/>
                <a:gd name="connsiteY2120" fmla="*/ 371604 h 2003425"/>
                <a:gd name="connsiteX2121" fmla="*/ 1025826 w 1674813"/>
                <a:gd name="connsiteY2121" fmla="*/ 423806 h 2003425"/>
                <a:gd name="connsiteX2122" fmla="*/ 1031517 w 1674813"/>
                <a:gd name="connsiteY2122" fmla="*/ 404467 h 2003425"/>
                <a:gd name="connsiteX2123" fmla="*/ 1057673 w 1674813"/>
                <a:gd name="connsiteY2123" fmla="*/ 338932 h 2003425"/>
                <a:gd name="connsiteX2124" fmla="*/ 1088688 w 1674813"/>
                <a:gd name="connsiteY2124" fmla="*/ 277405 h 2003425"/>
                <a:gd name="connsiteX2125" fmla="*/ 1089964 w 1674813"/>
                <a:gd name="connsiteY2125" fmla="*/ 274483 h 2003425"/>
                <a:gd name="connsiteX2126" fmla="*/ 1091020 w 1674813"/>
                <a:gd name="connsiteY2126" fmla="*/ 272779 h 2003425"/>
                <a:gd name="connsiteX2127" fmla="*/ 1098098 w 1674813"/>
                <a:gd name="connsiteY2127" fmla="*/ 258738 h 2003425"/>
                <a:gd name="connsiteX2128" fmla="*/ 1215561 w 1674813"/>
                <a:gd name="connsiteY2128" fmla="*/ 80193 h 2003425"/>
                <a:gd name="connsiteX2129" fmla="*/ 1293402 w 1674813"/>
                <a:gd name="connsiteY2129" fmla="*/ 7769 h 20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</a:cxnLst>
              <a:rect l="l" t="t" r="r" b="b"/>
              <a:pathLst>
                <a:path w="1674813" h="2003425">
                  <a:moveTo>
                    <a:pt x="764268" y="1212216"/>
                  </a:moveTo>
                  <a:lnTo>
                    <a:pt x="760744" y="1213963"/>
                  </a:lnTo>
                  <a:lnTo>
                    <a:pt x="761839" y="1218316"/>
                  </a:lnTo>
                  <a:lnTo>
                    <a:pt x="762001" y="1218959"/>
                  </a:lnTo>
                  <a:close/>
                  <a:moveTo>
                    <a:pt x="734977" y="1199195"/>
                  </a:moveTo>
                  <a:lnTo>
                    <a:pt x="733264" y="1200328"/>
                  </a:lnTo>
                  <a:lnTo>
                    <a:pt x="733872" y="1202141"/>
                  </a:lnTo>
                  <a:cubicBezTo>
                    <a:pt x="734889" y="1205174"/>
                    <a:pt x="736414" y="1209723"/>
                    <a:pt x="738703" y="1216547"/>
                  </a:cubicBezTo>
                  <a:lnTo>
                    <a:pt x="738996" y="1217422"/>
                  </a:lnTo>
                  <a:lnTo>
                    <a:pt x="744731" y="1208892"/>
                  </a:lnTo>
                  <a:close/>
                  <a:moveTo>
                    <a:pt x="764268" y="1179831"/>
                  </a:moveTo>
                  <a:cubicBezTo>
                    <a:pt x="764268" y="1179831"/>
                    <a:pt x="764268" y="1179831"/>
                    <a:pt x="758145" y="1183879"/>
                  </a:cubicBezTo>
                  <a:lnTo>
                    <a:pt x="753886" y="1186694"/>
                  </a:lnTo>
                  <a:lnTo>
                    <a:pt x="755457" y="1192937"/>
                  </a:lnTo>
                  <a:lnTo>
                    <a:pt x="759165" y="1187421"/>
                  </a:lnTo>
                  <a:cubicBezTo>
                    <a:pt x="762227" y="1182867"/>
                    <a:pt x="764268" y="1179831"/>
                    <a:pt x="764268" y="1179831"/>
                  </a:cubicBezTo>
                  <a:close/>
                  <a:moveTo>
                    <a:pt x="748110" y="1163724"/>
                  </a:moveTo>
                  <a:lnTo>
                    <a:pt x="749070" y="1167541"/>
                  </a:lnTo>
                  <a:lnTo>
                    <a:pt x="750305" y="1165907"/>
                  </a:lnTo>
                  <a:close/>
                  <a:moveTo>
                    <a:pt x="757670" y="1150717"/>
                  </a:moveTo>
                  <a:lnTo>
                    <a:pt x="756103" y="1151494"/>
                  </a:lnTo>
                  <a:lnTo>
                    <a:pt x="752090" y="1153484"/>
                  </a:lnTo>
                  <a:lnTo>
                    <a:pt x="753195" y="1155131"/>
                  </a:lnTo>
                  <a:lnTo>
                    <a:pt x="755667" y="1158818"/>
                  </a:lnTo>
                  <a:lnTo>
                    <a:pt x="756614" y="1157566"/>
                  </a:lnTo>
                  <a:lnTo>
                    <a:pt x="760967" y="1151810"/>
                  </a:lnTo>
                  <a:close/>
                  <a:moveTo>
                    <a:pt x="749781" y="1029473"/>
                  </a:moveTo>
                  <a:lnTo>
                    <a:pt x="748418" y="1033645"/>
                  </a:lnTo>
                  <a:lnTo>
                    <a:pt x="746186" y="1049975"/>
                  </a:lnTo>
                  <a:close/>
                  <a:moveTo>
                    <a:pt x="715282" y="1001713"/>
                  </a:moveTo>
                  <a:lnTo>
                    <a:pt x="715120" y="1001882"/>
                  </a:lnTo>
                  <a:lnTo>
                    <a:pt x="715084" y="1001811"/>
                  </a:lnTo>
                  <a:close/>
                  <a:moveTo>
                    <a:pt x="821907" y="940961"/>
                  </a:moveTo>
                  <a:lnTo>
                    <a:pt x="820289" y="948964"/>
                  </a:lnTo>
                  <a:lnTo>
                    <a:pt x="837605" y="969620"/>
                  </a:lnTo>
                  <a:lnTo>
                    <a:pt x="840853" y="973494"/>
                  </a:lnTo>
                  <a:lnTo>
                    <a:pt x="837456" y="953327"/>
                  </a:lnTo>
                  <a:lnTo>
                    <a:pt x="823780" y="942451"/>
                  </a:lnTo>
                  <a:close/>
                  <a:moveTo>
                    <a:pt x="894484" y="936890"/>
                  </a:moveTo>
                  <a:lnTo>
                    <a:pt x="894438" y="937121"/>
                  </a:lnTo>
                  <a:lnTo>
                    <a:pt x="894486" y="937182"/>
                  </a:lnTo>
                  <a:close/>
                  <a:moveTo>
                    <a:pt x="796925" y="921094"/>
                  </a:moveTo>
                  <a:cubicBezTo>
                    <a:pt x="796925" y="921094"/>
                    <a:pt x="802010" y="927160"/>
                    <a:pt x="809638" y="936259"/>
                  </a:cubicBezTo>
                  <a:lnTo>
                    <a:pt x="812944" y="940203"/>
                  </a:lnTo>
                  <a:lnTo>
                    <a:pt x="812944" y="936890"/>
                  </a:lnTo>
                  <a:lnTo>
                    <a:pt x="812944" y="933833"/>
                  </a:lnTo>
                  <a:close/>
                  <a:moveTo>
                    <a:pt x="861868" y="920751"/>
                  </a:moveTo>
                  <a:cubicBezTo>
                    <a:pt x="861868" y="920751"/>
                    <a:pt x="861868" y="920751"/>
                    <a:pt x="859830" y="930838"/>
                  </a:cubicBezTo>
                  <a:lnTo>
                    <a:pt x="855569" y="951924"/>
                  </a:lnTo>
                  <a:lnTo>
                    <a:pt x="868115" y="970631"/>
                  </a:lnTo>
                  <a:lnTo>
                    <a:pt x="870991" y="974919"/>
                  </a:lnTo>
                  <a:lnTo>
                    <a:pt x="870022" y="969170"/>
                  </a:lnTo>
                  <a:cubicBezTo>
                    <a:pt x="865945" y="944960"/>
                    <a:pt x="861868" y="920751"/>
                    <a:pt x="861868" y="920751"/>
                  </a:cubicBezTo>
                  <a:close/>
                  <a:moveTo>
                    <a:pt x="471375" y="920751"/>
                  </a:moveTo>
                  <a:cubicBezTo>
                    <a:pt x="471375" y="920751"/>
                    <a:pt x="471375" y="920751"/>
                    <a:pt x="485056" y="934368"/>
                  </a:cubicBezTo>
                  <a:lnTo>
                    <a:pt x="487528" y="936828"/>
                  </a:lnTo>
                  <a:lnTo>
                    <a:pt x="482114" y="926095"/>
                  </a:lnTo>
                  <a:close/>
                  <a:moveTo>
                    <a:pt x="877752" y="916389"/>
                  </a:moveTo>
                  <a:lnTo>
                    <a:pt x="883487" y="923515"/>
                  </a:lnTo>
                  <a:lnTo>
                    <a:pt x="918569" y="941770"/>
                  </a:lnTo>
                  <a:lnTo>
                    <a:pt x="900004" y="929036"/>
                  </a:lnTo>
                  <a:close/>
                  <a:moveTo>
                    <a:pt x="254292" y="906846"/>
                  </a:moveTo>
                  <a:lnTo>
                    <a:pt x="222400" y="933939"/>
                  </a:lnTo>
                  <a:lnTo>
                    <a:pt x="243451" y="920667"/>
                  </a:lnTo>
                  <a:cubicBezTo>
                    <a:pt x="243451" y="920667"/>
                    <a:pt x="259735" y="1017421"/>
                    <a:pt x="259735" y="1017421"/>
                  </a:cubicBezTo>
                  <a:cubicBezTo>
                    <a:pt x="259735" y="1017421"/>
                    <a:pt x="259735" y="1017421"/>
                    <a:pt x="227166" y="936793"/>
                  </a:cubicBezTo>
                  <a:cubicBezTo>
                    <a:pt x="227166" y="936793"/>
                    <a:pt x="227166" y="1033547"/>
                    <a:pt x="227166" y="1033547"/>
                  </a:cubicBezTo>
                  <a:cubicBezTo>
                    <a:pt x="227166" y="1033547"/>
                    <a:pt x="227166" y="1033547"/>
                    <a:pt x="194597" y="969044"/>
                  </a:cubicBezTo>
                  <a:cubicBezTo>
                    <a:pt x="194597" y="969044"/>
                    <a:pt x="210881" y="1049673"/>
                    <a:pt x="210881" y="1049673"/>
                  </a:cubicBezTo>
                  <a:cubicBezTo>
                    <a:pt x="210881" y="1049673"/>
                    <a:pt x="210881" y="1049673"/>
                    <a:pt x="190271" y="1022461"/>
                  </a:cubicBezTo>
                  <a:lnTo>
                    <a:pt x="162053" y="985204"/>
                  </a:lnTo>
                  <a:lnTo>
                    <a:pt x="162037" y="985217"/>
                  </a:lnTo>
                  <a:lnTo>
                    <a:pt x="164572" y="997768"/>
                  </a:lnTo>
                  <a:cubicBezTo>
                    <a:pt x="169152" y="1020445"/>
                    <a:pt x="178312" y="1065798"/>
                    <a:pt x="178312" y="1065798"/>
                  </a:cubicBezTo>
                  <a:cubicBezTo>
                    <a:pt x="178312" y="1065798"/>
                    <a:pt x="178312" y="1065798"/>
                    <a:pt x="145742" y="1001296"/>
                  </a:cubicBezTo>
                  <a:cubicBezTo>
                    <a:pt x="145742" y="1001296"/>
                    <a:pt x="145742" y="1081924"/>
                    <a:pt x="145742" y="1081924"/>
                  </a:cubicBezTo>
                  <a:cubicBezTo>
                    <a:pt x="145742" y="1081924"/>
                    <a:pt x="145742" y="1081924"/>
                    <a:pt x="113173" y="1033547"/>
                  </a:cubicBezTo>
                  <a:cubicBezTo>
                    <a:pt x="113173" y="1033547"/>
                    <a:pt x="113173" y="1098050"/>
                    <a:pt x="113173" y="1098050"/>
                  </a:cubicBezTo>
                  <a:cubicBezTo>
                    <a:pt x="113173" y="1098050"/>
                    <a:pt x="113173" y="1098050"/>
                    <a:pt x="96888" y="1049673"/>
                  </a:cubicBezTo>
                  <a:cubicBezTo>
                    <a:pt x="96888" y="1049673"/>
                    <a:pt x="96888" y="1098050"/>
                    <a:pt x="96888" y="1098050"/>
                  </a:cubicBezTo>
                  <a:cubicBezTo>
                    <a:pt x="96888" y="1098050"/>
                    <a:pt x="96888" y="1098050"/>
                    <a:pt x="80604" y="1065798"/>
                  </a:cubicBezTo>
                  <a:cubicBezTo>
                    <a:pt x="80604" y="1065798"/>
                    <a:pt x="64319" y="1114175"/>
                    <a:pt x="64319" y="1114175"/>
                  </a:cubicBezTo>
                  <a:cubicBezTo>
                    <a:pt x="64319" y="1114175"/>
                    <a:pt x="64319" y="1114175"/>
                    <a:pt x="64319" y="1081924"/>
                  </a:cubicBezTo>
                  <a:cubicBezTo>
                    <a:pt x="64319" y="1081924"/>
                    <a:pt x="64319" y="1081924"/>
                    <a:pt x="48034" y="1114175"/>
                  </a:cubicBezTo>
                  <a:cubicBezTo>
                    <a:pt x="48034" y="1114175"/>
                    <a:pt x="31750" y="1114175"/>
                    <a:pt x="31750" y="1130301"/>
                  </a:cubicBezTo>
                  <a:cubicBezTo>
                    <a:pt x="31750" y="1130301"/>
                    <a:pt x="31750" y="1130301"/>
                    <a:pt x="48034" y="1098050"/>
                  </a:cubicBezTo>
                  <a:lnTo>
                    <a:pt x="48055" y="1098012"/>
                  </a:lnTo>
                  <a:lnTo>
                    <a:pt x="47625" y="1098551"/>
                  </a:lnTo>
                  <a:lnTo>
                    <a:pt x="48203" y="1097741"/>
                  </a:lnTo>
                  <a:lnTo>
                    <a:pt x="69408" y="1058995"/>
                  </a:lnTo>
                  <a:lnTo>
                    <a:pt x="99324" y="1026143"/>
                  </a:lnTo>
                  <a:lnTo>
                    <a:pt x="101822" y="1022645"/>
                  </a:lnTo>
                  <a:lnTo>
                    <a:pt x="107230" y="1017462"/>
                  </a:lnTo>
                  <a:lnTo>
                    <a:pt x="109102" y="1015406"/>
                  </a:lnTo>
                  <a:lnTo>
                    <a:pt x="110789" y="1014050"/>
                  </a:lnTo>
                  <a:lnTo>
                    <a:pt x="163653" y="963382"/>
                  </a:lnTo>
                  <a:cubicBezTo>
                    <a:pt x="185027" y="946234"/>
                    <a:pt x="206909" y="931607"/>
                    <a:pt x="228537" y="919250"/>
                  </a:cubicBezTo>
                  <a:close/>
                  <a:moveTo>
                    <a:pt x="829252" y="904611"/>
                  </a:moveTo>
                  <a:cubicBezTo>
                    <a:pt x="829252" y="904611"/>
                    <a:pt x="829252" y="904611"/>
                    <a:pt x="828997" y="905872"/>
                  </a:cubicBezTo>
                  <a:lnTo>
                    <a:pt x="827999" y="910814"/>
                  </a:lnTo>
                  <a:lnTo>
                    <a:pt x="831067" y="915390"/>
                  </a:lnTo>
                  <a:lnTo>
                    <a:pt x="829953" y="908772"/>
                  </a:lnTo>
                  <a:cubicBezTo>
                    <a:pt x="829507" y="906124"/>
                    <a:pt x="829252" y="904611"/>
                    <a:pt x="829252" y="904611"/>
                  </a:cubicBezTo>
                  <a:close/>
                  <a:moveTo>
                    <a:pt x="600982" y="872173"/>
                  </a:moveTo>
                  <a:cubicBezTo>
                    <a:pt x="600982" y="872173"/>
                    <a:pt x="600982" y="872173"/>
                    <a:pt x="598941" y="874197"/>
                  </a:cubicBezTo>
                  <a:lnTo>
                    <a:pt x="596076" y="877038"/>
                  </a:lnTo>
                  <a:lnTo>
                    <a:pt x="599033" y="900493"/>
                  </a:lnTo>
                  <a:cubicBezTo>
                    <a:pt x="599797" y="906549"/>
                    <a:pt x="600434" y="911597"/>
                    <a:pt x="600879" y="915130"/>
                  </a:cubicBezTo>
                  <a:lnTo>
                    <a:pt x="600982" y="915943"/>
                  </a:lnTo>
                  <a:lnTo>
                    <a:pt x="600982" y="914678"/>
                  </a:lnTo>
                  <a:cubicBezTo>
                    <a:pt x="600982" y="908606"/>
                    <a:pt x="600982" y="896462"/>
                    <a:pt x="600982" y="872173"/>
                  </a:cubicBezTo>
                  <a:close/>
                  <a:moveTo>
                    <a:pt x="36280" y="869393"/>
                  </a:moveTo>
                  <a:lnTo>
                    <a:pt x="34552" y="871109"/>
                  </a:lnTo>
                  <a:cubicBezTo>
                    <a:pt x="32519" y="873126"/>
                    <a:pt x="32519" y="873126"/>
                    <a:pt x="32519" y="873126"/>
                  </a:cubicBezTo>
                  <a:close/>
                  <a:moveTo>
                    <a:pt x="335306" y="868711"/>
                  </a:moveTo>
                  <a:lnTo>
                    <a:pt x="291895" y="888736"/>
                  </a:lnTo>
                  <a:lnTo>
                    <a:pt x="254292" y="906846"/>
                  </a:lnTo>
                  <a:lnTo>
                    <a:pt x="275610" y="888736"/>
                  </a:lnTo>
                  <a:close/>
                  <a:moveTo>
                    <a:pt x="764988" y="868077"/>
                  </a:moveTo>
                  <a:lnTo>
                    <a:pt x="764883" y="868492"/>
                  </a:lnTo>
                  <a:lnTo>
                    <a:pt x="794307" y="879301"/>
                  </a:lnTo>
                  <a:lnTo>
                    <a:pt x="794935" y="877700"/>
                  </a:lnTo>
                  <a:close/>
                  <a:moveTo>
                    <a:pt x="755135" y="864910"/>
                  </a:moveTo>
                  <a:lnTo>
                    <a:pt x="763099" y="867836"/>
                  </a:lnTo>
                  <a:lnTo>
                    <a:pt x="763041" y="867451"/>
                  </a:lnTo>
                  <a:close/>
                  <a:moveTo>
                    <a:pt x="715048" y="852029"/>
                  </a:moveTo>
                  <a:lnTo>
                    <a:pt x="715048" y="852445"/>
                  </a:lnTo>
                  <a:lnTo>
                    <a:pt x="719562" y="853479"/>
                  </a:lnTo>
                  <a:close/>
                  <a:moveTo>
                    <a:pt x="861387" y="847994"/>
                  </a:moveTo>
                  <a:lnTo>
                    <a:pt x="861387" y="851539"/>
                  </a:lnTo>
                  <a:lnTo>
                    <a:pt x="861387" y="855771"/>
                  </a:lnTo>
                  <a:lnTo>
                    <a:pt x="878285" y="872568"/>
                  </a:lnTo>
                  <a:lnTo>
                    <a:pt x="893221" y="887416"/>
                  </a:lnTo>
                  <a:lnTo>
                    <a:pt x="888825" y="878711"/>
                  </a:lnTo>
                  <a:cubicBezTo>
                    <a:pt x="885777" y="872673"/>
                    <a:pt x="881712" y="864622"/>
                    <a:pt x="877647" y="856571"/>
                  </a:cubicBezTo>
                  <a:lnTo>
                    <a:pt x="877313" y="855910"/>
                  </a:lnTo>
                  <a:close/>
                  <a:moveTo>
                    <a:pt x="695856" y="846027"/>
                  </a:moveTo>
                  <a:lnTo>
                    <a:pt x="696756" y="846151"/>
                  </a:lnTo>
                  <a:lnTo>
                    <a:pt x="697987" y="846546"/>
                  </a:lnTo>
                  <a:close/>
                  <a:moveTo>
                    <a:pt x="926426" y="840469"/>
                  </a:moveTo>
                  <a:cubicBezTo>
                    <a:pt x="926426" y="840469"/>
                    <a:pt x="926426" y="840469"/>
                    <a:pt x="910166" y="888774"/>
                  </a:cubicBezTo>
                  <a:cubicBezTo>
                    <a:pt x="910166" y="888774"/>
                    <a:pt x="909150" y="884749"/>
                    <a:pt x="907626" y="878711"/>
                  </a:cubicBezTo>
                  <a:lnTo>
                    <a:pt x="905393" y="869867"/>
                  </a:lnTo>
                  <a:lnTo>
                    <a:pt x="902692" y="868524"/>
                  </a:lnTo>
                  <a:lnTo>
                    <a:pt x="893907" y="864158"/>
                  </a:lnTo>
                  <a:lnTo>
                    <a:pt x="893907" y="888098"/>
                  </a:lnTo>
                  <a:lnTo>
                    <a:pt x="900658" y="894809"/>
                  </a:lnTo>
                  <a:cubicBezTo>
                    <a:pt x="906760" y="900875"/>
                    <a:pt x="910828" y="904919"/>
                    <a:pt x="910828" y="904919"/>
                  </a:cubicBezTo>
                  <a:cubicBezTo>
                    <a:pt x="910828" y="904919"/>
                    <a:pt x="910828" y="904919"/>
                    <a:pt x="876505" y="884447"/>
                  </a:cubicBezTo>
                  <a:lnTo>
                    <a:pt x="861387" y="875430"/>
                  </a:lnTo>
                  <a:lnTo>
                    <a:pt x="861387" y="888774"/>
                  </a:lnTo>
                  <a:cubicBezTo>
                    <a:pt x="861387" y="888774"/>
                    <a:pt x="860371" y="883743"/>
                    <a:pt x="858846" y="876195"/>
                  </a:cubicBezTo>
                  <a:lnTo>
                    <a:pt x="858323" y="873602"/>
                  </a:lnTo>
                  <a:lnTo>
                    <a:pt x="856324" y="872410"/>
                  </a:lnTo>
                  <a:lnTo>
                    <a:pt x="834769" y="859554"/>
                  </a:lnTo>
                  <a:lnTo>
                    <a:pt x="834216" y="862292"/>
                  </a:lnTo>
                  <a:lnTo>
                    <a:pt x="839639" y="869030"/>
                  </a:lnTo>
                  <a:cubicBezTo>
                    <a:pt x="845741" y="876612"/>
                    <a:pt x="853877" y="886721"/>
                    <a:pt x="862013" y="896831"/>
                  </a:cubicBezTo>
                  <a:lnTo>
                    <a:pt x="873008" y="910494"/>
                  </a:lnTo>
                  <a:lnTo>
                    <a:pt x="929761" y="938638"/>
                  </a:lnTo>
                  <a:lnTo>
                    <a:pt x="934244" y="942016"/>
                  </a:lnTo>
                  <a:lnTo>
                    <a:pt x="937337" y="910172"/>
                  </a:lnTo>
                  <a:lnTo>
                    <a:pt x="940149" y="881236"/>
                  </a:lnTo>
                  <a:lnTo>
                    <a:pt x="940146" y="881227"/>
                  </a:lnTo>
                  <a:cubicBezTo>
                    <a:pt x="935573" y="867641"/>
                    <a:pt x="926426" y="840469"/>
                    <a:pt x="926426" y="840469"/>
                  </a:cubicBezTo>
                  <a:close/>
                  <a:moveTo>
                    <a:pt x="845741" y="840217"/>
                  </a:moveTo>
                  <a:lnTo>
                    <a:pt x="853047" y="847480"/>
                  </a:lnTo>
                  <a:lnTo>
                    <a:pt x="852232" y="843444"/>
                  </a:lnTo>
                  <a:close/>
                  <a:moveTo>
                    <a:pt x="600941" y="840053"/>
                  </a:moveTo>
                  <a:cubicBezTo>
                    <a:pt x="600941" y="840053"/>
                    <a:pt x="600941" y="840053"/>
                    <a:pt x="602979" y="844088"/>
                  </a:cubicBezTo>
                  <a:lnTo>
                    <a:pt x="607121" y="852285"/>
                  </a:lnTo>
                  <a:lnTo>
                    <a:pt x="609656" y="853451"/>
                  </a:lnTo>
                  <a:lnTo>
                    <a:pt x="621023" y="862324"/>
                  </a:lnTo>
                  <a:lnTo>
                    <a:pt x="614203" y="848803"/>
                  </a:lnTo>
                  <a:close/>
                  <a:moveTo>
                    <a:pt x="471436" y="840039"/>
                  </a:moveTo>
                  <a:cubicBezTo>
                    <a:pt x="471436" y="840039"/>
                    <a:pt x="471436" y="840039"/>
                    <a:pt x="464566" y="860448"/>
                  </a:cubicBezTo>
                  <a:lnTo>
                    <a:pt x="458095" y="879670"/>
                  </a:lnTo>
                  <a:lnTo>
                    <a:pt x="459518" y="878389"/>
                  </a:lnTo>
                  <a:lnTo>
                    <a:pt x="471436" y="866890"/>
                  </a:lnTo>
                  <a:lnTo>
                    <a:pt x="471436" y="858684"/>
                  </a:lnTo>
                  <a:cubicBezTo>
                    <a:pt x="471436" y="854149"/>
                    <a:pt x="471436" y="848102"/>
                    <a:pt x="471436" y="840039"/>
                  </a:cubicBezTo>
                  <a:close/>
                  <a:moveTo>
                    <a:pt x="560711" y="839656"/>
                  </a:moveTo>
                  <a:lnTo>
                    <a:pt x="558178" y="839788"/>
                  </a:lnTo>
                  <a:lnTo>
                    <a:pt x="560778" y="839788"/>
                  </a:lnTo>
                  <a:close/>
                  <a:moveTo>
                    <a:pt x="632112" y="837227"/>
                  </a:moveTo>
                  <a:lnTo>
                    <a:pt x="633537" y="840049"/>
                  </a:lnTo>
                  <a:lnTo>
                    <a:pt x="633557" y="840053"/>
                  </a:lnTo>
                  <a:cubicBezTo>
                    <a:pt x="633557" y="840053"/>
                    <a:pt x="633557" y="840053"/>
                    <a:pt x="649865" y="872332"/>
                  </a:cubicBezTo>
                  <a:cubicBezTo>
                    <a:pt x="649865" y="872332"/>
                    <a:pt x="649865" y="872332"/>
                    <a:pt x="643749" y="868297"/>
                  </a:cubicBezTo>
                  <a:lnTo>
                    <a:pt x="629959" y="859199"/>
                  </a:lnTo>
                  <a:lnTo>
                    <a:pt x="631600" y="870581"/>
                  </a:lnTo>
                  <a:lnTo>
                    <a:pt x="633639" y="872173"/>
                  </a:lnTo>
                  <a:cubicBezTo>
                    <a:pt x="645886" y="884318"/>
                    <a:pt x="658132" y="901016"/>
                    <a:pt x="671240" y="922269"/>
                  </a:cubicBezTo>
                  <a:lnTo>
                    <a:pt x="674610" y="928371"/>
                  </a:lnTo>
                  <a:lnTo>
                    <a:pt x="678543" y="932856"/>
                  </a:lnTo>
                  <a:cubicBezTo>
                    <a:pt x="696912" y="957065"/>
                    <a:pt x="715282" y="985309"/>
                    <a:pt x="731610" y="1017588"/>
                  </a:cubicBezTo>
                  <a:lnTo>
                    <a:pt x="706428" y="985970"/>
                  </a:lnTo>
                  <a:lnTo>
                    <a:pt x="714006" y="999689"/>
                  </a:lnTo>
                  <a:lnTo>
                    <a:pt x="715084" y="1001811"/>
                  </a:lnTo>
                  <a:lnTo>
                    <a:pt x="714261" y="1002219"/>
                  </a:lnTo>
                  <a:cubicBezTo>
                    <a:pt x="711200" y="1003737"/>
                    <a:pt x="698953" y="1009809"/>
                    <a:pt x="649968" y="1034098"/>
                  </a:cubicBezTo>
                  <a:cubicBezTo>
                    <a:pt x="649968" y="1034098"/>
                    <a:pt x="682625" y="985521"/>
                    <a:pt x="682625" y="985521"/>
                  </a:cubicBezTo>
                  <a:cubicBezTo>
                    <a:pt x="682625" y="985521"/>
                    <a:pt x="682625" y="985521"/>
                    <a:pt x="649968" y="1017906"/>
                  </a:cubicBezTo>
                  <a:cubicBezTo>
                    <a:pt x="649968" y="1017906"/>
                    <a:pt x="682625" y="969328"/>
                    <a:pt x="682625" y="969328"/>
                  </a:cubicBezTo>
                  <a:cubicBezTo>
                    <a:pt x="682625" y="969328"/>
                    <a:pt x="682625" y="969328"/>
                    <a:pt x="633639" y="985521"/>
                  </a:cubicBezTo>
                  <a:cubicBezTo>
                    <a:pt x="633639" y="985521"/>
                    <a:pt x="633639" y="985521"/>
                    <a:pt x="666296" y="953136"/>
                  </a:cubicBezTo>
                  <a:cubicBezTo>
                    <a:pt x="666296" y="953136"/>
                    <a:pt x="666296" y="953136"/>
                    <a:pt x="633639" y="969328"/>
                  </a:cubicBezTo>
                  <a:cubicBezTo>
                    <a:pt x="633639" y="969328"/>
                    <a:pt x="633639" y="969328"/>
                    <a:pt x="649968" y="936943"/>
                  </a:cubicBezTo>
                  <a:cubicBezTo>
                    <a:pt x="649968" y="936943"/>
                    <a:pt x="649968" y="936943"/>
                    <a:pt x="617310" y="953136"/>
                  </a:cubicBezTo>
                  <a:cubicBezTo>
                    <a:pt x="617310" y="953136"/>
                    <a:pt x="617310" y="953136"/>
                    <a:pt x="633639" y="904558"/>
                  </a:cubicBezTo>
                  <a:cubicBezTo>
                    <a:pt x="633639" y="904558"/>
                    <a:pt x="633639" y="904558"/>
                    <a:pt x="600982" y="936943"/>
                  </a:cubicBezTo>
                  <a:cubicBezTo>
                    <a:pt x="600982" y="936943"/>
                    <a:pt x="600982" y="936943"/>
                    <a:pt x="617310" y="888366"/>
                  </a:cubicBezTo>
                  <a:cubicBezTo>
                    <a:pt x="617310" y="888366"/>
                    <a:pt x="617310" y="888366"/>
                    <a:pt x="610422" y="902028"/>
                  </a:cubicBezTo>
                  <a:lnTo>
                    <a:pt x="601467" y="919789"/>
                  </a:lnTo>
                  <a:lnTo>
                    <a:pt x="601579" y="920682"/>
                  </a:lnTo>
                  <a:lnTo>
                    <a:pt x="601298" y="920124"/>
                  </a:lnTo>
                  <a:lnTo>
                    <a:pt x="600982" y="920751"/>
                  </a:lnTo>
                  <a:cubicBezTo>
                    <a:pt x="600982" y="920751"/>
                    <a:pt x="600982" y="920751"/>
                    <a:pt x="600982" y="919992"/>
                  </a:cubicBezTo>
                  <a:lnTo>
                    <a:pt x="600982" y="919497"/>
                  </a:lnTo>
                  <a:lnTo>
                    <a:pt x="600816" y="919168"/>
                  </a:lnTo>
                  <a:cubicBezTo>
                    <a:pt x="600052" y="917653"/>
                    <a:pt x="598524" y="914625"/>
                    <a:pt x="595469" y="908568"/>
                  </a:cubicBezTo>
                  <a:lnTo>
                    <a:pt x="585071" y="887952"/>
                  </a:lnTo>
                  <a:lnTo>
                    <a:pt x="584653" y="888366"/>
                  </a:lnTo>
                  <a:lnTo>
                    <a:pt x="583402" y="884644"/>
                  </a:lnTo>
                  <a:lnTo>
                    <a:pt x="580959" y="879799"/>
                  </a:lnTo>
                  <a:cubicBezTo>
                    <a:pt x="577522" y="872985"/>
                    <a:pt x="573512" y="865036"/>
                    <a:pt x="568835" y="855762"/>
                  </a:cubicBezTo>
                  <a:lnTo>
                    <a:pt x="567971" y="854050"/>
                  </a:lnTo>
                  <a:lnTo>
                    <a:pt x="567948" y="854333"/>
                  </a:lnTo>
                  <a:cubicBezTo>
                    <a:pt x="567270" y="862767"/>
                    <a:pt x="566198" y="876092"/>
                    <a:pt x="564504" y="897143"/>
                  </a:cubicBezTo>
                  <a:lnTo>
                    <a:pt x="564063" y="902618"/>
                  </a:lnTo>
                  <a:lnTo>
                    <a:pt x="566448" y="919167"/>
                  </a:lnTo>
                  <a:cubicBezTo>
                    <a:pt x="567975" y="929767"/>
                    <a:pt x="568994" y="936833"/>
                    <a:pt x="568994" y="936833"/>
                  </a:cubicBezTo>
                  <a:cubicBezTo>
                    <a:pt x="568994" y="936833"/>
                    <a:pt x="568994" y="936833"/>
                    <a:pt x="562884" y="926738"/>
                  </a:cubicBezTo>
                  <a:lnTo>
                    <a:pt x="562212" y="925627"/>
                  </a:lnTo>
                  <a:lnTo>
                    <a:pt x="561468" y="934870"/>
                  </a:lnTo>
                  <a:cubicBezTo>
                    <a:pt x="556722" y="993845"/>
                    <a:pt x="549033" y="1089400"/>
                    <a:pt x="536575" y="1244223"/>
                  </a:cubicBezTo>
                  <a:cubicBezTo>
                    <a:pt x="536575" y="1308932"/>
                    <a:pt x="536575" y="1373642"/>
                    <a:pt x="536575" y="1438351"/>
                  </a:cubicBezTo>
                  <a:cubicBezTo>
                    <a:pt x="536575" y="1438351"/>
                    <a:pt x="536575" y="1438351"/>
                    <a:pt x="580179" y="1720128"/>
                  </a:cubicBezTo>
                  <a:lnTo>
                    <a:pt x="590977" y="1789912"/>
                  </a:lnTo>
                  <a:lnTo>
                    <a:pt x="647156" y="1782403"/>
                  </a:lnTo>
                  <a:cubicBezTo>
                    <a:pt x="679943" y="1779510"/>
                    <a:pt x="713746" y="1778000"/>
                    <a:pt x="748311" y="1778000"/>
                  </a:cubicBezTo>
                  <a:cubicBezTo>
                    <a:pt x="817442" y="1778000"/>
                    <a:pt x="883523" y="1784038"/>
                    <a:pt x="944775" y="1795108"/>
                  </a:cubicBezTo>
                  <a:lnTo>
                    <a:pt x="947991" y="1795848"/>
                  </a:lnTo>
                  <a:lnTo>
                    <a:pt x="939370" y="1704254"/>
                  </a:lnTo>
                  <a:cubicBezTo>
                    <a:pt x="932524" y="1631518"/>
                    <a:pt x="923396" y="1534536"/>
                    <a:pt x="911225" y="1405227"/>
                  </a:cubicBezTo>
                  <a:cubicBezTo>
                    <a:pt x="911225" y="1324409"/>
                    <a:pt x="911225" y="1243590"/>
                    <a:pt x="911225" y="1178936"/>
                  </a:cubicBezTo>
                  <a:cubicBezTo>
                    <a:pt x="911225" y="1178936"/>
                    <a:pt x="911225" y="1178936"/>
                    <a:pt x="923110" y="1056604"/>
                  </a:cubicBezTo>
                  <a:lnTo>
                    <a:pt x="927100" y="1015538"/>
                  </a:lnTo>
                  <a:lnTo>
                    <a:pt x="927100" y="1009519"/>
                  </a:lnTo>
                  <a:cubicBezTo>
                    <a:pt x="927100" y="989344"/>
                    <a:pt x="927100" y="969170"/>
                    <a:pt x="927100" y="969170"/>
                  </a:cubicBezTo>
                  <a:cubicBezTo>
                    <a:pt x="927100" y="969170"/>
                    <a:pt x="927100" y="969170"/>
                    <a:pt x="910792" y="1033728"/>
                  </a:cubicBezTo>
                  <a:cubicBezTo>
                    <a:pt x="896523" y="1033728"/>
                    <a:pt x="894739" y="959587"/>
                    <a:pt x="894516" y="941051"/>
                  </a:cubicBezTo>
                  <a:lnTo>
                    <a:pt x="894487" y="937228"/>
                  </a:lnTo>
                  <a:lnTo>
                    <a:pt x="894424" y="937190"/>
                  </a:lnTo>
                  <a:lnTo>
                    <a:pt x="894229" y="938151"/>
                  </a:lnTo>
                  <a:cubicBezTo>
                    <a:pt x="893465" y="941934"/>
                    <a:pt x="890407" y="957065"/>
                    <a:pt x="878176" y="1017588"/>
                  </a:cubicBezTo>
                  <a:cubicBezTo>
                    <a:pt x="878176" y="1017588"/>
                    <a:pt x="877157" y="1011536"/>
                    <a:pt x="875628" y="1002458"/>
                  </a:cubicBezTo>
                  <a:lnTo>
                    <a:pt x="871977" y="980780"/>
                  </a:lnTo>
                  <a:lnTo>
                    <a:pt x="868115" y="977708"/>
                  </a:lnTo>
                  <a:lnTo>
                    <a:pt x="852817" y="965542"/>
                  </a:lnTo>
                  <a:lnTo>
                    <a:pt x="849198" y="983449"/>
                  </a:lnTo>
                  <a:lnTo>
                    <a:pt x="865572" y="1002982"/>
                  </a:lnTo>
                  <a:cubicBezTo>
                    <a:pt x="873200" y="1012080"/>
                    <a:pt x="878285" y="1018146"/>
                    <a:pt x="878285" y="1018146"/>
                  </a:cubicBezTo>
                  <a:cubicBezTo>
                    <a:pt x="878285" y="1018146"/>
                    <a:pt x="878285" y="1018146"/>
                    <a:pt x="866081" y="1010058"/>
                  </a:cubicBezTo>
                  <a:lnTo>
                    <a:pt x="846449" y="997049"/>
                  </a:lnTo>
                  <a:lnTo>
                    <a:pt x="845560" y="1001449"/>
                  </a:lnTo>
                  <a:cubicBezTo>
                    <a:pt x="845560" y="1001449"/>
                    <a:pt x="845305" y="999936"/>
                    <a:pt x="844860" y="997288"/>
                  </a:cubicBezTo>
                  <a:lnTo>
                    <a:pt x="844614" y="995833"/>
                  </a:lnTo>
                  <a:lnTo>
                    <a:pt x="837096" y="990850"/>
                  </a:lnTo>
                  <a:lnTo>
                    <a:pt x="814809" y="976080"/>
                  </a:lnTo>
                  <a:lnTo>
                    <a:pt x="812944" y="985309"/>
                  </a:lnTo>
                  <a:cubicBezTo>
                    <a:pt x="812944" y="985309"/>
                    <a:pt x="812944" y="983796"/>
                    <a:pt x="812944" y="981148"/>
                  </a:cubicBezTo>
                  <a:lnTo>
                    <a:pt x="812944" y="974844"/>
                  </a:lnTo>
                  <a:lnTo>
                    <a:pt x="812879" y="974801"/>
                  </a:lnTo>
                  <a:cubicBezTo>
                    <a:pt x="803536" y="968609"/>
                    <a:pt x="792857" y="961533"/>
                    <a:pt x="780653" y="953445"/>
                  </a:cubicBezTo>
                  <a:cubicBezTo>
                    <a:pt x="780653" y="953445"/>
                    <a:pt x="862013" y="1050497"/>
                    <a:pt x="862013" y="1050497"/>
                  </a:cubicBezTo>
                  <a:cubicBezTo>
                    <a:pt x="862013" y="1050497"/>
                    <a:pt x="862013" y="1050497"/>
                    <a:pt x="780653" y="1001971"/>
                  </a:cubicBezTo>
                  <a:cubicBezTo>
                    <a:pt x="780653" y="1001971"/>
                    <a:pt x="845741" y="1066672"/>
                    <a:pt x="845741" y="1082848"/>
                  </a:cubicBezTo>
                  <a:cubicBezTo>
                    <a:pt x="845741" y="1082848"/>
                    <a:pt x="845741" y="1082848"/>
                    <a:pt x="764382" y="1034322"/>
                  </a:cubicBezTo>
                  <a:cubicBezTo>
                    <a:pt x="764382" y="1034322"/>
                    <a:pt x="829469" y="1099023"/>
                    <a:pt x="829469" y="1099023"/>
                  </a:cubicBezTo>
                  <a:cubicBezTo>
                    <a:pt x="829469" y="1099023"/>
                    <a:pt x="829469" y="1099023"/>
                    <a:pt x="774965" y="1077350"/>
                  </a:cubicBezTo>
                  <a:lnTo>
                    <a:pt x="754306" y="1069136"/>
                  </a:lnTo>
                  <a:lnTo>
                    <a:pt x="755593" y="1072060"/>
                  </a:lnTo>
                  <a:lnTo>
                    <a:pt x="756531" y="1075043"/>
                  </a:lnTo>
                  <a:lnTo>
                    <a:pt x="758280" y="1076782"/>
                  </a:lnTo>
                  <a:cubicBezTo>
                    <a:pt x="776586" y="1094979"/>
                    <a:pt x="813197" y="1131374"/>
                    <a:pt x="813197" y="1131374"/>
                  </a:cubicBezTo>
                  <a:cubicBezTo>
                    <a:pt x="813197" y="1131374"/>
                    <a:pt x="813197" y="1131374"/>
                    <a:pt x="785738" y="1124550"/>
                  </a:cubicBezTo>
                  <a:lnTo>
                    <a:pt x="770932" y="1120870"/>
                  </a:lnTo>
                  <a:lnTo>
                    <a:pt x="776514" y="1138635"/>
                  </a:lnTo>
                  <a:lnTo>
                    <a:pt x="777624" y="1144538"/>
                  </a:lnTo>
                  <a:lnTo>
                    <a:pt x="789298" y="1156142"/>
                  </a:lnTo>
                  <a:cubicBezTo>
                    <a:pt x="793874" y="1160691"/>
                    <a:pt x="796925" y="1163724"/>
                    <a:pt x="796925" y="1163724"/>
                  </a:cubicBezTo>
                  <a:cubicBezTo>
                    <a:pt x="796925" y="1163724"/>
                    <a:pt x="796925" y="1163724"/>
                    <a:pt x="790823" y="1161702"/>
                  </a:cubicBezTo>
                  <a:lnTo>
                    <a:pt x="780498" y="1158281"/>
                  </a:lnTo>
                  <a:lnTo>
                    <a:pt x="790802" y="1206143"/>
                  </a:lnTo>
                  <a:cubicBezTo>
                    <a:pt x="793863" y="1227396"/>
                    <a:pt x="795394" y="1247131"/>
                    <a:pt x="796159" y="1264588"/>
                  </a:cubicBezTo>
                  <a:lnTo>
                    <a:pt x="796895" y="1307616"/>
                  </a:lnTo>
                  <a:lnTo>
                    <a:pt x="796925" y="1308101"/>
                  </a:lnTo>
                  <a:lnTo>
                    <a:pt x="796901" y="1307984"/>
                  </a:lnTo>
                  <a:lnTo>
                    <a:pt x="796925" y="1309371"/>
                  </a:lnTo>
                  <a:cubicBezTo>
                    <a:pt x="796925" y="1309371"/>
                    <a:pt x="796925" y="1309371"/>
                    <a:pt x="780596" y="1325563"/>
                  </a:cubicBezTo>
                  <a:cubicBezTo>
                    <a:pt x="780596" y="1325563"/>
                    <a:pt x="780596" y="1325563"/>
                    <a:pt x="780596" y="1276986"/>
                  </a:cubicBezTo>
                  <a:cubicBezTo>
                    <a:pt x="780596" y="1276986"/>
                    <a:pt x="780596" y="1276986"/>
                    <a:pt x="764268" y="1309371"/>
                  </a:cubicBezTo>
                  <a:cubicBezTo>
                    <a:pt x="764268" y="1309371"/>
                    <a:pt x="780596" y="1260793"/>
                    <a:pt x="780596" y="1260793"/>
                  </a:cubicBezTo>
                  <a:cubicBezTo>
                    <a:pt x="780596" y="1260793"/>
                    <a:pt x="780596" y="1260793"/>
                    <a:pt x="747939" y="1276986"/>
                  </a:cubicBezTo>
                  <a:cubicBezTo>
                    <a:pt x="747939" y="1276986"/>
                    <a:pt x="764268" y="1244601"/>
                    <a:pt x="764268" y="1244601"/>
                  </a:cubicBezTo>
                  <a:cubicBezTo>
                    <a:pt x="764268" y="1244601"/>
                    <a:pt x="764268" y="1244601"/>
                    <a:pt x="747939" y="1260793"/>
                  </a:cubicBezTo>
                  <a:cubicBezTo>
                    <a:pt x="747939" y="1260793"/>
                    <a:pt x="752021" y="1248649"/>
                    <a:pt x="756104" y="1236504"/>
                  </a:cubicBezTo>
                  <a:lnTo>
                    <a:pt x="760212" y="1224281"/>
                  </a:lnTo>
                  <a:lnTo>
                    <a:pt x="753464" y="1217573"/>
                  </a:lnTo>
                  <a:lnTo>
                    <a:pt x="750490" y="1219047"/>
                  </a:lnTo>
                  <a:lnTo>
                    <a:pt x="741102" y="1223702"/>
                  </a:lnTo>
                  <a:lnTo>
                    <a:pt x="748110" y="1244601"/>
                  </a:lnTo>
                  <a:cubicBezTo>
                    <a:pt x="748110" y="1244601"/>
                    <a:pt x="748110" y="1244601"/>
                    <a:pt x="741245" y="1230953"/>
                  </a:cubicBezTo>
                  <a:lnTo>
                    <a:pt x="738297" y="1225093"/>
                  </a:lnTo>
                  <a:lnTo>
                    <a:pt x="731610" y="1228408"/>
                  </a:lnTo>
                  <a:lnTo>
                    <a:pt x="736389" y="1221299"/>
                  </a:lnTo>
                  <a:lnTo>
                    <a:pt x="731838" y="1212250"/>
                  </a:lnTo>
                  <a:lnTo>
                    <a:pt x="732015" y="1201153"/>
                  </a:lnTo>
                  <a:lnTo>
                    <a:pt x="715282" y="1212216"/>
                  </a:lnTo>
                  <a:cubicBezTo>
                    <a:pt x="715282" y="1212216"/>
                    <a:pt x="718343" y="1208167"/>
                    <a:pt x="722936" y="1202095"/>
                  </a:cubicBezTo>
                  <a:lnTo>
                    <a:pt x="731931" y="1190201"/>
                  </a:lnTo>
                  <a:lnTo>
                    <a:pt x="731604" y="1163641"/>
                  </a:lnTo>
                  <a:lnTo>
                    <a:pt x="698953" y="1179831"/>
                  </a:lnTo>
                  <a:cubicBezTo>
                    <a:pt x="698953" y="1179831"/>
                    <a:pt x="711200" y="1167686"/>
                    <a:pt x="723446" y="1155542"/>
                  </a:cubicBezTo>
                  <a:lnTo>
                    <a:pt x="731407" y="1147648"/>
                  </a:lnTo>
                  <a:lnTo>
                    <a:pt x="731307" y="1139500"/>
                  </a:lnTo>
                  <a:lnTo>
                    <a:pt x="720385" y="1144916"/>
                  </a:lnTo>
                  <a:cubicBezTo>
                    <a:pt x="711200" y="1149470"/>
                    <a:pt x="698953" y="1155542"/>
                    <a:pt x="682625" y="1163638"/>
                  </a:cubicBezTo>
                  <a:cubicBezTo>
                    <a:pt x="682625" y="1163638"/>
                    <a:pt x="691810" y="1152253"/>
                    <a:pt x="703291" y="1138021"/>
                  </a:cubicBezTo>
                  <a:lnTo>
                    <a:pt x="731906" y="1102550"/>
                  </a:lnTo>
                  <a:lnTo>
                    <a:pt x="733456" y="1093447"/>
                  </a:lnTo>
                  <a:lnTo>
                    <a:pt x="720385" y="1103169"/>
                  </a:lnTo>
                  <a:cubicBezTo>
                    <a:pt x="711200" y="1110000"/>
                    <a:pt x="698953" y="1119109"/>
                    <a:pt x="682625" y="1131253"/>
                  </a:cubicBezTo>
                  <a:cubicBezTo>
                    <a:pt x="682625" y="1131253"/>
                    <a:pt x="731610" y="1066483"/>
                    <a:pt x="731610" y="1066483"/>
                  </a:cubicBezTo>
                  <a:cubicBezTo>
                    <a:pt x="731610" y="1066483"/>
                    <a:pt x="731610" y="1066483"/>
                    <a:pt x="666296" y="1115061"/>
                  </a:cubicBezTo>
                  <a:cubicBezTo>
                    <a:pt x="666296" y="1098868"/>
                    <a:pt x="715282" y="1034098"/>
                    <a:pt x="715282" y="1034098"/>
                  </a:cubicBezTo>
                  <a:cubicBezTo>
                    <a:pt x="715282" y="1034098"/>
                    <a:pt x="715282" y="1034098"/>
                    <a:pt x="666296" y="1082676"/>
                  </a:cubicBezTo>
                  <a:cubicBezTo>
                    <a:pt x="654050" y="1070531"/>
                    <a:pt x="687727" y="1031062"/>
                    <a:pt x="705332" y="1012086"/>
                  </a:cubicBezTo>
                  <a:lnTo>
                    <a:pt x="715120" y="1001882"/>
                  </a:lnTo>
                  <a:lnTo>
                    <a:pt x="740531" y="1051901"/>
                  </a:lnTo>
                  <a:lnTo>
                    <a:pt x="741225" y="1047827"/>
                  </a:lnTo>
                  <a:lnTo>
                    <a:pt x="731610" y="1017588"/>
                  </a:lnTo>
                  <a:lnTo>
                    <a:pt x="742257" y="1041769"/>
                  </a:lnTo>
                  <a:lnTo>
                    <a:pt x="746390" y="1017497"/>
                  </a:lnTo>
                  <a:cubicBezTo>
                    <a:pt x="753490" y="989240"/>
                    <a:pt x="762111" y="963001"/>
                    <a:pt x="770985" y="938780"/>
                  </a:cubicBezTo>
                  <a:lnTo>
                    <a:pt x="780328" y="914952"/>
                  </a:lnTo>
                  <a:lnTo>
                    <a:pt x="780328" y="898559"/>
                  </a:lnTo>
                  <a:cubicBezTo>
                    <a:pt x="780328" y="892507"/>
                    <a:pt x="780328" y="888472"/>
                    <a:pt x="780328" y="888472"/>
                  </a:cubicBezTo>
                  <a:cubicBezTo>
                    <a:pt x="780328" y="888472"/>
                    <a:pt x="780328" y="888472"/>
                    <a:pt x="747712" y="936890"/>
                  </a:cubicBezTo>
                  <a:cubicBezTo>
                    <a:pt x="747712" y="936890"/>
                    <a:pt x="747712" y="872332"/>
                    <a:pt x="747712" y="872332"/>
                  </a:cubicBezTo>
                  <a:cubicBezTo>
                    <a:pt x="747712" y="872332"/>
                    <a:pt x="747712" y="872332"/>
                    <a:pt x="731404" y="920751"/>
                  </a:cubicBezTo>
                  <a:cubicBezTo>
                    <a:pt x="731404" y="920751"/>
                    <a:pt x="731404" y="920751"/>
                    <a:pt x="731404" y="872332"/>
                  </a:cubicBezTo>
                  <a:cubicBezTo>
                    <a:pt x="731404" y="872332"/>
                    <a:pt x="731404" y="872332"/>
                    <a:pt x="698789" y="904611"/>
                  </a:cubicBezTo>
                  <a:cubicBezTo>
                    <a:pt x="698789" y="904611"/>
                    <a:pt x="698789" y="904611"/>
                    <a:pt x="698789" y="872332"/>
                  </a:cubicBezTo>
                  <a:cubicBezTo>
                    <a:pt x="698789" y="872332"/>
                    <a:pt x="698789" y="872332"/>
                    <a:pt x="682481" y="904611"/>
                  </a:cubicBezTo>
                  <a:cubicBezTo>
                    <a:pt x="682481" y="904611"/>
                    <a:pt x="682481" y="904611"/>
                    <a:pt x="675601" y="884184"/>
                  </a:cubicBezTo>
                  <a:lnTo>
                    <a:pt x="666750" y="857907"/>
                  </a:lnTo>
                  <a:lnTo>
                    <a:pt x="666750" y="867370"/>
                  </a:lnTo>
                  <a:cubicBezTo>
                    <a:pt x="666750" y="870462"/>
                    <a:pt x="666750" y="872228"/>
                    <a:pt x="666750" y="872228"/>
                  </a:cubicBezTo>
                  <a:lnTo>
                    <a:pt x="666173" y="871083"/>
                  </a:lnTo>
                  <a:lnTo>
                    <a:pt x="666173" y="888472"/>
                  </a:lnTo>
                  <a:cubicBezTo>
                    <a:pt x="666173" y="888472"/>
                    <a:pt x="666173" y="888472"/>
                    <a:pt x="633557" y="840053"/>
                  </a:cubicBezTo>
                  <a:lnTo>
                    <a:pt x="651258" y="841512"/>
                  </a:lnTo>
                  <a:lnTo>
                    <a:pt x="650367" y="839747"/>
                  </a:lnTo>
                  <a:lnTo>
                    <a:pt x="650009" y="839697"/>
                  </a:lnTo>
                  <a:lnTo>
                    <a:pt x="650009" y="840469"/>
                  </a:lnTo>
                  <a:lnTo>
                    <a:pt x="649104" y="839573"/>
                  </a:lnTo>
                  <a:close/>
                  <a:moveTo>
                    <a:pt x="626762" y="837009"/>
                  </a:moveTo>
                  <a:lnTo>
                    <a:pt x="627042" y="838956"/>
                  </a:lnTo>
                  <a:lnTo>
                    <a:pt x="632575" y="839887"/>
                  </a:lnTo>
                  <a:lnTo>
                    <a:pt x="629684" y="838456"/>
                  </a:lnTo>
                  <a:close/>
                  <a:moveTo>
                    <a:pt x="893907" y="824367"/>
                  </a:moveTo>
                  <a:cubicBezTo>
                    <a:pt x="893907" y="824367"/>
                    <a:pt x="893907" y="824367"/>
                    <a:pt x="893907" y="832418"/>
                  </a:cubicBezTo>
                  <a:lnTo>
                    <a:pt x="893907" y="850140"/>
                  </a:lnTo>
                  <a:lnTo>
                    <a:pt x="903201" y="862459"/>
                  </a:lnTo>
                  <a:lnTo>
                    <a:pt x="903685" y="863100"/>
                  </a:lnTo>
                  <a:lnTo>
                    <a:pt x="902036" y="856571"/>
                  </a:lnTo>
                  <a:cubicBezTo>
                    <a:pt x="897972" y="840469"/>
                    <a:pt x="893907" y="824367"/>
                    <a:pt x="893907" y="824367"/>
                  </a:cubicBezTo>
                  <a:close/>
                  <a:moveTo>
                    <a:pt x="601229" y="824367"/>
                  </a:moveTo>
                  <a:lnTo>
                    <a:pt x="602525" y="825650"/>
                  </a:lnTo>
                  <a:lnTo>
                    <a:pt x="602093" y="824795"/>
                  </a:lnTo>
                  <a:close/>
                  <a:moveTo>
                    <a:pt x="623473" y="814191"/>
                  </a:moveTo>
                  <a:lnTo>
                    <a:pt x="624668" y="822484"/>
                  </a:lnTo>
                  <a:lnTo>
                    <a:pt x="629703" y="832455"/>
                  </a:lnTo>
                  <a:lnTo>
                    <a:pt x="644633" y="835145"/>
                  </a:lnTo>
                  <a:lnTo>
                    <a:pt x="636290" y="826883"/>
                  </a:lnTo>
                  <a:close/>
                  <a:moveTo>
                    <a:pt x="497189" y="810839"/>
                  </a:moveTo>
                  <a:lnTo>
                    <a:pt x="483476" y="815376"/>
                  </a:lnTo>
                  <a:lnTo>
                    <a:pt x="455276" y="824707"/>
                  </a:lnTo>
                  <a:lnTo>
                    <a:pt x="449345" y="830594"/>
                  </a:lnTo>
                  <a:lnTo>
                    <a:pt x="471436" y="823913"/>
                  </a:lnTo>
                  <a:lnTo>
                    <a:pt x="488595" y="823913"/>
                  </a:lnTo>
                  <a:lnTo>
                    <a:pt x="489828" y="822690"/>
                  </a:lnTo>
                  <a:lnTo>
                    <a:pt x="500620" y="811978"/>
                  </a:lnTo>
                  <a:close/>
                  <a:moveTo>
                    <a:pt x="471535" y="808567"/>
                  </a:moveTo>
                  <a:cubicBezTo>
                    <a:pt x="471535" y="808567"/>
                    <a:pt x="471535" y="808567"/>
                    <a:pt x="469820" y="810270"/>
                  </a:cubicBezTo>
                  <a:lnTo>
                    <a:pt x="467060" y="813009"/>
                  </a:lnTo>
                  <a:lnTo>
                    <a:pt x="457308" y="822690"/>
                  </a:lnTo>
                  <a:lnTo>
                    <a:pt x="457046" y="822950"/>
                  </a:lnTo>
                  <a:lnTo>
                    <a:pt x="457816" y="822185"/>
                  </a:lnTo>
                  <a:lnTo>
                    <a:pt x="467060" y="813009"/>
                  </a:lnTo>
                  <a:close/>
                  <a:moveTo>
                    <a:pt x="780088" y="808265"/>
                  </a:moveTo>
                  <a:cubicBezTo>
                    <a:pt x="780088" y="808265"/>
                    <a:pt x="780088" y="808265"/>
                    <a:pt x="773228" y="835437"/>
                  </a:cubicBezTo>
                  <a:lnTo>
                    <a:pt x="765184" y="867298"/>
                  </a:lnTo>
                  <a:lnTo>
                    <a:pt x="795090" y="877303"/>
                  </a:lnTo>
                  <a:lnTo>
                    <a:pt x="797102" y="872173"/>
                  </a:lnTo>
                  <a:lnTo>
                    <a:pt x="815847" y="838977"/>
                  </a:lnTo>
                  <a:lnTo>
                    <a:pt x="817265" y="835668"/>
                  </a:lnTo>
                  <a:lnTo>
                    <a:pt x="817913" y="834533"/>
                  </a:lnTo>
                  <a:lnTo>
                    <a:pt x="817752" y="833739"/>
                  </a:lnTo>
                  <a:cubicBezTo>
                    <a:pt x="814894" y="819587"/>
                    <a:pt x="812607" y="808265"/>
                    <a:pt x="812607" y="808265"/>
                  </a:cubicBezTo>
                  <a:cubicBezTo>
                    <a:pt x="812607" y="808265"/>
                    <a:pt x="812607" y="808265"/>
                    <a:pt x="796347" y="872672"/>
                  </a:cubicBezTo>
                  <a:cubicBezTo>
                    <a:pt x="796347" y="872672"/>
                    <a:pt x="780088" y="808265"/>
                    <a:pt x="780088" y="808265"/>
                  </a:cubicBezTo>
                  <a:close/>
                  <a:moveTo>
                    <a:pt x="715048" y="808265"/>
                  </a:moveTo>
                  <a:cubicBezTo>
                    <a:pt x="715048" y="808265"/>
                    <a:pt x="715048" y="808265"/>
                    <a:pt x="715048" y="828644"/>
                  </a:cubicBezTo>
                  <a:lnTo>
                    <a:pt x="715048" y="850709"/>
                  </a:lnTo>
                  <a:lnTo>
                    <a:pt x="717081" y="851205"/>
                  </a:lnTo>
                  <a:lnTo>
                    <a:pt x="762903" y="866535"/>
                  </a:lnTo>
                  <a:lnTo>
                    <a:pt x="761287" y="855816"/>
                  </a:lnTo>
                  <a:cubicBezTo>
                    <a:pt x="756714" y="835437"/>
                    <a:pt x="747568" y="808265"/>
                    <a:pt x="747568" y="808265"/>
                  </a:cubicBezTo>
                  <a:cubicBezTo>
                    <a:pt x="747568" y="808265"/>
                    <a:pt x="747568" y="808265"/>
                    <a:pt x="747568" y="856571"/>
                  </a:cubicBezTo>
                  <a:cubicBezTo>
                    <a:pt x="747568" y="856571"/>
                    <a:pt x="715048" y="808265"/>
                    <a:pt x="715048" y="808265"/>
                  </a:cubicBezTo>
                  <a:close/>
                  <a:moveTo>
                    <a:pt x="682529" y="808265"/>
                  </a:moveTo>
                  <a:cubicBezTo>
                    <a:pt x="682529" y="808265"/>
                    <a:pt x="682529" y="808265"/>
                    <a:pt x="682529" y="840469"/>
                  </a:cubicBezTo>
                  <a:cubicBezTo>
                    <a:pt x="682529" y="840469"/>
                    <a:pt x="682529" y="840469"/>
                    <a:pt x="668809" y="826883"/>
                  </a:cubicBezTo>
                  <a:lnTo>
                    <a:pt x="666750" y="824844"/>
                  </a:lnTo>
                  <a:lnTo>
                    <a:pt x="666750" y="839130"/>
                  </a:lnTo>
                  <a:lnTo>
                    <a:pt x="669953" y="839707"/>
                  </a:lnTo>
                  <a:lnTo>
                    <a:pt x="695856" y="846027"/>
                  </a:lnTo>
                  <a:lnTo>
                    <a:pt x="666750" y="842009"/>
                  </a:lnTo>
                  <a:lnTo>
                    <a:pt x="666750" y="842790"/>
                  </a:lnTo>
                  <a:lnTo>
                    <a:pt x="676365" y="843583"/>
                  </a:lnTo>
                  <a:lnTo>
                    <a:pt x="713544" y="852101"/>
                  </a:lnTo>
                  <a:lnTo>
                    <a:pt x="713334" y="851478"/>
                  </a:lnTo>
                  <a:lnTo>
                    <a:pt x="697987" y="846546"/>
                  </a:lnTo>
                  <a:lnTo>
                    <a:pt x="712899" y="850184"/>
                  </a:lnTo>
                  <a:lnTo>
                    <a:pt x="708189" y="836192"/>
                  </a:lnTo>
                  <a:lnTo>
                    <a:pt x="699336" y="809891"/>
                  </a:lnTo>
                  <a:lnTo>
                    <a:pt x="699336" y="824785"/>
                  </a:lnTo>
                  <a:cubicBezTo>
                    <a:pt x="699336" y="833869"/>
                    <a:pt x="699336" y="839926"/>
                    <a:pt x="699336" y="839926"/>
                  </a:cubicBezTo>
                  <a:cubicBezTo>
                    <a:pt x="699336" y="839926"/>
                    <a:pt x="699336" y="839926"/>
                    <a:pt x="698827" y="838664"/>
                  </a:cubicBezTo>
                  <a:lnTo>
                    <a:pt x="698788" y="838569"/>
                  </a:lnTo>
                  <a:lnTo>
                    <a:pt x="698788" y="840469"/>
                  </a:lnTo>
                  <a:cubicBezTo>
                    <a:pt x="698788" y="840469"/>
                    <a:pt x="698788" y="840469"/>
                    <a:pt x="682529" y="808265"/>
                  </a:cubicBezTo>
                  <a:close/>
                  <a:moveTo>
                    <a:pt x="862013" y="807867"/>
                  </a:moveTo>
                  <a:lnTo>
                    <a:pt x="865096" y="811953"/>
                  </a:lnTo>
                  <a:lnTo>
                    <a:pt x="873272" y="813463"/>
                  </a:lnTo>
                  <a:close/>
                  <a:moveTo>
                    <a:pt x="720788" y="796184"/>
                  </a:moveTo>
                  <a:lnTo>
                    <a:pt x="713843" y="796529"/>
                  </a:lnTo>
                  <a:lnTo>
                    <a:pt x="721070" y="796884"/>
                  </a:lnTo>
                  <a:close/>
                  <a:moveTo>
                    <a:pt x="439016" y="792428"/>
                  </a:moveTo>
                  <a:cubicBezTo>
                    <a:pt x="439016" y="792428"/>
                    <a:pt x="439016" y="792428"/>
                    <a:pt x="432156" y="812855"/>
                  </a:cubicBezTo>
                  <a:lnTo>
                    <a:pt x="424208" y="836522"/>
                  </a:lnTo>
                  <a:lnTo>
                    <a:pt x="439016" y="833256"/>
                  </a:lnTo>
                  <a:lnTo>
                    <a:pt x="439016" y="820420"/>
                  </a:lnTo>
                  <a:cubicBezTo>
                    <a:pt x="439016" y="813611"/>
                    <a:pt x="439016" y="804533"/>
                    <a:pt x="439016" y="792428"/>
                  </a:cubicBezTo>
                  <a:close/>
                  <a:moveTo>
                    <a:pt x="620207" y="791528"/>
                  </a:moveTo>
                  <a:lnTo>
                    <a:pt x="620418" y="792987"/>
                  </a:lnTo>
                  <a:lnTo>
                    <a:pt x="621743" y="802181"/>
                  </a:lnTo>
                  <a:lnTo>
                    <a:pt x="630722" y="800799"/>
                  </a:lnTo>
                  <a:lnTo>
                    <a:pt x="626046" y="791528"/>
                  </a:lnTo>
                  <a:close/>
                  <a:moveTo>
                    <a:pt x="478327" y="791528"/>
                  </a:moveTo>
                  <a:lnTo>
                    <a:pt x="485378" y="793122"/>
                  </a:lnTo>
                  <a:lnTo>
                    <a:pt x="497782" y="797775"/>
                  </a:lnTo>
                  <a:lnTo>
                    <a:pt x="502199" y="793377"/>
                  </a:lnTo>
                  <a:lnTo>
                    <a:pt x="500846" y="791528"/>
                  </a:lnTo>
                  <a:lnTo>
                    <a:pt x="497958" y="791528"/>
                  </a:lnTo>
                  <a:cubicBezTo>
                    <a:pt x="494909" y="791528"/>
                    <a:pt x="490336" y="791528"/>
                    <a:pt x="483476" y="791528"/>
                  </a:cubicBezTo>
                  <a:close/>
                  <a:moveTo>
                    <a:pt x="585286" y="791473"/>
                  </a:moveTo>
                  <a:lnTo>
                    <a:pt x="585448" y="792755"/>
                  </a:lnTo>
                  <a:lnTo>
                    <a:pt x="585757" y="792406"/>
                  </a:lnTo>
                  <a:close/>
                  <a:moveTo>
                    <a:pt x="617911" y="775591"/>
                  </a:moveTo>
                  <a:lnTo>
                    <a:pt x="617997" y="776188"/>
                  </a:lnTo>
                  <a:lnTo>
                    <a:pt x="618623" y="776811"/>
                  </a:lnTo>
                  <a:lnTo>
                    <a:pt x="618027" y="775630"/>
                  </a:lnTo>
                  <a:close/>
                  <a:moveTo>
                    <a:pt x="487270" y="775510"/>
                  </a:moveTo>
                  <a:lnTo>
                    <a:pt x="487033" y="775589"/>
                  </a:lnTo>
                  <a:cubicBezTo>
                    <a:pt x="485318" y="776158"/>
                    <a:pt x="479745" y="778008"/>
                    <a:pt x="461631" y="784021"/>
                  </a:cubicBezTo>
                  <a:lnTo>
                    <a:pt x="454940" y="786242"/>
                  </a:lnTo>
                  <a:lnTo>
                    <a:pt x="462473" y="787944"/>
                  </a:lnTo>
                  <a:lnTo>
                    <a:pt x="468995" y="784697"/>
                  </a:lnTo>
                  <a:lnTo>
                    <a:pt x="487328" y="775568"/>
                  </a:lnTo>
                  <a:close/>
                  <a:moveTo>
                    <a:pt x="292292" y="774965"/>
                  </a:moveTo>
                  <a:lnTo>
                    <a:pt x="298210" y="775516"/>
                  </a:lnTo>
                  <a:lnTo>
                    <a:pt x="283792" y="776283"/>
                  </a:lnTo>
                  <a:close/>
                  <a:moveTo>
                    <a:pt x="666750" y="770202"/>
                  </a:moveTo>
                  <a:lnTo>
                    <a:pt x="666750" y="776836"/>
                  </a:lnTo>
                  <a:lnTo>
                    <a:pt x="666750" y="795256"/>
                  </a:lnTo>
                  <a:lnTo>
                    <a:pt x="680460" y="793147"/>
                  </a:lnTo>
                  <a:lnTo>
                    <a:pt x="671889" y="771906"/>
                  </a:lnTo>
                  <a:close/>
                  <a:moveTo>
                    <a:pt x="1126042" y="769037"/>
                  </a:moveTo>
                  <a:lnTo>
                    <a:pt x="1142042" y="790043"/>
                  </a:lnTo>
                  <a:lnTo>
                    <a:pt x="1130433" y="773251"/>
                  </a:lnTo>
                  <a:close/>
                  <a:moveTo>
                    <a:pt x="498642" y="762996"/>
                  </a:moveTo>
                  <a:lnTo>
                    <a:pt x="511588" y="775406"/>
                  </a:lnTo>
                  <a:lnTo>
                    <a:pt x="517319" y="775406"/>
                  </a:lnTo>
                  <a:lnTo>
                    <a:pt x="531740" y="775406"/>
                  </a:lnTo>
                  <a:lnTo>
                    <a:pt x="531601" y="773899"/>
                  </a:lnTo>
                  <a:lnTo>
                    <a:pt x="527459" y="772528"/>
                  </a:lnTo>
                  <a:cubicBezTo>
                    <a:pt x="524559" y="771569"/>
                    <a:pt x="520692" y="770290"/>
                    <a:pt x="515537" y="768585"/>
                  </a:cubicBezTo>
                  <a:close/>
                  <a:moveTo>
                    <a:pt x="537615" y="745262"/>
                  </a:moveTo>
                  <a:lnTo>
                    <a:pt x="542307" y="759237"/>
                  </a:lnTo>
                  <a:lnTo>
                    <a:pt x="545345" y="775494"/>
                  </a:lnTo>
                  <a:lnTo>
                    <a:pt x="549165" y="775494"/>
                  </a:lnTo>
                  <a:lnTo>
                    <a:pt x="550332" y="770286"/>
                  </a:lnTo>
                  <a:lnTo>
                    <a:pt x="546059" y="761877"/>
                  </a:lnTo>
                  <a:close/>
                  <a:moveTo>
                    <a:pt x="699336" y="743020"/>
                  </a:moveTo>
                  <a:cubicBezTo>
                    <a:pt x="699336" y="743020"/>
                    <a:pt x="699336" y="749076"/>
                    <a:pt x="699336" y="758161"/>
                  </a:cubicBezTo>
                  <a:lnTo>
                    <a:pt x="699336" y="790711"/>
                  </a:lnTo>
                  <a:lnTo>
                    <a:pt x="718718" y="791053"/>
                  </a:lnTo>
                  <a:lnTo>
                    <a:pt x="718174" y="789706"/>
                  </a:lnTo>
                  <a:cubicBezTo>
                    <a:pt x="713592" y="778350"/>
                    <a:pt x="707482" y="763209"/>
                    <a:pt x="699336" y="743020"/>
                  </a:cubicBezTo>
                  <a:close/>
                  <a:moveTo>
                    <a:pt x="601265" y="742806"/>
                  </a:moveTo>
                  <a:lnTo>
                    <a:pt x="601426" y="743125"/>
                  </a:lnTo>
                  <a:lnTo>
                    <a:pt x="601486" y="743095"/>
                  </a:lnTo>
                  <a:lnTo>
                    <a:pt x="601436" y="743145"/>
                  </a:lnTo>
                  <a:lnTo>
                    <a:pt x="603299" y="746847"/>
                  </a:lnTo>
                  <a:cubicBezTo>
                    <a:pt x="604316" y="748868"/>
                    <a:pt x="605842" y="751898"/>
                    <a:pt x="608130" y="756444"/>
                  </a:cubicBezTo>
                  <a:lnTo>
                    <a:pt x="609554" y="759273"/>
                  </a:lnTo>
                  <a:lnTo>
                    <a:pt x="621191" y="752703"/>
                  </a:lnTo>
                  <a:lnTo>
                    <a:pt x="620080" y="752151"/>
                  </a:lnTo>
                  <a:cubicBezTo>
                    <a:pt x="615503" y="749878"/>
                    <a:pt x="609401" y="746847"/>
                    <a:pt x="601265" y="742806"/>
                  </a:cubicBezTo>
                  <a:close/>
                  <a:moveTo>
                    <a:pt x="617537" y="726643"/>
                  </a:moveTo>
                  <a:cubicBezTo>
                    <a:pt x="617537" y="726643"/>
                    <a:pt x="617537" y="726643"/>
                    <a:pt x="624402" y="740281"/>
                  </a:cubicBezTo>
                  <a:lnTo>
                    <a:pt x="627276" y="745991"/>
                  </a:lnTo>
                  <a:lnTo>
                    <a:pt x="631378" y="741433"/>
                  </a:lnTo>
                  <a:lnTo>
                    <a:pt x="637870" y="736741"/>
                  </a:lnTo>
                  <a:lnTo>
                    <a:pt x="636351" y="735987"/>
                  </a:lnTo>
                  <a:cubicBezTo>
                    <a:pt x="631775" y="733714"/>
                    <a:pt x="625673" y="730684"/>
                    <a:pt x="617537" y="726643"/>
                  </a:cubicBezTo>
                  <a:close/>
                  <a:moveTo>
                    <a:pt x="599836" y="716703"/>
                  </a:moveTo>
                  <a:lnTo>
                    <a:pt x="597175" y="717587"/>
                  </a:lnTo>
                  <a:lnTo>
                    <a:pt x="577946" y="723971"/>
                  </a:lnTo>
                  <a:lnTo>
                    <a:pt x="577230" y="726931"/>
                  </a:lnTo>
                  <a:lnTo>
                    <a:pt x="582722" y="726931"/>
                  </a:lnTo>
                  <a:lnTo>
                    <a:pt x="590947" y="726931"/>
                  </a:lnTo>
                  <a:close/>
                  <a:moveTo>
                    <a:pt x="527424" y="713315"/>
                  </a:moveTo>
                  <a:lnTo>
                    <a:pt x="530048" y="719825"/>
                  </a:lnTo>
                  <a:lnTo>
                    <a:pt x="530882" y="725205"/>
                  </a:lnTo>
                  <a:lnTo>
                    <a:pt x="537102" y="743734"/>
                  </a:lnTo>
                  <a:lnTo>
                    <a:pt x="538626" y="745233"/>
                  </a:lnTo>
                  <a:lnTo>
                    <a:pt x="552792" y="759170"/>
                  </a:lnTo>
                  <a:lnTo>
                    <a:pt x="552796" y="758994"/>
                  </a:lnTo>
                  <a:lnTo>
                    <a:pt x="550929" y="755320"/>
                  </a:lnTo>
                  <a:cubicBezTo>
                    <a:pt x="548878" y="751285"/>
                    <a:pt x="544777" y="743215"/>
                    <a:pt x="536575" y="727076"/>
                  </a:cubicBezTo>
                  <a:cubicBezTo>
                    <a:pt x="536575" y="727076"/>
                    <a:pt x="536575" y="727076"/>
                    <a:pt x="550416" y="727076"/>
                  </a:cubicBezTo>
                  <a:lnTo>
                    <a:pt x="555495" y="727076"/>
                  </a:lnTo>
                  <a:lnTo>
                    <a:pt x="555866" y="722643"/>
                  </a:lnTo>
                  <a:lnTo>
                    <a:pt x="548622" y="720267"/>
                  </a:lnTo>
                  <a:close/>
                  <a:moveTo>
                    <a:pt x="943372" y="710815"/>
                  </a:moveTo>
                  <a:cubicBezTo>
                    <a:pt x="943372" y="710815"/>
                    <a:pt x="943372" y="710815"/>
                    <a:pt x="943372" y="759341"/>
                  </a:cubicBezTo>
                  <a:cubicBezTo>
                    <a:pt x="943372" y="759341"/>
                    <a:pt x="943372" y="759341"/>
                    <a:pt x="910828" y="726990"/>
                  </a:cubicBezTo>
                  <a:cubicBezTo>
                    <a:pt x="910828" y="726990"/>
                    <a:pt x="910828" y="726990"/>
                    <a:pt x="943372" y="791691"/>
                  </a:cubicBezTo>
                  <a:cubicBezTo>
                    <a:pt x="943372" y="791691"/>
                    <a:pt x="943372" y="791691"/>
                    <a:pt x="894557" y="759341"/>
                  </a:cubicBezTo>
                  <a:cubicBezTo>
                    <a:pt x="894557" y="759341"/>
                    <a:pt x="894557" y="759341"/>
                    <a:pt x="927100" y="807867"/>
                  </a:cubicBezTo>
                  <a:cubicBezTo>
                    <a:pt x="927100" y="807867"/>
                    <a:pt x="927100" y="807867"/>
                    <a:pt x="878285" y="775516"/>
                  </a:cubicBezTo>
                  <a:cubicBezTo>
                    <a:pt x="878285" y="775516"/>
                    <a:pt x="878285" y="775516"/>
                    <a:pt x="898879" y="802812"/>
                  </a:cubicBezTo>
                  <a:lnTo>
                    <a:pt x="903163" y="808491"/>
                  </a:lnTo>
                  <a:lnTo>
                    <a:pt x="928737" y="814620"/>
                  </a:lnTo>
                  <a:lnTo>
                    <a:pt x="945944" y="821591"/>
                  </a:lnTo>
                  <a:lnTo>
                    <a:pt x="951339" y="766065"/>
                  </a:lnTo>
                  <a:lnTo>
                    <a:pt x="954548" y="733034"/>
                  </a:lnTo>
                  <a:lnTo>
                    <a:pt x="952779" y="729517"/>
                  </a:lnTo>
                  <a:cubicBezTo>
                    <a:pt x="950491" y="724968"/>
                    <a:pt x="947440" y="718902"/>
                    <a:pt x="943372" y="710815"/>
                  </a:cubicBezTo>
                  <a:close/>
                  <a:moveTo>
                    <a:pt x="698500" y="710565"/>
                  </a:moveTo>
                  <a:cubicBezTo>
                    <a:pt x="698500" y="710565"/>
                    <a:pt x="698500" y="710565"/>
                    <a:pt x="699008" y="711324"/>
                  </a:cubicBezTo>
                  <a:lnTo>
                    <a:pt x="699141" y="711523"/>
                  </a:lnTo>
                  <a:lnTo>
                    <a:pt x="699607" y="711300"/>
                  </a:lnTo>
                  <a:close/>
                  <a:moveTo>
                    <a:pt x="633809" y="710479"/>
                  </a:moveTo>
                  <a:cubicBezTo>
                    <a:pt x="633809" y="710479"/>
                    <a:pt x="633809" y="710479"/>
                    <a:pt x="640674" y="724117"/>
                  </a:cubicBezTo>
                  <a:lnTo>
                    <a:pt x="644585" y="731888"/>
                  </a:lnTo>
                  <a:lnTo>
                    <a:pt x="657754" y="722372"/>
                  </a:lnTo>
                  <a:lnTo>
                    <a:pt x="652623" y="719824"/>
                  </a:lnTo>
                  <a:lnTo>
                    <a:pt x="634734" y="710938"/>
                  </a:lnTo>
                  <a:lnTo>
                    <a:pt x="634603" y="711200"/>
                  </a:lnTo>
                  <a:lnTo>
                    <a:pt x="634603" y="710874"/>
                  </a:lnTo>
                  <a:close/>
                  <a:moveTo>
                    <a:pt x="531077" y="700161"/>
                  </a:moveTo>
                  <a:lnTo>
                    <a:pt x="524810" y="706829"/>
                  </a:lnTo>
                  <a:lnTo>
                    <a:pt x="526465" y="710936"/>
                  </a:lnTo>
                  <a:lnTo>
                    <a:pt x="534012" y="710936"/>
                  </a:lnTo>
                  <a:cubicBezTo>
                    <a:pt x="538626" y="710936"/>
                    <a:pt x="544777" y="710936"/>
                    <a:pt x="552979" y="710936"/>
                  </a:cubicBezTo>
                  <a:cubicBezTo>
                    <a:pt x="552979" y="710936"/>
                    <a:pt x="552979" y="710936"/>
                    <a:pt x="539138" y="704127"/>
                  </a:cubicBezTo>
                  <a:close/>
                  <a:moveTo>
                    <a:pt x="642025" y="696356"/>
                  </a:moveTo>
                  <a:lnTo>
                    <a:pt x="639981" y="700446"/>
                  </a:lnTo>
                  <a:lnTo>
                    <a:pt x="647539" y="707953"/>
                  </a:lnTo>
                  <a:lnTo>
                    <a:pt x="660243" y="720573"/>
                  </a:lnTo>
                  <a:lnTo>
                    <a:pt x="674092" y="710565"/>
                  </a:lnTo>
                  <a:lnTo>
                    <a:pt x="681800" y="706233"/>
                  </a:lnTo>
                  <a:lnTo>
                    <a:pt x="666353" y="702397"/>
                  </a:lnTo>
                  <a:cubicBezTo>
                    <a:pt x="658217" y="700377"/>
                    <a:pt x="650081" y="698356"/>
                    <a:pt x="643979" y="696841"/>
                  </a:cubicBezTo>
                  <a:close/>
                  <a:moveTo>
                    <a:pt x="585258" y="694604"/>
                  </a:moveTo>
                  <a:cubicBezTo>
                    <a:pt x="585258" y="694604"/>
                    <a:pt x="585258" y="694604"/>
                    <a:pt x="586970" y="695457"/>
                  </a:cubicBezTo>
                  <a:lnTo>
                    <a:pt x="588301" y="696120"/>
                  </a:lnTo>
                  <a:lnTo>
                    <a:pt x="588554" y="694604"/>
                  </a:lnTo>
                  <a:close/>
                  <a:moveTo>
                    <a:pt x="797092" y="694566"/>
                  </a:moveTo>
                  <a:cubicBezTo>
                    <a:pt x="797092" y="694566"/>
                    <a:pt x="797092" y="694566"/>
                    <a:pt x="797092" y="695828"/>
                  </a:cubicBezTo>
                  <a:lnTo>
                    <a:pt x="797092" y="696286"/>
                  </a:lnTo>
                  <a:lnTo>
                    <a:pt x="797963" y="698019"/>
                  </a:lnTo>
                  <a:close/>
                  <a:moveTo>
                    <a:pt x="731044" y="694373"/>
                  </a:moveTo>
                  <a:cubicBezTo>
                    <a:pt x="731044" y="694373"/>
                    <a:pt x="731044" y="694373"/>
                    <a:pt x="731298" y="695132"/>
                  </a:cubicBezTo>
                  <a:lnTo>
                    <a:pt x="731589" y="695999"/>
                  </a:lnTo>
                  <a:lnTo>
                    <a:pt x="731790" y="695903"/>
                  </a:lnTo>
                  <a:lnTo>
                    <a:pt x="732369" y="695692"/>
                  </a:lnTo>
                  <a:close/>
                  <a:moveTo>
                    <a:pt x="633809" y="694315"/>
                  </a:moveTo>
                  <a:lnTo>
                    <a:pt x="634603" y="695104"/>
                  </a:lnTo>
                  <a:lnTo>
                    <a:pt x="634603" y="694513"/>
                  </a:lnTo>
                  <a:close/>
                  <a:moveTo>
                    <a:pt x="707362" y="691731"/>
                  </a:moveTo>
                  <a:lnTo>
                    <a:pt x="705996" y="692633"/>
                  </a:lnTo>
                  <a:lnTo>
                    <a:pt x="707513" y="691781"/>
                  </a:lnTo>
                  <a:close/>
                  <a:moveTo>
                    <a:pt x="715963" y="686510"/>
                  </a:moveTo>
                  <a:lnTo>
                    <a:pt x="712849" y="688106"/>
                  </a:lnTo>
                  <a:lnTo>
                    <a:pt x="710488" y="689666"/>
                  </a:lnTo>
                  <a:lnTo>
                    <a:pt x="710773" y="689949"/>
                  </a:lnTo>
                  <a:lnTo>
                    <a:pt x="715963" y="687031"/>
                  </a:lnTo>
                  <a:close/>
                  <a:moveTo>
                    <a:pt x="488157" y="682217"/>
                  </a:moveTo>
                  <a:lnTo>
                    <a:pt x="476078" y="685213"/>
                  </a:lnTo>
                  <a:lnTo>
                    <a:pt x="467548" y="687330"/>
                  </a:lnTo>
                  <a:lnTo>
                    <a:pt x="460698" y="701030"/>
                  </a:lnTo>
                  <a:lnTo>
                    <a:pt x="456418" y="709590"/>
                  </a:lnTo>
                  <a:lnTo>
                    <a:pt x="460804" y="706688"/>
                  </a:lnTo>
                  <a:cubicBezTo>
                    <a:pt x="463859" y="704667"/>
                    <a:pt x="468441" y="701635"/>
                    <a:pt x="475315" y="697088"/>
                  </a:cubicBezTo>
                  <a:lnTo>
                    <a:pt x="488157" y="688591"/>
                  </a:lnTo>
                  <a:lnTo>
                    <a:pt x="488157" y="683741"/>
                  </a:lnTo>
                  <a:close/>
                  <a:moveTo>
                    <a:pt x="675413" y="681152"/>
                  </a:moveTo>
                  <a:lnTo>
                    <a:pt x="674775" y="682216"/>
                  </a:lnTo>
                  <a:lnTo>
                    <a:pt x="673157" y="684911"/>
                  </a:lnTo>
                  <a:lnTo>
                    <a:pt x="680082" y="691790"/>
                  </a:lnTo>
                  <a:lnTo>
                    <a:pt x="689916" y="701559"/>
                  </a:lnTo>
                  <a:lnTo>
                    <a:pt x="703473" y="691960"/>
                  </a:lnTo>
                  <a:lnTo>
                    <a:pt x="705305" y="691049"/>
                  </a:lnTo>
                  <a:lnTo>
                    <a:pt x="690761" y="686234"/>
                  </a:lnTo>
                  <a:close/>
                  <a:moveTo>
                    <a:pt x="726539" y="681087"/>
                  </a:moveTo>
                  <a:lnTo>
                    <a:pt x="720199" y="684337"/>
                  </a:lnTo>
                  <a:lnTo>
                    <a:pt x="720038" y="684741"/>
                  </a:lnTo>
                  <a:close/>
                  <a:moveTo>
                    <a:pt x="540041" y="678657"/>
                  </a:moveTo>
                  <a:lnTo>
                    <a:pt x="535955" y="689620"/>
                  </a:lnTo>
                  <a:lnTo>
                    <a:pt x="540932" y="687987"/>
                  </a:lnTo>
                  <a:lnTo>
                    <a:pt x="553244" y="683950"/>
                  </a:lnTo>
                  <a:lnTo>
                    <a:pt x="553244" y="678657"/>
                  </a:lnTo>
                  <a:lnTo>
                    <a:pt x="548622" y="678657"/>
                  </a:lnTo>
                  <a:close/>
                  <a:moveTo>
                    <a:pt x="423069" y="678656"/>
                  </a:moveTo>
                  <a:cubicBezTo>
                    <a:pt x="423069" y="678656"/>
                    <a:pt x="421035" y="680690"/>
                    <a:pt x="417984" y="683741"/>
                  </a:cubicBezTo>
                  <a:lnTo>
                    <a:pt x="411492" y="690233"/>
                  </a:lnTo>
                  <a:lnTo>
                    <a:pt x="414818" y="692321"/>
                  </a:lnTo>
                  <a:lnTo>
                    <a:pt x="423069" y="698838"/>
                  </a:lnTo>
                  <a:lnTo>
                    <a:pt x="423069" y="697471"/>
                  </a:lnTo>
                  <a:cubicBezTo>
                    <a:pt x="423069" y="692894"/>
                    <a:pt x="423069" y="686792"/>
                    <a:pt x="423069" y="678656"/>
                  </a:cubicBezTo>
                  <a:close/>
                  <a:moveTo>
                    <a:pt x="862263" y="678415"/>
                  </a:moveTo>
                  <a:cubicBezTo>
                    <a:pt x="862263" y="678415"/>
                    <a:pt x="862263" y="678415"/>
                    <a:pt x="860227" y="686491"/>
                  </a:cubicBezTo>
                  <a:lnTo>
                    <a:pt x="860006" y="687367"/>
                  </a:lnTo>
                  <a:lnTo>
                    <a:pt x="862263" y="690362"/>
                  </a:lnTo>
                  <a:close/>
                  <a:moveTo>
                    <a:pt x="747315" y="678180"/>
                  </a:moveTo>
                  <a:cubicBezTo>
                    <a:pt x="747315" y="678180"/>
                    <a:pt x="747315" y="678180"/>
                    <a:pt x="751383" y="686277"/>
                  </a:cubicBezTo>
                  <a:lnTo>
                    <a:pt x="752443" y="688386"/>
                  </a:lnTo>
                  <a:lnTo>
                    <a:pt x="758188" y="686295"/>
                  </a:lnTo>
                  <a:lnTo>
                    <a:pt x="757485" y="685771"/>
                  </a:lnTo>
                  <a:cubicBezTo>
                    <a:pt x="751383" y="681217"/>
                    <a:pt x="747315" y="678180"/>
                    <a:pt x="747315" y="678180"/>
                  </a:cubicBezTo>
                  <a:close/>
                  <a:moveTo>
                    <a:pt x="666353" y="678152"/>
                  </a:moveTo>
                  <a:cubicBezTo>
                    <a:pt x="666353" y="678152"/>
                    <a:pt x="666353" y="678152"/>
                    <a:pt x="668069" y="679857"/>
                  </a:cubicBezTo>
                  <a:lnTo>
                    <a:pt x="669815" y="681591"/>
                  </a:lnTo>
                  <a:lnTo>
                    <a:pt x="670245" y="679441"/>
                  </a:lnTo>
                  <a:close/>
                  <a:moveTo>
                    <a:pt x="1008394" y="677843"/>
                  </a:moveTo>
                  <a:lnTo>
                    <a:pt x="1007904" y="677863"/>
                  </a:lnTo>
                  <a:lnTo>
                    <a:pt x="1008375" y="677863"/>
                  </a:lnTo>
                  <a:close/>
                  <a:moveTo>
                    <a:pt x="748507" y="669824"/>
                  </a:moveTo>
                  <a:lnTo>
                    <a:pt x="745048" y="671598"/>
                  </a:lnTo>
                  <a:lnTo>
                    <a:pt x="748507" y="669850"/>
                  </a:lnTo>
                  <a:close/>
                  <a:moveTo>
                    <a:pt x="922461" y="669660"/>
                  </a:moveTo>
                  <a:lnTo>
                    <a:pt x="913687" y="682705"/>
                  </a:lnTo>
                  <a:lnTo>
                    <a:pt x="908241" y="690804"/>
                  </a:lnTo>
                  <a:lnTo>
                    <a:pt x="910034" y="694373"/>
                  </a:lnTo>
                  <a:lnTo>
                    <a:pt x="907042" y="692586"/>
                  </a:lnTo>
                  <a:lnTo>
                    <a:pt x="894849" y="710717"/>
                  </a:lnTo>
                  <a:cubicBezTo>
                    <a:pt x="894849" y="710717"/>
                    <a:pt x="894849" y="710717"/>
                    <a:pt x="894849" y="697090"/>
                  </a:cubicBezTo>
                  <a:lnTo>
                    <a:pt x="894849" y="685306"/>
                  </a:lnTo>
                  <a:lnTo>
                    <a:pt x="891542" y="683332"/>
                  </a:lnTo>
                  <a:lnTo>
                    <a:pt x="890776" y="684472"/>
                  </a:lnTo>
                  <a:cubicBezTo>
                    <a:pt x="888739" y="687500"/>
                    <a:pt x="885684" y="692043"/>
                    <a:pt x="881102" y="698857"/>
                  </a:cubicBezTo>
                  <a:lnTo>
                    <a:pt x="875238" y="707576"/>
                  </a:lnTo>
                  <a:lnTo>
                    <a:pt x="877490" y="710565"/>
                  </a:lnTo>
                  <a:lnTo>
                    <a:pt x="874936" y="708024"/>
                  </a:lnTo>
                  <a:lnTo>
                    <a:pt x="862263" y="726869"/>
                  </a:lnTo>
                  <a:cubicBezTo>
                    <a:pt x="862263" y="726869"/>
                    <a:pt x="862263" y="726869"/>
                    <a:pt x="862263" y="706427"/>
                  </a:cubicBezTo>
                  <a:lnTo>
                    <a:pt x="862263" y="695413"/>
                  </a:lnTo>
                  <a:lnTo>
                    <a:pt x="858837" y="692003"/>
                  </a:lnTo>
                  <a:lnTo>
                    <a:pt x="855390" y="705670"/>
                  </a:lnTo>
                  <a:lnTo>
                    <a:pt x="853359" y="713723"/>
                  </a:lnTo>
                  <a:lnTo>
                    <a:pt x="861219" y="726758"/>
                  </a:lnTo>
                  <a:cubicBezTo>
                    <a:pt x="861219" y="726758"/>
                    <a:pt x="859948" y="725746"/>
                    <a:pt x="857723" y="723975"/>
                  </a:cubicBezTo>
                  <a:lnTo>
                    <a:pt x="851936" y="719368"/>
                  </a:lnTo>
                  <a:lnTo>
                    <a:pt x="845971" y="743020"/>
                  </a:lnTo>
                  <a:cubicBezTo>
                    <a:pt x="845971" y="743020"/>
                    <a:pt x="845971" y="743020"/>
                    <a:pt x="839097" y="722578"/>
                  </a:cubicBezTo>
                  <a:lnTo>
                    <a:pt x="832930" y="704237"/>
                  </a:lnTo>
                  <a:lnTo>
                    <a:pt x="828190" y="700464"/>
                  </a:lnTo>
                  <a:lnTo>
                    <a:pt x="827641" y="702642"/>
                  </a:lnTo>
                  <a:cubicBezTo>
                    <a:pt x="825605" y="710717"/>
                    <a:pt x="821532" y="726869"/>
                    <a:pt x="813385" y="759171"/>
                  </a:cubicBezTo>
                  <a:cubicBezTo>
                    <a:pt x="813385" y="759171"/>
                    <a:pt x="813385" y="759171"/>
                    <a:pt x="806512" y="731916"/>
                  </a:cubicBezTo>
                  <a:lnTo>
                    <a:pt x="803543" y="720146"/>
                  </a:lnTo>
                  <a:lnTo>
                    <a:pt x="802233" y="719168"/>
                  </a:lnTo>
                  <a:lnTo>
                    <a:pt x="797092" y="715331"/>
                  </a:lnTo>
                  <a:lnTo>
                    <a:pt x="797092" y="728635"/>
                  </a:lnTo>
                  <a:cubicBezTo>
                    <a:pt x="797092" y="739991"/>
                    <a:pt x="797092" y="755133"/>
                    <a:pt x="797092" y="775322"/>
                  </a:cubicBezTo>
                  <a:cubicBezTo>
                    <a:pt x="797092" y="775322"/>
                    <a:pt x="797092" y="775322"/>
                    <a:pt x="764507" y="710717"/>
                  </a:cubicBezTo>
                  <a:lnTo>
                    <a:pt x="764507" y="712395"/>
                  </a:lnTo>
                  <a:lnTo>
                    <a:pt x="779859" y="742950"/>
                  </a:lnTo>
                  <a:cubicBezTo>
                    <a:pt x="779859" y="742950"/>
                    <a:pt x="776808" y="739914"/>
                    <a:pt x="772232" y="735360"/>
                  </a:cubicBezTo>
                  <a:lnTo>
                    <a:pt x="764507" y="727673"/>
                  </a:lnTo>
                  <a:lnTo>
                    <a:pt x="764507" y="751095"/>
                  </a:lnTo>
                  <a:cubicBezTo>
                    <a:pt x="764507" y="771284"/>
                    <a:pt x="764507" y="791473"/>
                    <a:pt x="764507" y="791473"/>
                  </a:cubicBezTo>
                  <a:cubicBezTo>
                    <a:pt x="764507" y="791473"/>
                    <a:pt x="764507" y="791473"/>
                    <a:pt x="750760" y="764218"/>
                  </a:cubicBezTo>
                  <a:lnTo>
                    <a:pt x="736370" y="735689"/>
                  </a:lnTo>
                  <a:lnTo>
                    <a:pt x="731921" y="732738"/>
                  </a:lnTo>
                  <a:lnTo>
                    <a:pt x="731921" y="739739"/>
                  </a:lnTo>
                  <a:cubicBezTo>
                    <a:pt x="731921" y="747562"/>
                    <a:pt x="731921" y="758161"/>
                    <a:pt x="731921" y="769265"/>
                  </a:cubicBezTo>
                  <a:lnTo>
                    <a:pt x="731921" y="791287"/>
                  </a:lnTo>
                  <a:lnTo>
                    <a:pt x="796528" y="792428"/>
                  </a:lnTo>
                  <a:lnTo>
                    <a:pt x="731921" y="795632"/>
                  </a:lnTo>
                  <a:lnTo>
                    <a:pt x="731921" y="797416"/>
                  </a:lnTo>
                  <a:lnTo>
                    <a:pt x="768401" y="799208"/>
                  </a:lnTo>
                  <a:lnTo>
                    <a:pt x="833665" y="806912"/>
                  </a:lnTo>
                  <a:lnTo>
                    <a:pt x="836728" y="801542"/>
                  </a:lnTo>
                  <a:lnTo>
                    <a:pt x="796528" y="792428"/>
                  </a:lnTo>
                  <a:lnTo>
                    <a:pt x="839688" y="796351"/>
                  </a:lnTo>
                  <a:lnTo>
                    <a:pt x="853877" y="771472"/>
                  </a:lnTo>
                  <a:cubicBezTo>
                    <a:pt x="878285" y="735078"/>
                    <a:pt x="902693" y="710815"/>
                    <a:pt x="927100" y="694639"/>
                  </a:cubicBezTo>
                  <a:lnTo>
                    <a:pt x="927434" y="694368"/>
                  </a:lnTo>
                  <a:lnTo>
                    <a:pt x="927434" y="692863"/>
                  </a:lnTo>
                  <a:cubicBezTo>
                    <a:pt x="927434" y="691160"/>
                    <a:pt x="927434" y="687753"/>
                    <a:pt x="927434" y="680939"/>
                  </a:cubicBezTo>
                  <a:lnTo>
                    <a:pt x="927434" y="673541"/>
                  </a:lnTo>
                  <a:close/>
                  <a:moveTo>
                    <a:pt x="726107" y="669567"/>
                  </a:moveTo>
                  <a:lnTo>
                    <a:pt x="721048" y="682216"/>
                  </a:lnTo>
                  <a:lnTo>
                    <a:pt x="720543" y="683477"/>
                  </a:lnTo>
                  <a:lnTo>
                    <a:pt x="738569" y="674519"/>
                  </a:lnTo>
                  <a:lnTo>
                    <a:pt x="735000" y="673101"/>
                  </a:lnTo>
                  <a:close/>
                  <a:moveTo>
                    <a:pt x="784328" y="665545"/>
                  </a:moveTo>
                  <a:lnTo>
                    <a:pt x="783437" y="669109"/>
                  </a:lnTo>
                  <a:lnTo>
                    <a:pt x="783927" y="670084"/>
                  </a:lnTo>
                  <a:lnTo>
                    <a:pt x="786834" y="675870"/>
                  </a:lnTo>
                  <a:lnTo>
                    <a:pt x="792856" y="673678"/>
                  </a:lnTo>
                  <a:lnTo>
                    <a:pt x="794122" y="673343"/>
                  </a:lnTo>
                  <a:lnTo>
                    <a:pt x="792572" y="672108"/>
                  </a:lnTo>
                  <a:close/>
                  <a:moveTo>
                    <a:pt x="455613" y="662385"/>
                  </a:moveTo>
                  <a:cubicBezTo>
                    <a:pt x="455613" y="662385"/>
                    <a:pt x="447477" y="674589"/>
                    <a:pt x="439341" y="686792"/>
                  </a:cubicBezTo>
                  <a:lnTo>
                    <a:pt x="428467" y="703103"/>
                  </a:lnTo>
                  <a:lnTo>
                    <a:pt x="472203" y="737651"/>
                  </a:lnTo>
                  <a:lnTo>
                    <a:pt x="494721" y="759237"/>
                  </a:lnTo>
                  <a:lnTo>
                    <a:pt x="501027" y="759237"/>
                  </a:lnTo>
                  <a:cubicBezTo>
                    <a:pt x="505609" y="759237"/>
                    <a:pt x="511719" y="759237"/>
                    <a:pt x="519865" y="759237"/>
                  </a:cubicBezTo>
                  <a:cubicBezTo>
                    <a:pt x="519865" y="759237"/>
                    <a:pt x="519865" y="759237"/>
                    <a:pt x="487280" y="743068"/>
                  </a:cubicBezTo>
                  <a:cubicBezTo>
                    <a:pt x="487280" y="743068"/>
                    <a:pt x="487280" y="743068"/>
                    <a:pt x="519865" y="726899"/>
                  </a:cubicBezTo>
                  <a:cubicBezTo>
                    <a:pt x="519865" y="726899"/>
                    <a:pt x="519865" y="726899"/>
                    <a:pt x="470987" y="726899"/>
                  </a:cubicBezTo>
                  <a:cubicBezTo>
                    <a:pt x="470987" y="726899"/>
                    <a:pt x="470987" y="726899"/>
                    <a:pt x="503572" y="710730"/>
                  </a:cubicBezTo>
                  <a:cubicBezTo>
                    <a:pt x="503572" y="710730"/>
                    <a:pt x="503572" y="710730"/>
                    <a:pt x="497463" y="710730"/>
                  </a:cubicBezTo>
                  <a:lnTo>
                    <a:pt x="488392" y="710730"/>
                  </a:lnTo>
                  <a:lnTo>
                    <a:pt x="488157" y="711200"/>
                  </a:lnTo>
                  <a:lnTo>
                    <a:pt x="488157" y="710730"/>
                  </a:lnTo>
                  <a:lnTo>
                    <a:pt x="482952" y="710730"/>
                  </a:lnTo>
                  <a:lnTo>
                    <a:pt x="455848" y="710730"/>
                  </a:lnTo>
                  <a:lnTo>
                    <a:pt x="455613" y="711200"/>
                  </a:lnTo>
                  <a:lnTo>
                    <a:pt x="455613" y="710730"/>
                  </a:lnTo>
                  <a:lnTo>
                    <a:pt x="454694" y="710730"/>
                  </a:lnTo>
                  <a:cubicBezTo>
                    <a:pt x="454694" y="710730"/>
                    <a:pt x="454694" y="710730"/>
                    <a:pt x="455458" y="710225"/>
                  </a:cubicBezTo>
                  <a:lnTo>
                    <a:pt x="455613" y="710122"/>
                  </a:lnTo>
                  <a:lnTo>
                    <a:pt x="455613" y="705098"/>
                  </a:lnTo>
                  <a:cubicBezTo>
                    <a:pt x="455613" y="702047"/>
                    <a:pt x="455613" y="697471"/>
                    <a:pt x="455613" y="690606"/>
                  </a:cubicBezTo>
                  <a:lnTo>
                    <a:pt x="455613" y="690291"/>
                  </a:lnTo>
                  <a:lnTo>
                    <a:pt x="438401" y="694561"/>
                  </a:lnTo>
                  <a:cubicBezTo>
                    <a:pt x="438401" y="694561"/>
                    <a:pt x="438401" y="694561"/>
                    <a:pt x="444511" y="690519"/>
                  </a:cubicBezTo>
                  <a:lnTo>
                    <a:pt x="455613" y="683174"/>
                  </a:lnTo>
                  <a:close/>
                  <a:moveTo>
                    <a:pt x="585258" y="662277"/>
                  </a:moveTo>
                  <a:cubicBezTo>
                    <a:pt x="585258" y="662277"/>
                    <a:pt x="585258" y="662277"/>
                    <a:pt x="589315" y="666318"/>
                  </a:cubicBezTo>
                  <a:lnTo>
                    <a:pt x="592705" y="669694"/>
                  </a:lnTo>
                  <a:lnTo>
                    <a:pt x="593942" y="662277"/>
                  </a:lnTo>
                  <a:close/>
                  <a:moveTo>
                    <a:pt x="480101" y="662223"/>
                  </a:moveTo>
                  <a:lnTo>
                    <a:pt x="476553" y="669320"/>
                  </a:lnTo>
                  <a:lnTo>
                    <a:pt x="487280" y="662223"/>
                  </a:lnTo>
                  <a:close/>
                  <a:moveTo>
                    <a:pt x="779859" y="661988"/>
                  </a:moveTo>
                  <a:cubicBezTo>
                    <a:pt x="779859" y="661988"/>
                    <a:pt x="779859" y="661988"/>
                    <a:pt x="780368" y="663000"/>
                  </a:cubicBezTo>
                  <a:lnTo>
                    <a:pt x="781050" y="664358"/>
                  </a:lnTo>
                  <a:lnTo>
                    <a:pt x="781050" y="662936"/>
                  </a:lnTo>
                  <a:close/>
                  <a:moveTo>
                    <a:pt x="545804" y="660164"/>
                  </a:moveTo>
                  <a:lnTo>
                    <a:pt x="544022" y="666923"/>
                  </a:lnTo>
                  <a:lnTo>
                    <a:pt x="552979" y="662517"/>
                  </a:lnTo>
                  <a:close/>
                  <a:moveTo>
                    <a:pt x="758262" y="659146"/>
                  </a:moveTo>
                  <a:lnTo>
                    <a:pt x="754545" y="666579"/>
                  </a:lnTo>
                  <a:lnTo>
                    <a:pt x="763884" y="661938"/>
                  </a:lnTo>
                  <a:close/>
                  <a:moveTo>
                    <a:pt x="690785" y="655532"/>
                  </a:moveTo>
                  <a:lnTo>
                    <a:pt x="685311" y="664656"/>
                  </a:lnTo>
                  <a:lnTo>
                    <a:pt x="686947" y="666282"/>
                  </a:lnTo>
                  <a:lnTo>
                    <a:pt x="709688" y="688871"/>
                  </a:lnTo>
                  <a:lnTo>
                    <a:pt x="715963" y="685753"/>
                  </a:lnTo>
                  <a:lnTo>
                    <a:pt x="715963" y="684758"/>
                  </a:lnTo>
                  <a:lnTo>
                    <a:pt x="715963" y="665536"/>
                  </a:lnTo>
                  <a:lnTo>
                    <a:pt x="699445" y="658973"/>
                  </a:lnTo>
                  <a:close/>
                  <a:moveTo>
                    <a:pt x="839808" y="652443"/>
                  </a:moveTo>
                  <a:lnTo>
                    <a:pt x="836316" y="655934"/>
                  </a:lnTo>
                  <a:lnTo>
                    <a:pt x="840237" y="661136"/>
                  </a:lnTo>
                  <a:lnTo>
                    <a:pt x="848194" y="659030"/>
                  </a:lnTo>
                  <a:lnTo>
                    <a:pt x="850233" y="658667"/>
                  </a:lnTo>
                  <a:lnTo>
                    <a:pt x="841387" y="653386"/>
                  </a:lnTo>
                  <a:close/>
                  <a:moveTo>
                    <a:pt x="818737" y="652098"/>
                  </a:moveTo>
                  <a:lnTo>
                    <a:pt x="817588" y="654396"/>
                  </a:lnTo>
                  <a:lnTo>
                    <a:pt x="818505" y="655916"/>
                  </a:lnTo>
                  <a:lnTo>
                    <a:pt x="824210" y="665378"/>
                  </a:lnTo>
                  <a:lnTo>
                    <a:pt x="830428" y="663732"/>
                  </a:lnTo>
                  <a:lnTo>
                    <a:pt x="822573" y="655916"/>
                  </a:lnTo>
                  <a:close/>
                  <a:moveTo>
                    <a:pt x="518201" y="651111"/>
                  </a:moveTo>
                  <a:lnTo>
                    <a:pt x="515615" y="656283"/>
                  </a:lnTo>
                  <a:lnTo>
                    <a:pt x="509425" y="668664"/>
                  </a:lnTo>
                  <a:lnTo>
                    <a:pt x="518219" y="687487"/>
                  </a:lnTo>
                  <a:lnTo>
                    <a:pt x="520623" y="694648"/>
                  </a:lnTo>
                  <a:lnTo>
                    <a:pt x="520700" y="694623"/>
                  </a:lnTo>
                  <a:lnTo>
                    <a:pt x="520700" y="683741"/>
                  </a:lnTo>
                  <a:lnTo>
                    <a:pt x="520700" y="678657"/>
                  </a:lnTo>
                  <a:lnTo>
                    <a:pt x="520171" y="678657"/>
                  </a:lnTo>
                  <a:lnTo>
                    <a:pt x="520700" y="678396"/>
                  </a:lnTo>
                  <a:lnTo>
                    <a:pt x="520700" y="651931"/>
                  </a:lnTo>
                  <a:close/>
                  <a:moveTo>
                    <a:pt x="734914" y="647550"/>
                  </a:moveTo>
                  <a:lnTo>
                    <a:pt x="732235" y="654249"/>
                  </a:lnTo>
                  <a:lnTo>
                    <a:pt x="729793" y="660352"/>
                  </a:lnTo>
                  <a:lnTo>
                    <a:pt x="742226" y="672702"/>
                  </a:lnTo>
                  <a:lnTo>
                    <a:pt x="748507" y="669580"/>
                  </a:lnTo>
                  <a:lnTo>
                    <a:pt x="748507" y="654301"/>
                  </a:lnTo>
                  <a:close/>
                  <a:moveTo>
                    <a:pt x="1154602" y="646510"/>
                  </a:moveTo>
                  <a:cubicBezTo>
                    <a:pt x="1154602" y="646510"/>
                    <a:pt x="1154602" y="646510"/>
                    <a:pt x="1154602" y="660072"/>
                  </a:cubicBezTo>
                  <a:lnTo>
                    <a:pt x="1154602" y="673990"/>
                  </a:lnTo>
                  <a:lnTo>
                    <a:pt x="1170115" y="677139"/>
                  </a:lnTo>
                  <a:lnTo>
                    <a:pt x="1168849" y="674639"/>
                  </a:lnTo>
                  <a:cubicBezTo>
                    <a:pt x="1166813" y="670620"/>
                    <a:pt x="1162743" y="662584"/>
                    <a:pt x="1154602" y="646510"/>
                  </a:cubicBezTo>
                  <a:close/>
                  <a:moveTo>
                    <a:pt x="1089474" y="646510"/>
                  </a:moveTo>
                  <a:cubicBezTo>
                    <a:pt x="1089474" y="646510"/>
                    <a:pt x="1089474" y="646510"/>
                    <a:pt x="1096343" y="660072"/>
                  </a:cubicBezTo>
                  <a:lnTo>
                    <a:pt x="1097661" y="662675"/>
                  </a:lnTo>
                  <a:lnTo>
                    <a:pt x="1105191" y="662026"/>
                  </a:lnTo>
                  <a:close/>
                  <a:moveTo>
                    <a:pt x="1056909" y="646510"/>
                  </a:moveTo>
                  <a:cubicBezTo>
                    <a:pt x="1056909" y="646510"/>
                    <a:pt x="1056909" y="646510"/>
                    <a:pt x="1063778" y="660072"/>
                  </a:cubicBezTo>
                  <a:lnTo>
                    <a:pt x="1065056" y="662594"/>
                  </a:lnTo>
                  <a:lnTo>
                    <a:pt x="1083295" y="663876"/>
                  </a:lnTo>
                  <a:close/>
                  <a:moveTo>
                    <a:pt x="926844" y="646330"/>
                  </a:moveTo>
                  <a:lnTo>
                    <a:pt x="926735" y="646367"/>
                  </a:lnTo>
                  <a:lnTo>
                    <a:pt x="922387" y="647816"/>
                  </a:lnTo>
                  <a:lnTo>
                    <a:pt x="926178" y="647432"/>
                  </a:lnTo>
                  <a:lnTo>
                    <a:pt x="927062" y="646548"/>
                  </a:lnTo>
                  <a:close/>
                  <a:moveTo>
                    <a:pt x="667136" y="646135"/>
                  </a:moveTo>
                  <a:lnTo>
                    <a:pt x="666980" y="646447"/>
                  </a:lnTo>
                  <a:lnTo>
                    <a:pt x="667116" y="646582"/>
                  </a:lnTo>
                  <a:cubicBezTo>
                    <a:pt x="667879" y="647340"/>
                    <a:pt x="669404" y="648855"/>
                    <a:pt x="672455" y="651886"/>
                  </a:cubicBezTo>
                  <a:lnTo>
                    <a:pt x="675209" y="654621"/>
                  </a:lnTo>
                  <a:lnTo>
                    <a:pt x="676186" y="649732"/>
                  </a:lnTo>
                  <a:lnTo>
                    <a:pt x="669849" y="647213"/>
                  </a:lnTo>
                  <a:close/>
                  <a:moveTo>
                    <a:pt x="622584" y="646113"/>
                  </a:moveTo>
                  <a:lnTo>
                    <a:pt x="618340" y="657097"/>
                  </a:lnTo>
                  <a:lnTo>
                    <a:pt x="633941" y="662277"/>
                  </a:lnTo>
                  <a:cubicBezTo>
                    <a:pt x="633941" y="662277"/>
                    <a:pt x="633941" y="662277"/>
                    <a:pt x="627856" y="662277"/>
                  </a:cubicBezTo>
                  <a:lnTo>
                    <a:pt x="616339" y="662277"/>
                  </a:lnTo>
                  <a:lnTo>
                    <a:pt x="616298" y="662385"/>
                  </a:lnTo>
                  <a:lnTo>
                    <a:pt x="606331" y="683266"/>
                  </a:lnTo>
                  <a:lnTo>
                    <a:pt x="617714" y="694604"/>
                  </a:lnTo>
                  <a:cubicBezTo>
                    <a:pt x="617714" y="694604"/>
                    <a:pt x="617714" y="694604"/>
                    <a:pt x="604022" y="694604"/>
                  </a:cubicBezTo>
                  <a:lnTo>
                    <a:pt x="600920" y="694604"/>
                  </a:lnTo>
                  <a:lnTo>
                    <a:pt x="600280" y="695945"/>
                  </a:lnTo>
                  <a:lnTo>
                    <a:pt x="597099" y="700501"/>
                  </a:lnTo>
                  <a:lnTo>
                    <a:pt x="598950" y="701423"/>
                  </a:lnTo>
                  <a:lnTo>
                    <a:pt x="608837" y="706347"/>
                  </a:lnTo>
                  <a:lnTo>
                    <a:pt x="617537" y="696336"/>
                  </a:lnTo>
                  <a:lnTo>
                    <a:pt x="624044" y="689604"/>
                  </a:lnTo>
                  <a:lnTo>
                    <a:pt x="624661" y="688891"/>
                  </a:lnTo>
                  <a:lnTo>
                    <a:pt x="624424" y="689210"/>
                  </a:lnTo>
                  <a:lnTo>
                    <a:pt x="634603" y="678677"/>
                  </a:lnTo>
                  <a:lnTo>
                    <a:pt x="634603" y="677413"/>
                  </a:lnTo>
                  <a:lnTo>
                    <a:pt x="624661" y="688891"/>
                  </a:lnTo>
                  <a:lnTo>
                    <a:pt x="634603" y="675502"/>
                  </a:lnTo>
                  <a:lnTo>
                    <a:pt x="634603" y="670012"/>
                  </a:lnTo>
                  <a:lnTo>
                    <a:pt x="634603" y="646113"/>
                  </a:lnTo>
                  <a:close/>
                  <a:moveTo>
                    <a:pt x="585788" y="646113"/>
                  </a:moveTo>
                  <a:lnTo>
                    <a:pt x="585712" y="646264"/>
                  </a:lnTo>
                  <a:lnTo>
                    <a:pt x="586019" y="646366"/>
                  </a:lnTo>
                  <a:cubicBezTo>
                    <a:pt x="586780" y="646618"/>
                    <a:pt x="588301" y="647123"/>
                    <a:pt x="591344" y="648134"/>
                  </a:cubicBezTo>
                  <a:lnTo>
                    <a:pt x="596039" y="649693"/>
                  </a:lnTo>
                  <a:lnTo>
                    <a:pt x="596636" y="646113"/>
                  </a:lnTo>
                  <a:lnTo>
                    <a:pt x="595401" y="646113"/>
                  </a:lnTo>
                  <a:close/>
                  <a:moveTo>
                    <a:pt x="520700" y="646113"/>
                  </a:moveTo>
                  <a:lnTo>
                    <a:pt x="520568" y="646378"/>
                  </a:lnTo>
                  <a:lnTo>
                    <a:pt x="520700" y="646378"/>
                  </a:lnTo>
                  <a:close/>
                  <a:moveTo>
                    <a:pt x="828675" y="645795"/>
                  </a:moveTo>
                  <a:cubicBezTo>
                    <a:pt x="828675" y="645795"/>
                    <a:pt x="828675" y="645795"/>
                    <a:pt x="829438" y="646807"/>
                  </a:cubicBezTo>
                  <a:lnTo>
                    <a:pt x="829866" y="647376"/>
                  </a:lnTo>
                  <a:lnTo>
                    <a:pt x="829866" y="646506"/>
                  </a:lnTo>
                  <a:close/>
                  <a:moveTo>
                    <a:pt x="795673" y="645485"/>
                  </a:moveTo>
                  <a:lnTo>
                    <a:pt x="788402" y="649248"/>
                  </a:lnTo>
                  <a:lnTo>
                    <a:pt x="788273" y="649764"/>
                  </a:lnTo>
                  <a:lnTo>
                    <a:pt x="796131" y="645795"/>
                  </a:lnTo>
                  <a:lnTo>
                    <a:pt x="796290" y="645730"/>
                  </a:lnTo>
                  <a:close/>
                  <a:moveTo>
                    <a:pt x="549721" y="645309"/>
                  </a:moveTo>
                  <a:lnTo>
                    <a:pt x="549439" y="646378"/>
                  </a:lnTo>
                  <a:lnTo>
                    <a:pt x="552979" y="646378"/>
                  </a:lnTo>
                  <a:close/>
                  <a:moveTo>
                    <a:pt x="789915" y="643197"/>
                  </a:moveTo>
                  <a:lnTo>
                    <a:pt x="788819" y="647581"/>
                  </a:lnTo>
                  <a:lnTo>
                    <a:pt x="793770" y="644729"/>
                  </a:lnTo>
                  <a:lnTo>
                    <a:pt x="793032" y="644435"/>
                  </a:lnTo>
                  <a:close/>
                  <a:moveTo>
                    <a:pt x="806500" y="641102"/>
                  </a:moveTo>
                  <a:lnTo>
                    <a:pt x="800596" y="642936"/>
                  </a:lnTo>
                  <a:lnTo>
                    <a:pt x="795908" y="645363"/>
                  </a:lnTo>
                  <a:lnTo>
                    <a:pt x="796362" y="645701"/>
                  </a:lnTo>
                  <a:lnTo>
                    <a:pt x="806629" y="641489"/>
                  </a:lnTo>
                  <a:close/>
                  <a:moveTo>
                    <a:pt x="886474" y="638320"/>
                  </a:moveTo>
                  <a:lnTo>
                    <a:pt x="883410" y="641384"/>
                  </a:lnTo>
                  <a:lnTo>
                    <a:pt x="886303" y="647142"/>
                  </a:lnTo>
                  <a:lnTo>
                    <a:pt x="889360" y="641027"/>
                  </a:lnTo>
                  <a:lnTo>
                    <a:pt x="887660" y="639470"/>
                  </a:lnTo>
                  <a:close/>
                  <a:moveTo>
                    <a:pt x="770161" y="635348"/>
                  </a:moveTo>
                  <a:lnTo>
                    <a:pt x="764779" y="646113"/>
                  </a:lnTo>
                  <a:lnTo>
                    <a:pt x="759211" y="657247"/>
                  </a:lnTo>
                  <a:lnTo>
                    <a:pt x="763917" y="661922"/>
                  </a:lnTo>
                  <a:lnTo>
                    <a:pt x="763984" y="661889"/>
                  </a:lnTo>
                  <a:lnTo>
                    <a:pt x="763918" y="661923"/>
                  </a:lnTo>
                  <a:lnTo>
                    <a:pt x="763984" y="661988"/>
                  </a:lnTo>
                  <a:lnTo>
                    <a:pt x="763886" y="661939"/>
                  </a:lnTo>
                  <a:lnTo>
                    <a:pt x="754445" y="666779"/>
                  </a:lnTo>
                  <a:lnTo>
                    <a:pt x="754397" y="666875"/>
                  </a:lnTo>
                  <a:lnTo>
                    <a:pt x="781050" y="653413"/>
                  </a:lnTo>
                  <a:lnTo>
                    <a:pt x="781050" y="653054"/>
                  </a:lnTo>
                  <a:lnTo>
                    <a:pt x="763984" y="661889"/>
                  </a:lnTo>
                  <a:lnTo>
                    <a:pt x="781050" y="652057"/>
                  </a:lnTo>
                  <a:lnTo>
                    <a:pt x="781050" y="651198"/>
                  </a:lnTo>
                  <a:lnTo>
                    <a:pt x="781050" y="639675"/>
                  </a:lnTo>
                  <a:lnTo>
                    <a:pt x="774296" y="636991"/>
                  </a:lnTo>
                  <a:close/>
                  <a:moveTo>
                    <a:pt x="678321" y="634106"/>
                  </a:moveTo>
                  <a:lnTo>
                    <a:pt x="668513" y="643380"/>
                  </a:lnTo>
                  <a:lnTo>
                    <a:pt x="668001" y="644405"/>
                  </a:lnTo>
                  <a:close/>
                  <a:moveTo>
                    <a:pt x="1123472" y="632561"/>
                  </a:moveTo>
                  <a:lnTo>
                    <a:pt x="1122038" y="632803"/>
                  </a:lnTo>
                  <a:lnTo>
                    <a:pt x="1122038" y="632980"/>
                  </a:lnTo>
                  <a:cubicBezTo>
                    <a:pt x="1122038" y="635522"/>
                    <a:pt x="1122038" y="640608"/>
                    <a:pt x="1122038" y="650780"/>
                  </a:cubicBezTo>
                  <a:lnTo>
                    <a:pt x="1122038" y="666028"/>
                  </a:lnTo>
                  <a:lnTo>
                    <a:pt x="1150868" y="673128"/>
                  </a:lnTo>
                  <a:lnTo>
                    <a:pt x="1150531" y="672630"/>
                  </a:lnTo>
                  <a:cubicBezTo>
                    <a:pt x="1148496" y="669616"/>
                    <a:pt x="1145443" y="665095"/>
                    <a:pt x="1140864" y="658314"/>
                  </a:cubicBezTo>
                  <a:close/>
                  <a:moveTo>
                    <a:pt x="704606" y="632497"/>
                  </a:moveTo>
                  <a:lnTo>
                    <a:pt x="703540" y="634273"/>
                  </a:lnTo>
                  <a:lnTo>
                    <a:pt x="707585" y="638291"/>
                  </a:lnTo>
                  <a:lnTo>
                    <a:pt x="715963" y="646614"/>
                  </a:lnTo>
                  <a:lnTo>
                    <a:pt x="715963" y="638137"/>
                  </a:lnTo>
                  <a:lnTo>
                    <a:pt x="704903" y="632644"/>
                  </a:lnTo>
                  <a:close/>
                  <a:moveTo>
                    <a:pt x="1236012" y="630437"/>
                  </a:moveTo>
                  <a:cubicBezTo>
                    <a:pt x="1236012" y="630437"/>
                    <a:pt x="1236012" y="630437"/>
                    <a:pt x="1236012" y="657561"/>
                  </a:cubicBezTo>
                  <a:lnTo>
                    <a:pt x="1236012" y="693471"/>
                  </a:lnTo>
                  <a:lnTo>
                    <a:pt x="1262992" y="701048"/>
                  </a:lnTo>
                  <a:lnTo>
                    <a:pt x="1264909" y="701753"/>
                  </a:lnTo>
                  <a:lnTo>
                    <a:pt x="1263488" y="698247"/>
                  </a:lnTo>
                  <a:cubicBezTo>
                    <a:pt x="1254329" y="675643"/>
                    <a:pt x="1236012" y="630437"/>
                    <a:pt x="1236012" y="630437"/>
                  </a:cubicBezTo>
                  <a:close/>
                  <a:moveTo>
                    <a:pt x="1203448" y="630437"/>
                  </a:moveTo>
                  <a:cubicBezTo>
                    <a:pt x="1203448" y="630437"/>
                    <a:pt x="1203448" y="630437"/>
                    <a:pt x="1203448" y="657561"/>
                  </a:cubicBezTo>
                  <a:lnTo>
                    <a:pt x="1203448" y="684327"/>
                  </a:lnTo>
                  <a:lnTo>
                    <a:pt x="1235268" y="693263"/>
                  </a:lnTo>
                  <a:lnTo>
                    <a:pt x="1230924" y="684685"/>
                  </a:lnTo>
                  <a:cubicBezTo>
                    <a:pt x="1221765" y="666602"/>
                    <a:pt x="1203448" y="630437"/>
                    <a:pt x="1203448" y="630437"/>
                  </a:cubicBezTo>
                  <a:close/>
                  <a:moveTo>
                    <a:pt x="1187166" y="630437"/>
                  </a:moveTo>
                  <a:cubicBezTo>
                    <a:pt x="1187166" y="630437"/>
                    <a:pt x="1187166" y="630437"/>
                    <a:pt x="1180297" y="650780"/>
                  </a:cubicBezTo>
                  <a:lnTo>
                    <a:pt x="1171314" y="677382"/>
                  </a:lnTo>
                  <a:lnTo>
                    <a:pt x="1198007" y="682799"/>
                  </a:lnTo>
                  <a:lnTo>
                    <a:pt x="1200611" y="683531"/>
                  </a:lnTo>
                  <a:lnTo>
                    <a:pt x="1196579" y="667607"/>
                  </a:lnTo>
                  <a:cubicBezTo>
                    <a:pt x="1194289" y="658565"/>
                    <a:pt x="1191236" y="646510"/>
                    <a:pt x="1187166" y="630437"/>
                  </a:cubicBezTo>
                  <a:close/>
                  <a:moveTo>
                    <a:pt x="743960" y="624937"/>
                  </a:moveTo>
                  <a:lnTo>
                    <a:pt x="743422" y="626281"/>
                  </a:lnTo>
                  <a:lnTo>
                    <a:pt x="739047" y="637217"/>
                  </a:lnTo>
                  <a:lnTo>
                    <a:pt x="748507" y="646614"/>
                  </a:lnTo>
                  <a:lnTo>
                    <a:pt x="748507" y="626744"/>
                  </a:lnTo>
                  <a:lnTo>
                    <a:pt x="748261" y="626646"/>
                  </a:lnTo>
                  <a:close/>
                  <a:moveTo>
                    <a:pt x="634529" y="613786"/>
                  </a:moveTo>
                  <a:lnTo>
                    <a:pt x="633173" y="617764"/>
                  </a:lnTo>
                  <a:cubicBezTo>
                    <a:pt x="632251" y="620434"/>
                    <a:pt x="630917" y="624247"/>
                    <a:pt x="629264" y="628824"/>
                  </a:cubicBezTo>
                  <a:lnTo>
                    <a:pt x="628216" y="631536"/>
                  </a:lnTo>
                  <a:lnTo>
                    <a:pt x="634603" y="635777"/>
                  </a:lnTo>
                  <a:lnTo>
                    <a:pt x="634603" y="613786"/>
                  </a:lnTo>
                  <a:close/>
                  <a:moveTo>
                    <a:pt x="601951" y="613786"/>
                  </a:moveTo>
                  <a:lnTo>
                    <a:pt x="601835" y="614018"/>
                  </a:lnTo>
                  <a:lnTo>
                    <a:pt x="601970" y="614107"/>
                  </a:lnTo>
                  <a:lnTo>
                    <a:pt x="602024" y="613786"/>
                  </a:lnTo>
                  <a:close/>
                  <a:moveTo>
                    <a:pt x="715845" y="613766"/>
                  </a:moveTo>
                  <a:lnTo>
                    <a:pt x="715693" y="614018"/>
                  </a:lnTo>
                  <a:lnTo>
                    <a:pt x="715963" y="614286"/>
                  </a:lnTo>
                  <a:lnTo>
                    <a:pt x="715963" y="613813"/>
                  </a:lnTo>
                  <a:close/>
                  <a:moveTo>
                    <a:pt x="942628" y="613611"/>
                  </a:moveTo>
                  <a:lnTo>
                    <a:pt x="942755" y="614114"/>
                  </a:lnTo>
                  <a:lnTo>
                    <a:pt x="943109" y="613938"/>
                  </a:lnTo>
                  <a:lnTo>
                    <a:pt x="942780" y="613611"/>
                  </a:lnTo>
                  <a:lnTo>
                    <a:pt x="942752" y="613611"/>
                  </a:lnTo>
                  <a:close/>
                  <a:moveTo>
                    <a:pt x="797322" y="613569"/>
                  </a:moveTo>
                  <a:cubicBezTo>
                    <a:pt x="797322" y="613569"/>
                    <a:pt x="797322" y="613569"/>
                    <a:pt x="790458" y="641028"/>
                  </a:cubicBezTo>
                  <a:lnTo>
                    <a:pt x="790400" y="641259"/>
                  </a:lnTo>
                  <a:lnTo>
                    <a:pt x="794496" y="644311"/>
                  </a:lnTo>
                  <a:lnTo>
                    <a:pt x="805463" y="637992"/>
                  </a:lnTo>
                  <a:close/>
                  <a:moveTo>
                    <a:pt x="781050" y="613569"/>
                  </a:moveTo>
                  <a:cubicBezTo>
                    <a:pt x="781050" y="613569"/>
                    <a:pt x="779016" y="617637"/>
                    <a:pt x="775965" y="623739"/>
                  </a:cubicBezTo>
                  <a:lnTo>
                    <a:pt x="773500" y="628669"/>
                  </a:lnTo>
                  <a:lnTo>
                    <a:pt x="781050" y="634294"/>
                  </a:lnTo>
                  <a:close/>
                  <a:moveTo>
                    <a:pt x="683419" y="613569"/>
                  </a:moveTo>
                  <a:cubicBezTo>
                    <a:pt x="683419" y="613569"/>
                    <a:pt x="680368" y="619671"/>
                    <a:pt x="675791" y="628824"/>
                  </a:cubicBezTo>
                  <a:lnTo>
                    <a:pt x="668841" y="642724"/>
                  </a:lnTo>
                  <a:lnTo>
                    <a:pt x="679563" y="632847"/>
                  </a:lnTo>
                  <a:close/>
                  <a:moveTo>
                    <a:pt x="1032922" y="609379"/>
                  </a:moveTo>
                  <a:lnTo>
                    <a:pt x="1031807" y="609934"/>
                  </a:lnTo>
                  <a:lnTo>
                    <a:pt x="1030919" y="611112"/>
                  </a:lnTo>
                  <a:lnTo>
                    <a:pt x="1031112" y="611496"/>
                  </a:lnTo>
                  <a:close/>
                  <a:moveTo>
                    <a:pt x="1040210" y="597218"/>
                  </a:moveTo>
                  <a:lnTo>
                    <a:pt x="1040400" y="597312"/>
                  </a:lnTo>
                  <a:lnTo>
                    <a:pt x="1043239" y="597312"/>
                  </a:lnTo>
                  <a:lnTo>
                    <a:pt x="1043320" y="597218"/>
                  </a:lnTo>
                  <a:close/>
                  <a:moveTo>
                    <a:pt x="610016" y="581459"/>
                  </a:moveTo>
                  <a:lnTo>
                    <a:pt x="608355" y="584880"/>
                  </a:lnTo>
                  <a:lnTo>
                    <a:pt x="609600" y="585500"/>
                  </a:lnTo>
                  <a:lnTo>
                    <a:pt x="622939" y="592143"/>
                  </a:lnTo>
                  <a:lnTo>
                    <a:pt x="680680" y="581459"/>
                  </a:lnTo>
                  <a:lnTo>
                    <a:pt x="668045" y="581459"/>
                  </a:lnTo>
                  <a:cubicBezTo>
                    <a:pt x="650930" y="581459"/>
                    <a:pt x="630392" y="581459"/>
                    <a:pt x="616699" y="581459"/>
                  </a:cubicBezTo>
                  <a:close/>
                  <a:moveTo>
                    <a:pt x="763984" y="581170"/>
                  </a:moveTo>
                  <a:cubicBezTo>
                    <a:pt x="763984" y="581170"/>
                    <a:pt x="763984" y="581170"/>
                    <a:pt x="770086" y="585211"/>
                  </a:cubicBezTo>
                  <a:lnTo>
                    <a:pt x="771486" y="586138"/>
                  </a:lnTo>
                  <a:lnTo>
                    <a:pt x="795797" y="589070"/>
                  </a:lnTo>
                  <a:lnTo>
                    <a:pt x="774154" y="583695"/>
                  </a:lnTo>
                  <a:cubicBezTo>
                    <a:pt x="768052" y="582180"/>
                    <a:pt x="763984" y="581170"/>
                    <a:pt x="763984" y="581170"/>
                  </a:cubicBezTo>
                  <a:close/>
                  <a:moveTo>
                    <a:pt x="979550" y="569625"/>
                  </a:moveTo>
                  <a:lnTo>
                    <a:pt x="979998" y="571068"/>
                  </a:lnTo>
                  <a:lnTo>
                    <a:pt x="982680" y="585229"/>
                  </a:lnTo>
                  <a:lnTo>
                    <a:pt x="985154" y="586462"/>
                  </a:lnTo>
                  <a:lnTo>
                    <a:pt x="989139" y="586216"/>
                  </a:lnTo>
                  <a:lnTo>
                    <a:pt x="990118" y="580154"/>
                  </a:lnTo>
                  <a:close/>
                  <a:moveTo>
                    <a:pt x="821505" y="565383"/>
                  </a:moveTo>
                  <a:lnTo>
                    <a:pt x="811891" y="571734"/>
                  </a:lnTo>
                  <a:lnTo>
                    <a:pt x="826698" y="593797"/>
                  </a:lnTo>
                  <a:lnTo>
                    <a:pt x="830832" y="594614"/>
                  </a:lnTo>
                  <a:lnTo>
                    <a:pt x="836731" y="577076"/>
                  </a:lnTo>
                  <a:lnTo>
                    <a:pt x="837173" y="575759"/>
                  </a:lnTo>
                  <a:close/>
                  <a:moveTo>
                    <a:pt x="878682" y="565234"/>
                  </a:moveTo>
                  <a:cubicBezTo>
                    <a:pt x="878682" y="565234"/>
                    <a:pt x="878682" y="565234"/>
                    <a:pt x="858088" y="578840"/>
                  </a:cubicBezTo>
                  <a:lnTo>
                    <a:pt x="833434" y="595128"/>
                  </a:lnTo>
                  <a:lnTo>
                    <a:pt x="866653" y="601691"/>
                  </a:lnTo>
                  <a:lnTo>
                    <a:pt x="884689" y="606587"/>
                  </a:lnTo>
                  <a:lnTo>
                    <a:pt x="894159" y="603263"/>
                  </a:lnTo>
                  <a:lnTo>
                    <a:pt x="903028" y="601547"/>
                  </a:lnTo>
                  <a:lnTo>
                    <a:pt x="911225" y="597485"/>
                  </a:lnTo>
                  <a:cubicBezTo>
                    <a:pt x="911225" y="597485"/>
                    <a:pt x="911225" y="597485"/>
                    <a:pt x="862410" y="597485"/>
                  </a:cubicBezTo>
                  <a:cubicBezTo>
                    <a:pt x="862410" y="597485"/>
                    <a:pt x="862410" y="597485"/>
                    <a:pt x="878682" y="565234"/>
                  </a:cubicBezTo>
                  <a:close/>
                  <a:moveTo>
                    <a:pt x="1057170" y="564974"/>
                  </a:moveTo>
                  <a:cubicBezTo>
                    <a:pt x="1057170" y="564974"/>
                    <a:pt x="1057170" y="564974"/>
                    <a:pt x="1059200" y="566995"/>
                  </a:cubicBezTo>
                  <a:lnTo>
                    <a:pt x="1066548" y="574308"/>
                  </a:lnTo>
                  <a:lnTo>
                    <a:pt x="1079348" y="564974"/>
                  </a:lnTo>
                  <a:close/>
                  <a:moveTo>
                    <a:pt x="797097" y="549220"/>
                  </a:moveTo>
                  <a:lnTo>
                    <a:pt x="796860" y="549337"/>
                  </a:lnTo>
                  <a:lnTo>
                    <a:pt x="797036" y="549600"/>
                  </a:lnTo>
                  <a:cubicBezTo>
                    <a:pt x="797545" y="550358"/>
                    <a:pt x="798562" y="551873"/>
                    <a:pt x="800596" y="554904"/>
                  </a:cubicBezTo>
                  <a:lnTo>
                    <a:pt x="807849" y="565711"/>
                  </a:lnTo>
                  <a:lnTo>
                    <a:pt x="811052" y="560951"/>
                  </a:lnTo>
                  <a:lnTo>
                    <a:pt x="812210" y="559228"/>
                  </a:lnTo>
                  <a:lnTo>
                    <a:pt x="804155" y="553894"/>
                  </a:lnTo>
                  <a:close/>
                  <a:moveTo>
                    <a:pt x="846026" y="549182"/>
                  </a:moveTo>
                  <a:lnTo>
                    <a:pt x="845375" y="549612"/>
                  </a:lnTo>
                  <a:cubicBezTo>
                    <a:pt x="844612" y="550116"/>
                    <a:pt x="843087" y="551124"/>
                    <a:pt x="840036" y="553140"/>
                  </a:cubicBezTo>
                  <a:lnTo>
                    <a:pt x="830680" y="559321"/>
                  </a:lnTo>
                  <a:lnTo>
                    <a:pt x="838689" y="571254"/>
                  </a:lnTo>
                  <a:lnTo>
                    <a:pt x="846101" y="549219"/>
                  </a:lnTo>
                  <a:close/>
                  <a:moveTo>
                    <a:pt x="1042828" y="542542"/>
                  </a:moveTo>
                  <a:lnTo>
                    <a:pt x="1036944" y="546443"/>
                  </a:lnTo>
                  <a:lnTo>
                    <a:pt x="1023873" y="555109"/>
                  </a:lnTo>
                  <a:lnTo>
                    <a:pt x="1023936" y="565112"/>
                  </a:lnTo>
                  <a:lnTo>
                    <a:pt x="1031924" y="565112"/>
                  </a:lnTo>
                  <a:lnTo>
                    <a:pt x="1033094" y="563245"/>
                  </a:lnTo>
                  <a:close/>
                  <a:moveTo>
                    <a:pt x="821629" y="537064"/>
                  </a:moveTo>
                  <a:lnTo>
                    <a:pt x="817212" y="539253"/>
                  </a:lnTo>
                  <a:lnTo>
                    <a:pt x="821425" y="545530"/>
                  </a:lnTo>
                  <a:lnTo>
                    <a:pt x="825745" y="539109"/>
                  </a:lnTo>
                  <a:lnTo>
                    <a:pt x="822970" y="537730"/>
                  </a:lnTo>
                  <a:close/>
                  <a:moveTo>
                    <a:pt x="1073415" y="532636"/>
                  </a:moveTo>
                  <a:cubicBezTo>
                    <a:pt x="1073415" y="532636"/>
                    <a:pt x="1073415" y="532636"/>
                    <a:pt x="1087122" y="546279"/>
                  </a:cubicBezTo>
                  <a:lnTo>
                    <a:pt x="1093415" y="552541"/>
                  </a:lnTo>
                  <a:lnTo>
                    <a:pt x="1105758" y="543366"/>
                  </a:lnTo>
                  <a:lnTo>
                    <a:pt x="1101591" y="541984"/>
                  </a:lnTo>
                  <a:cubicBezTo>
                    <a:pt x="1094737" y="539710"/>
                    <a:pt x="1085599" y="536678"/>
                    <a:pt x="1073415" y="532636"/>
                  </a:cubicBezTo>
                  <a:close/>
                  <a:moveTo>
                    <a:pt x="1057054" y="522201"/>
                  </a:moveTo>
                  <a:lnTo>
                    <a:pt x="1053180" y="523485"/>
                  </a:lnTo>
                  <a:cubicBezTo>
                    <a:pt x="1046330" y="525756"/>
                    <a:pt x="1037198" y="528783"/>
                    <a:pt x="1025021" y="532820"/>
                  </a:cubicBezTo>
                  <a:cubicBezTo>
                    <a:pt x="1025021" y="532820"/>
                    <a:pt x="1025021" y="532820"/>
                    <a:pt x="1038720" y="532820"/>
                  </a:cubicBezTo>
                  <a:lnTo>
                    <a:pt x="1049526" y="532820"/>
                  </a:lnTo>
                  <a:close/>
                  <a:moveTo>
                    <a:pt x="968423" y="520127"/>
                  </a:moveTo>
                  <a:lnTo>
                    <a:pt x="969536" y="523049"/>
                  </a:lnTo>
                  <a:lnTo>
                    <a:pt x="973737" y="550914"/>
                  </a:lnTo>
                  <a:lnTo>
                    <a:pt x="978253" y="565451"/>
                  </a:lnTo>
                  <a:lnTo>
                    <a:pt x="979409" y="565451"/>
                  </a:lnTo>
                  <a:cubicBezTo>
                    <a:pt x="981433" y="565451"/>
                    <a:pt x="984469" y="565451"/>
                    <a:pt x="989023" y="565451"/>
                  </a:cubicBezTo>
                  <a:lnTo>
                    <a:pt x="992494" y="565451"/>
                  </a:lnTo>
                  <a:lnTo>
                    <a:pt x="992549" y="565112"/>
                  </a:lnTo>
                  <a:lnTo>
                    <a:pt x="994095" y="551851"/>
                  </a:lnTo>
                  <a:lnTo>
                    <a:pt x="994083" y="551839"/>
                  </a:lnTo>
                  <a:cubicBezTo>
                    <a:pt x="989529" y="547302"/>
                    <a:pt x="983457" y="541252"/>
                    <a:pt x="975360" y="533186"/>
                  </a:cubicBezTo>
                  <a:cubicBezTo>
                    <a:pt x="975360" y="533186"/>
                    <a:pt x="975360" y="533186"/>
                    <a:pt x="989023" y="533186"/>
                  </a:cubicBezTo>
                  <a:lnTo>
                    <a:pt x="996271" y="533186"/>
                  </a:lnTo>
                  <a:lnTo>
                    <a:pt x="996699" y="529518"/>
                  </a:lnTo>
                  <a:lnTo>
                    <a:pt x="987252" y="526380"/>
                  </a:lnTo>
                  <a:close/>
                  <a:moveTo>
                    <a:pt x="717902" y="519030"/>
                  </a:moveTo>
                  <a:lnTo>
                    <a:pt x="716095" y="519330"/>
                  </a:lnTo>
                  <a:cubicBezTo>
                    <a:pt x="706967" y="520845"/>
                    <a:pt x="694796" y="522865"/>
                    <a:pt x="682625" y="524886"/>
                  </a:cubicBezTo>
                  <a:lnTo>
                    <a:pt x="660633" y="528537"/>
                  </a:lnTo>
                  <a:lnTo>
                    <a:pt x="650875" y="532983"/>
                  </a:lnTo>
                  <a:cubicBezTo>
                    <a:pt x="650875" y="532983"/>
                    <a:pt x="650875" y="532983"/>
                    <a:pt x="651892" y="531723"/>
                  </a:cubicBezTo>
                  <a:lnTo>
                    <a:pt x="653510" y="529719"/>
                  </a:lnTo>
                  <a:lnTo>
                    <a:pt x="649155" y="530442"/>
                  </a:lnTo>
                  <a:cubicBezTo>
                    <a:pt x="640027" y="531957"/>
                    <a:pt x="633941" y="532968"/>
                    <a:pt x="633941" y="532968"/>
                  </a:cubicBezTo>
                  <a:cubicBezTo>
                    <a:pt x="633941" y="532968"/>
                    <a:pt x="633941" y="532968"/>
                    <a:pt x="688298" y="543796"/>
                  </a:cubicBezTo>
                  <a:lnTo>
                    <a:pt x="701335" y="546393"/>
                  </a:lnTo>
                  <a:lnTo>
                    <a:pt x="705793" y="539030"/>
                  </a:lnTo>
                  <a:close/>
                  <a:moveTo>
                    <a:pt x="1089661" y="516467"/>
                  </a:moveTo>
                  <a:cubicBezTo>
                    <a:pt x="1089661" y="516467"/>
                    <a:pt x="1089661" y="516467"/>
                    <a:pt x="1103368" y="530110"/>
                  </a:cubicBezTo>
                  <a:lnTo>
                    <a:pt x="1112015" y="538716"/>
                  </a:lnTo>
                  <a:lnTo>
                    <a:pt x="1125811" y="528461"/>
                  </a:lnTo>
                  <a:lnTo>
                    <a:pt x="1117837" y="525815"/>
                  </a:lnTo>
                  <a:cubicBezTo>
                    <a:pt x="1110983" y="523541"/>
                    <a:pt x="1101845" y="520509"/>
                    <a:pt x="1089661" y="516467"/>
                  </a:cubicBezTo>
                  <a:close/>
                  <a:moveTo>
                    <a:pt x="764778" y="500731"/>
                  </a:moveTo>
                  <a:cubicBezTo>
                    <a:pt x="764778" y="500731"/>
                    <a:pt x="728167" y="527943"/>
                    <a:pt x="709861" y="541549"/>
                  </a:cubicBezTo>
                  <a:lnTo>
                    <a:pt x="702919" y="546709"/>
                  </a:lnTo>
                  <a:lnTo>
                    <a:pt x="715080" y="549131"/>
                  </a:lnTo>
                  <a:cubicBezTo>
                    <a:pt x="715080" y="549131"/>
                    <a:pt x="640534" y="561507"/>
                    <a:pt x="621897" y="564600"/>
                  </a:cubicBezTo>
                  <a:lnTo>
                    <a:pt x="617877" y="565268"/>
                  </a:lnTo>
                  <a:lnTo>
                    <a:pt x="617851" y="565322"/>
                  </a:lnTo>
                  <a:lnTo>
                    <a:pt x="618982" y="565547"/>
                  </a:lnTo>
                  <a:cubicBezTo>
                    <a:pt x="622785" y="566305"/>
                    <a:pt x="637999" y="569336"/>
                    <a:pt x="698853" y="581459"/>
                  </a:cubicBezTo>
                  <a:lnTo>
                    <a:pt x="693734" y="581459"/>
                  </a:lnTo>
                  <a:lnTo>
                    <a:pt x="725022" y="582725"/>
                  </a:lnTo>
                  <a:lnTo>
                    <a:pt x="725735" y="581928"/>
                  </a:lnTo>
                  <a:cubicBezTo>
                    <a:pt x="742007" y="566522"/>
                    <a:pt x="760313" y="551873"/>
                    <a:pt x="780653" y="538740"/>
                  </a:cubicBezTo>
                  <a:lnTo>
                    <a:pt x="802931" y="527424"/>
                  </a:lnTo>
                  <a:lnTo>
                    <a:pt x="813594" y="516857"/>
                  </a:lnTo>
                  <a:cubicBezTo>
                    <a:pt x="813594" y="516857"/>
                    <a:pt x="732235" y="565234"/>
                    <a:pt x="732235" y="565234"/>
                  </a:cubicBezTo>
                  <a:cubicBezTo>
                    <a:pt x="732235" y="565234"/>
                    <a:pt x="732235" y="565234"/>
                    <a:pt x="764778" y="500731"/>
                  </a:cubicBezTo>
                  <a:close/>
                  <a:moveTo>
                    <a:pt x="878305" y="500559"/>
                  </a:moveTo>
                  <a:lnTo>
                    <a:pt x="881955" y="502372"/>
                  </a:lnTo>
                  <a:cubicBezTo>
                    <a:pt x="886023" y="504393"/>
                    <a:pt x="894159" y="508434"/>
                    <a:pt x="910431" y="516515"/>
                  </a:cubicBezTo>
                  <a:cubicBezTo>
                    <a:pt x="910431" y="516515"/>
                    <a:pt x="861615" y="516515"/>
                    <a:pt x="861615" y="516515"/>
                  </a:cubicBezTo>
                  <a:cubicBezTo>
                    <a:pt x="861615" y="516515"/>
                    <a:pt x="861615" y="516515"/>
                    <a:pt x="894159" y="532679"/>
                  </a:cubicBezTo>
                  <a:cubicBezTo>
                    <a:pt x="894159" y="532679"/>
                    <a:pt x="891108" y="532679"/>
                    <a:pt x="886532" y="532679"/>
                  </a:cubicBezTo>
                  <a:lnTo>
                    <a:pt x="872024" y="532679"/>
                  </a:lnTo>
                  <a:lnTo>
                    <a:pt x="881538" y="540705"/>
                  </a:lnTo>
                  <a:lnTo>
                    <a:pt x="887072" y="544825"/>
                  </a:lnTo>
                  <a:cubicBezTo>
                    <a:pt x="902072" y="557171"/>
                    <a:pt x="915293" y="569265"/>
                    <a:pt x="927497" y="581360"/>
                  </a:cubicBezTo>
                  <a:lnTo>
                    <a:pt x="938836" y="594621"/>
                  </a:lnTo>
                  <a:lnTo>
                    <a:pt x="956734" y="591159"/>
                  </a:lnTo>
                  <a:lnTo>
                    <a:pt x="963602" y="589456"/>
                  </a:lnTo>
                  <a:lnTo>
                    <a:pt x="955283" y="583950"/>
                  </a:lnTo>
                  <a:cubicBezTo>
                    <a:pt x="948411" y="579401"/>
                    <a:pt x="939248" y="573336"/>
                    <a:pt x="927031" y="565250"/>
                  </a:cubicBezTo>
                  <a:cubicBezTo>
                    <a:pt x="927031" y="565250"/>
                    <a:pt x="927031" y="565250"/>
                    <a:pt x="959610" y="565250"/>
                  </a:cubicBezTo>
                  <a:cubicBezTo>
                    <a:pt x="959610" y="565250"/>
                    <a:pt x="959610" y="565250"/>
                    <a:pt x="910742" y="549077"/>
                  </a:cubicBezTo>
                  <a:cubicBezTo>
                    <a:pt x="910742" y="549077"/>
                    <a:pt x="910742" y="549077"/>
                    <a:pt x="959610" y="532905"/>
                  </a:cubicBezTo>
                  <a:cubicBezTo>
                    <a:pt x="959610" y="532905"/>
                    <a:pt x="959610" y="532905"/>
                    <a:pt x="894453" y="532905"/>
                  </a:cubicBezTo>
                  <a:cubicBezTo>
                    <a:pt x="894453" y="532905"/>
                    <a:pt x="894453" y="532905"/>
                    <a:pt x="943320" y="500559"/>
                  </a:cubicBezTo>
                  <a:cubicBezTo>
                    <a:pt x="943320" y="500559"/>
                    <a:pt x="943320" y="500559"/>
                    <a:pt x="915832" y="500559"/>
                  </a:cubicBezTo>
                  <a:close/>
                  <a:moveTo>
                    <a:pt x="877887" y="500352"/>
                  </a:moveTo>
                  <a:lnTo>
                    <a:pt x="878248" y="500531"/>
                  </a:lnTo>
                  <a:lnTo>
                    <a:pt x="878790" y="500352"/>
                  </a:lnTo>
                  <a:close/>
                  <a:moveTo>
                    <a:pt x="1105906" y="500298"/>
                  </a:moveTo>
                  <a:cubicBezTo>
                    <a:pt x="1105906" y="500298"/>
                    <a:pt x="1105906" y="500298"/>
                    <a:pt x="1119613" y="513941"/>
                  </a:cubicBezTo>
                  <a:lnTo>
                    <a:pt x="1130615" y="524890"/>
                  </a:lnTo>
                  <a:lnTo>
                    <a:pt x="1149205" y="511072"/>
                  </a:lnTo>
                  <a:lnTo>
                    <a:pt x="1138397" y="508383"/>
                  </a:lnTo>
                  <a:cubicBezTo>
                    <a:pt x="1122152" y="504340"/>
                    <a:pt x="1105906" y="500298"/>
                    <a:pt x="1105906" y="500298"/>
                  </a:cubicBezTo>
                  <a:close/>
                  <a:moveTo>
                    <a:pt x="677713" y="499737"/>
                  </a:moveTo>
                  <a:lnTo>
                    <a:pt x="665383" y="500388"/>
                  </a:lnTo>
                  <a:cubicBezTo>
                    <a:pt x="656255" y="500640"/>
                    <a:pt x="650169" y="500640"/>
                    <a:pt x="650169" y="500640"/>
                  </a:cubicBezTo>
                  <a:cubicBezTo>
                    <a:pt x="650169" y="500640"/>
                    <a:pt x="650169" y="500640"/>
                    <a:pt x="660312" y="502661"/>
                  </a:cubicBezTo>
                  <a:lnTo>
                    <a:pt x="673269" y="505242"/>
                  </a:lnTo>
                  <a:close/>
                  <a:moveTo>
                    <a:pt x="1178143" y="495824"/>
                  </a:moveTo>
                  <a:lnTo>
                    <a:pt x="1171925" y="500644"/>
                  </a:lnTo>
                  <a:lnTo>
                    <a:pt x="1179111" y="496306"/>
                  </a:lnTo>
                  <a:close/>
                  <a:moveTo>
                    <a:pt x="733401" y="493429"/>
                  </a:moveTo>
                  <a:lnTo>
                    <a:pt x="732322" y="493821"/>
                  </a:lnTo>
                  <a:lnTo>
                    <a:pt x="710953" y="496885"/>
                  </a:lnTo>
                  <a:lnTo>
                    <a:pt x="705793" y="500731"/>
                  </a:lnTo>
                  <a:lnTo>
                    <a:pt x="693237" y="509220"/>
                  </a:lnTo>
                  <a:lnTo>
                    <a:pt x="704526" y="511469"/>
                  </a:lnTo>
                  <a:lnTo>
                    <a:pt x="720547" y="514660"/>
                  </a:lnTo>
                  <a:close/>
                  <a:moveTo>
                    <a:pt x="1083788" y="485917"/>
                  </a:moveTo>
                  <a:lnTo>
                    <a:pt x="1081846" y="486400"/>
                  </a:lnTo>
                  <a:cubicBezTo>
                    <a:pt x="1077787" y="487409"/>
                    <a:pt x="1071699" y="488923"/>
                    <a:pt x="1062566" y="491193"/>
                  </a:cubicBezTo>
                  <a:lnTo>
                    <a:pt x="1025721" y="500354"/>
                  </a:lnTo>
                  <a:lnTo>
                    <a:pt x="1025670" y="500743"/>
                  </a:lnTo>
                  <a:lnTo>
                    <a:pt x="1027589" y="501379"/>
                  </a:lnTo>
                  <a:cubicBezTo>
                    <a:pt x="1030158" y="502231"/>
                    <a:pt x="1035295" y="503934"/>
                    <a:pt x="1045569" y="507339"/>
                  </a:cubicBezTo>
                  <a:lnTo>
                    <a:pt x="1063399" y="513250"/>
                  </a:lnTo>
                  <a:lnTo>
                    <a:pt x="1072255" y="500757"/>
                  </a:lnTo>
                  <a:lnTo>
                    <a:pt x="1072338" y="500625"/>
                  </a:lnTo>
                  <a:lnTo>
                    <a:pt x="1072460" y="500468"/>
                  </a:lnTo>
                  <a:lnTo>
                    <a:pt x="1075446" y="496256"/>
                  </a:lnTo>
                  <a:lnTo>
                    <a:pt x="1077341" y="494198"/>
                  </a:lnTo>
                  <a:close/>
                  <a:moveTo>
                    <a:pt x="532119" y="473290"/>
                  </a:moveTo>
                  <a:lnTo>
                    <a:pt x="530870" y="474527"/>
                  </a:lnTo>
                  <a:lnTo>
                    <a:pt x="529393" y="475991"/>
                  </a:lnTo>
                  <a:lnTo>
                    <a:pt x="535294" y="489773"/>
                  </a:lnTo>
                  <a:lnTo>
                    <a:pt x="537604" y="499688"/>
                  </a:lnTo>
                  <a:lnTo>
                    <a:pt x="537735" y="499472"/>
                  </a:lnTo>
                  <a:lnTo>
                    <a:pt x="540543" y="494834"/>
                  </a:lnTo>
                  <a:lnTo>
                    <a:pt x="536752" y="482771"/>
                  </a:lnTo>
                  <a:close/>
                  <a:moveTo>
                    <a:pt x="949441" y="470267"/>
                  </a:moveTo>
                  <a:lnTo>
                    <a:pt x="966346" y="514670"/>
                  </a:lnTo>
                  <a:lnTo>
                    <a:pt x="979662" y="510248"/>
                  </a:lnTo>
                  <a:lnTo>
                    <a:pt x="1001516" y="502990"/>
                  </a:lnTo>
                  <a:lnTo>
                    <a:pt x="1002613" y="499217"/>
                  </a:lnTo>
                  <a:lnTo>
                    <a:pt x="1001674" y="498905"/>
                  </a:lnTo>
                  <a:cubicBezTo>
                    <a:pt x="995601" y="496888"/>
                    <a:pt x="983457" y="492855"/>
                    <a:pt x="959168" y="484789"/>
                  </a:cubicBezTo>
                  <a:cubicBezTo>
                    <a:pt x="959168" y="484789"/>
                    <a:pt x="959168" y="484789"/>
                    <a:pt x="979662" y="484789"/>
                  </a:cubicBezTo>
                  <a:lnTo>
                    <a:pt x="1006808" y="484789"/>
                  </a:lnTo>
                  <a:lnTo>
                    <a:pt x="1006872" y="484571"/>
                  </a:lnTo>
                  <a:lnTo>
                    <a:pt x="1006734" y="484537"/>
                  </a:lnTo>
                  <a:cubicBezTo>
                    <a:pt x="1004710" y="484033"/>
                    <a:pt x="998637" y="482520"/>
                    <a:pt x="980421" y="477983"/>
                  </a:cubicBezTo>
                  <a:close/>
                  <a:moveTo>
                    <a:pt x="748507" y="468480"/>
                  </a:moveTo>
                  <a:cubicBezTo>
                    <a:pt x="748507" y="468480"/>
                    <a:pt x="743422" y="472511"/>
                    <a:pt x="735540" y="478558"/>
                  </a:cubicBezTo>
                  <a:lnTo>
                    <a:pt x="732592" y="480756"/>
                  </a:lnTo>
                  <a:lnTo>
                    <a:pt x="739963" y="482591"/>
                  </a:lnTo>
                  <a:close/>
                  <a:moveTo>
                    <a:pt x="691807" y="468313"/>
                  </a:moveTo>
                  <a:lnTo>
                    <a:pt x="689294" y="469974"/>
                  </a:lnTo>
                  <a:lnTo>
                    <a:pt x="690739" y="470334"/>
                  </a:lnTo>
                  <a:lnTo>
                    <a:pt x="699656" y="472554"/>
                  </a:lnTo>
                  <a:lnTo>
                    <a:pt x="703080" y="468313"/>
                  </a:lnTo>
                  <a:lnTo>
                    <a:pt x="695303" y="468313"/>
                  </a:lnTo>
                  <a:close/>
                  <a:moveTo>
                    <a:pt x="1122152" y="467960"/>
                  </a:moveTo>
                  <a:cubicBezTo>
                    <a:pt x="1122152" y="467960"/>
                    <a:pt x="1122152" y="467960"/>
                    <a:pt x="1142712" y="488424"/>
                  </a:cubicBezTo>
                  <a:lnTo>
                    <a:pt x="1158515" y="504152"/>
                  </a:lnTo>
                  <a:lnTo>
                    <a:pt x="1162046" y="501527"/>
                  </a:lnTo>
                  <a:lnTo>
                    <a:pt x="1175209" y="494364"/>
                  </a:lnTo>
                  <a:lnTo>
                    <a:pt x="1154643" y="484129"/>
                  </a:lnTo>
                  <a:cubicBezTo>
                    <a:pt x="1138397" y="476045"/>
                    <a:pt x="1122152" y="467960"/>
                    <a:pt x="1122152" y="467960"/>
                  </a:cubicBezTo>
                  <a:close/>
                  <a:moveTo>
                    <a:pt x="1229281" y="465774"/>
                  </a:moveTo>
                  <a:lnTo>
                    <a:pt x="1181855" y="493293"/>
                  </a:lnTo>
                  <a:lnTo>
                    <a:pt x="1182557" y="494225"/>
                  </a:lnTo>
                  <a:lnTo>
                    <a:pt x="1214767" y="474779"/>
                  </a:lnTo>
                  <a:lnTo>
                    <a:pt x="1232507" y="466845"/>
                  </a:lnTo>
                  <a:lnTo>
                    <a:pt x="1231681" y="466571"/>
                  </a:lnTo>
                  <a:close/>
                  <a:moveTo>
                    <a:pt x="499978" y="451460"/>
                  </a:moveTo>
                  <a:lnTo>
                    <a:pt x="494877" y="455618"/>
                  </a:lnTo>
                  <a:lnTo>
                    <a:pt x="503767" y="452702"/>
                  </a:lnTo>
                  <a:close/>
                  <a:moveTo>
                    <a:pt x="515335" y="438944"/>
                  </a:moveTo>
                  <a:lnTo>
                    <a:pt x="513996" y="440035"/>
                  </a:lnTo>
                  <a:lnTo>
                    <a:pt x="526708" y="469722"/>
                  </a:lnTo>
                  <a:lnTo>
                    <a:pt x="528367" y="465612"/>
                  </a:lnTo>
                  <a:close/>
                  <a:moveTo>
                    <a:pt x="1140094" y="436185"/>
                  </a:moveTo>
                  <a:lnTo>
                    <a:pt x="1139404" y="436958"/>
                  </a:lnTo>
                  <a:lnTo>
                    <a:pt x="1144489" y="443707"/>
                  </a:lnTo>
                  <a:cubicBezTo>
                    <a:pt x="1147535" y="447749"/>
                    <a:pt x="1152104" y="453812"/>
                    <a:pt x="1158958" y="462907"/>
                  </a:cubicBezTo>
                  <a:lnTo>
                    <a:pt x="1180494" y="491487"/>
                  </a:lnTo>
                  <a:lnTo>
                    <a:pt x="1228324" y="465457"/>
                  </a:lnTo>
                  <a:lnTo>
                    <a:pt x="1220640" y="462907"/>
                  </a:lnTo>
                  <a:cubicBezTo>
                    <a:pt x="1197795" y="455328"/>
                    <a:pt x="1155912" y="441433"/>
                    <a:pt x="1142586" y="437012"/>
                  </a:cubicBezTo>
                  <a:close/>
                  <a:moveTo>
                    <a:pt x="585788" y="420103"/>
                  </a:moveTo>
                  <a:cubicBezTo>
                    <a:pt x="585788" y="420103"/>
                    <a:pt x="569516" y="436229"/>
                    <a:pt x="553244" y="452354"/>
                  </a:cubicBezTo>
                  <a:lnTo>
                    <a:pt x="536760" y="468691"/>
                  </a:lnTo>
                  <a:lnTo>
                    <a:pt x="540798" y="494412"/>
                  </a:lnTo>
                  <a:lnTo>
                    <a:pt x="543074" y="490653"/>
                  </a:lnTo>
                  <a:cubicBezTo>
                    <a:pt x="549176" y="480574"/>
                    <a:pt x="561380" y="460417"/>
                    <a:pt x="585788" y="420103"/>
                  </a:cubicBezTo>
                  <a:close/>
                  <a:moveTo>
                    <a:pt x="1170888" y="419453"/>
                  </a:moveTo>
                  <a:cubicBezTo>
                    <a:pt x="1170888" y="419453"/>
                    <a:pt x="1170888" y="419453"/>
                    <a:pt x="1198302" y="439917"/>
                  </a:cubicBezTo>
                  <a:lnTo>
                    <a:pt x="1230749" y="464138"/>
                  </a:lnTo>
                  <a:lnTo>
                    <a:pt x="1252538" y="452279"/>
                  </a:lnTo>
                  <a:lnTo>
                    <a:pt x="1231340" y="464579"/>
                  </a:lnTo>
                  <a:lnTo>
                    <a:pt x="1233675" y="466322"/>
                  </a:lnTo>
                  <a:lnTo>
                    <a:pt x="1267099" y="451373"/>
                  </a:lnTo>
                  <a:lnTo>
                    <a:pt x="1264172" y="450402"/>
                  </a:lnTo>
                  <a:lnTo>
                    <a:pt x="1260094" y="449048"/>
                  </a:lnTo>
                  <a:lnTo>
                    <a:pt x="1252538" y="452279"/>
                  </a:lnTo>
                  <a:lnTo>
                    <a:pt x="1259324" y="448793"/>
                  </a:lnTo>
                  <a:lnTo>
                    <a:pt x="1253131" y="446738"/>
                  </a:lnTo>
                  <a:cubicBezTo>
                    <a:pt x="1225717" y="437643"/>
                    <a:pt x="1170888" y="419453"/>
                    <a:pt x="1170888" y="419453"/>
                  </a:cubicBezTo>
                  <a:close/>
                  <a:moveTo>
                    <a:pt x="553244" y="403977"/>
                  </a:moveTo>
                  <a:cubicBezTo>
                    <a:pt x="553244" y="403977"/>
                    <a:pt x="536972" y="420103"/>
                    <a:pt x="518666" y="436229"/>
                  </a:cubicBezTo>
                  <a:lnTo>
                    <a:pt x="518027" y="436749"/>
                  </a:lnTo>
                  <a:lnTo>
                    <a:pt x="531058" y="458944"/>
                  </a:lnTo>
                  <a:lnTo>
                    <a:pt x="534430" y="450590"/>
                  </a:lnTo>
                  <a:cubicBezTo>
                    <a:pt x="539006" y="439252"/>
                    <a:pt x="545108" y="424134"/>
                    <a:pt x="553244" y="403977"/>
                  </a:cubicBezTo>
                  <a:close/>
                  <a:moveTo>
                    <a:pt x="484270" y="402835"/>
                  </a:moveTo>
                  <a:lnTo>
                    <a:pt x="482320" y="404284"/>
                  </a:lnTo>
                  <a:lnTo>
                    <a:pt x="487362" y="404284"/>
                  </a:lnTo>
                  <a:close/>
                  <a:moveTo>
                    <a:pt x="489752" y="398760"/>
                  </a:moveTo>
                  <a:lnTo>
                    <a:pt x="489547" y="398912"/>
                  </a:lnTo>
                  <a:lnTo>
                    <a:pt x="495953" y="408849"/>
                  </a:lnTo>
                  <a:lnTo>
                    <a:pt x="496554" y="407359"/>
                  </a:lnTo>
                  <a:close/>
                  <a:moveTo>
                    <a:pt x="504428" y="387851"/>
                  </a:moveTo>
                  <a:cubicBezTo>
                    <a:pt x="504428" y="387851"/>
                    <a:pt x="500360" y="390875"/>
                    <a:pt x="494258" y="395410"/>
                  </a:cubicBezTo>
                  <a:lnTo>
                    <a:pt x="491209" y="397677"/>
                  </a:lnTo>
                  <a:lnTo>
                    <a:pt x="497185" y="405797"/>
                  </a:lnTo>
                  <a:close/>
                  <a:moveTo>
                    <a:pt x="439341" y="387851"/>
                  </a:moveTo>
                  <a:lnTo>
                    <a:pt x="438160" y="388144"/>
                  </a:lnTo>
                  <a:lnTo>
                    <a:pt x="439046" y="388144"/>
                  </a:lnTo>
                  <a:close/>
                  <a:moveTo>
                    <a:pt x="242888" y="387350"/>
                  </a:moveTo>
                  <a:cubicBezTo>
                    <a:pt x="242888" y="387350"/>
                    <a:pt x="242888" y="387350"/>
                    <a:pt x="259181" y="387350"/>
                  </a:cubicBezTo>
                  <a:lnTo>
                    <a:pt x="272388" y="396652"/>
                  </a:lnTo>
                  <a:lnTo>
                    <a:pt x="271506" y="395940"/>
                  </a:lnTo>
                  <a:cubicBezTo>
                    <a:pt x="264407" y="390382"/>
                    <a:pt x="260350" y="387350"/>
                    <a:pt x="260350" y="387350"/>
                  </a:cubicBezTo>
                  <a:cubicBezTo>
                    <a:pt x="373944" y="452026"/>
                    <a:pt x="438855" y="532871"/>
                    <a:pt x="471311" y="597547"/>
                  </a:cubicBezTo>
                  <a:cubicBezTo>
                    <a:pt x="438855" y="549040"/>
                    <a:pt x="406400" y="516702"/>
                    <a:pt x="390172" y="500533"/>
                  </a:cubicBezTo>
                  <a:lnTo>
                    <a:pt x="380762" y="491656"/>
                  </a:lnTo>
                  <a:lnTo>
                    <a:pt x="389778" y="501038"/>
                  </a:lnTo>
                  <a:cubicBezTo>
                    <a:pt x="405816" y="519734"/>
                    <a:pt x="422109" y="540956"/>
                    <a:pt x="438401" y="565209"/>
                  </a:cubicBezTo>
                  <a:cubicBezTo>
                    <a:pt x="438401" y="565209"/>
                    <a:pt x="340644" y="581378"/>
                    <a:pt x="340644" y="581378"/>
                  </a:cubicBezTo>
                  <a:cubicBezTo>
                    <a:pt x="340644" y="581378"/>
                    <a:pt x="340644" y="581378"/>
                    <a:pt x="422108" y="549040"/>
                  </a:cubicBezTo>
                  <a:cubicBezTo>
                    <a:pt x="422108" y="549040"/>
                    <a:pt x="324352" y="549040"/>
                    <a:pt x="324352" y="549040"/>
                  </a:cubicBezTo>
                  <a:cubicBezTo>
                    <a:pt x="324352" y="549040"/>
                    <a:pt x="324352" y="549040"/>
                    <a:pt x="389523" y="516702"/>
                  </a:cubicBezTo>
                  <a:cubicBezTo>
                    <a:pt x="389523" y="516702"/>
                    <a:pt x="324352" y="532871"/>
                    <a:pt x="324352" y="532871"/>
                  </a:cubicBezTo>
                  <a:cubicBezTo>
                    <a:pt x="324352" y="532871"/>
                    <a:pt x="324352" y="532871"/>
                    <a:pt x="373230" y="500533"/>
                  </a:cubicBezTo>
                  <a:cubicBezTo>
                    <a:pt x="373230" y="500533"/>
                    <a:pt x="308059" y="516702"/>
                    <a:pt x="308059" y="516702"/>
                  </a:cubicBezTo>
                  <a:cubicBezTo>
                    <a:pt x="308059" y="516702"/>
                    <a:pt x="308059" y="516702"/>
                    <a:pt x="328679" y="496238"/>
                  </a:cubicBezTo>
                  <a:lnTo>
                    <a:pt x="356428" y="468700"/>
                  </a:lnTo>
                  <a:lnTo>
                    <a:pt x="356110" y="468400"/>
                  </a:lnTo>
                  <a:lnTo>
                    <a:pt x="346754" y="470722"/>
                  </a:lnTo>
                  <a:cubicBezTo>
                    <a:pt x="328425" y="475269"/>
                    <a:pt x="291766" y="484364"/>
                    <a:pt x="291766" y="484364"/>
                  </a:cubicBezTo>
                  <a:cubicBezTo>
                    <a:pt x="291766" y="484364"/>
                    <a:pt x="291766" y="484364"/>
                    <a:pt x="324352" y="452026"/>
                  </a:cubicBezTo>
                  <a:cubicBezTo>
                    <a:pt x="324352" y="452026"/>
                    <a:pt x="275473" y="452026"/>
                    <a:pt x="275473" y="452026"/>
                  </a:cubicBezTo>
                  <a:cubicBezTo>
                    <a:pt x="275473" y="452026"/>
                    <a:pt x="275473" y="452026"/>
                    <a:pt x="308059" y="435857"/>
                  </a:cubicBezTo>
                  <a:cubicBezTo>
                    <a:pt x="308059" y="435857"/>
                    <a:pt x="305004" y="435857"/>
                    <a:pt x="300422" y="435857"/>
                  </a:cubicBezTo>
                  <a:lnTo>
                    <a:pt x="291766" y="435857"/>
                  </a:lnTo>
                  <a:cubicBezTo>
                    <a:pt x="291766" y="435857"/>
                    <a:pt x="259181" y="419688"/>
                    <a:pt x="259181" y="419688"/>
                  </a:cubicBezTo>
                  <a:cubicBezTo>
                    <a:pt x="259181" y="419688"/>
                    <a:pt x="259181" y="419688"/>
                    <a:pt x="275473" y="403519"/>
                  </a:cubicBezTo>
                  <a:cubicBezTo>
                    <a:pt x="275473" y="403519"/>
                    <a:pt x="275473" y="403519"/>
                    <a:pt x="242888" y="387350"/>
                  </a:cubicBezTo>
                  <a:close/>
                  <a:moveTo>
                    <a:pt x="795911" y="371178"/>
                  </a:moveTo>
                  <a:lnTo>
                    <a:pt x="796219" y="371331"/>
                  </a:lnTo>
                  <a:cubicBezTo>
                    <a:pt x="796219" y="371331"/>
                    <a:pt x="747536" y="387495"/>
                    <a:pt x="747536" y="387495"/>
                  </a:cubicBezTo>
                  <a:cubicBezTo>
                    <a:pt x="747536" y="387495"/>
                    <a:pt x="747536" y="387495"/>
                    <a:pt x="779991" y="403659"/>
                  </a:cubicBezTo>
                  <a:cubicBezTo>
                    <a:pt x="779991" y="403659"/>
                    <a:pt x="715080" y="403659"/>
                    <a:pt x="715080" y="403659"/>
                  </a:cubicBezTo>
                  <a:cubicBezTo>
                    <a:pt x="715080" y="403659"/>
                    <a:pt x="715080" y="403659"/>
                    <a:pt x="779991" y="435986"/>
                  </a:cubicBezTo>
                  <a:cubicBezTo>
                    <a:pt x="779991" y="435986"/>
                    <a:pt x="759707" y="435986"/>
                    <a:pt x="739422" y="435986"/>
                  </a:cubicBezTo>
                  <a:lnTo>
                    <a:pt x="730978" y="435986"/>
                  </a:lnTo>
                  <a:lnTo>
                    <a:pt x="731838" y="436404"/>
                  </a:lnTo>
                  <a:cubicBezTo>
                    <a:pt x="754212" y="448489"/>
                    <a:pt x="775060" y="461077"/>
                    <a:pt x="794415" y="473855"/>
                  </a:cubicBezTo>
                  <a:lnTo>
                    <a:pt x="841576" y="507794"/>
                  </a:lnTo>
                  <a:lnTo>
                    <a:pt x="847774" y="504645"/>
                  </a:lnTo>
                  <a:lnTo>
                    <a:pt x="859743" y="501559"/>
                  </a:lnTo>
                  <a:lnTo>
                    <a:pt x="884498" y="490502"/>
                  </a:lnTo>
                  <a:lnTo>
                    <a:pt x="901692" y="487930"/>
                  </a:lnTo>
                  <a:lnTo>
                    <a:pt x="905417" y="489780"/>
                  </a:lnTo>
                  <a:lnTo>
                    <a:pt x="908385" y="489015"/>
                  </a:lnTo>
                  <a:lnTo>
                    <a:pt x="905607" y="489874"/>
                  </a:lnTo>
                  <a:lnTo>
                    <a:pt x="907544" y="490836"/>
                  </a:lnTo>
                  <a:lnTo>
                    <a:pt x="927031" y="484387"/>
                  </a:lnTo>
                  <a:lnTo>
                    <a:pt x="926330" y="484387"/>
                  </a:lnTo>
                  <a:lnTo>
                    <a:pt x="908385" y="489015"/>
                  </a:lnTo>
                  <a:lnTo>
                    <a:pt x="913370" y="487471"/>
                  </a:lnTo>
                  <a:cubicBezTo>
                    <a:pt x="917693" y="486335"/>
                    <a:pt x="921125" y="485514"/>
                    <a:pt x="923477" y="484977"/>
                  </a:cubicBezTo>
                  <a:lnTo>
                    <a:pt x="926189" y="484387"/>
                  </a:lnTo>
                  <a:lnTo>
                    <a:pt x="926013" y="484387"/>
                  </a:lnTo>
                  <a:lnTo>
                    <a:pt x="925376" y="484387"/>
                  </a:lnTo>
                  <a:lnTo>
                    <a:pt x="901692" y="487930"/>
                  </a:lnTo>
                  <a:lnTo>
                    <a:pt x="898227" y="486209"/>
                  </a:lnTo>
                  <a:lnTo>
                    <a:pt x="894559" y="484387"/>
                  </a:lnTo>
                  <a:lnTo>
                    <a:pt x="861875" y="484387"/>
                  </a:lnTo>
                  <a:cubicBezTo>
                    <a:pt x="861875" y="484387"/>
                    <a:pt x="861875" y="484387"/>
                    <a:pt x="927031" y="452041"/>
                  </a:cubicBezTo>
                  <a:cubicBezTo>
                    <a:pt x="927031" y="452041"/>
                    <a:pt x="845586" y="468214"/>
                    <a:pt x="845586" y="468214"/>
                  </a:cubicBezTo>
                  <a:cubicBezTo>
                    <a:pt x="845586" y="468214"/>
                    <a:pt x="845586" y="468214"/>
                    <a:pt x="894453" y="435869"/>
                  </a:cubicBezTo>
                  <a:cubicBezTo>
                    <a:pt x="894453" y="435869"/>
                    <a:pt x="829296" y="435869"/>
                    <a:pt x="829296" y="435869"/>
                  </a:cubicBezTo>
                  <a:cubicBezTo>
                    <a:pt x="829296" y="435869"/>
                    <a:pt x="829296" y="435869"/>
                    <a:pt x="894453" y="403523"/>
                  </a:cubicBezTo>
                  <a:cubicBezTo>
                    <a:pt x="894453" y="403523"/>
                    <a:pt x="796718" y="403523"/>
                    <a:pt x="796718" y="403523"/>
                  </a:cubicBezTo>
                  <a:cubicBezTo>
                    <a:pt x="796718" y="403523"/>
                    <a:pt x="796718" y="403523"/>
                    <a:pt x="878164" y="371178"/>
                  </a:cubicBezTo>
                  <a:cubicBezTo>
                    <a:pt x="878164" y="371178"/>
                    <a:pt x="849658" y="371178"/>
                    <a:pt x="821152" y="371178"/>
                  </a:cubicBezTo>
                  <a:close/>
                  <a:moveTo>
                    <a:pt x="1240357" y="341051"/>
                  </a:moveTo>
                  <a:lnTo>
                    <a:pt x="1220187" y="356713"/>
                  </a:lnTo>
                  <a:lnTo>
                    <a:pt x="1201740" y="374473"/>
                  </a:lnTo>
                  <a:close/>
                  <a:moveTo>
                    <a:pt x="438150" y="339725"/>
                  </a:moveTo>
                  <a:lnTo>
                    <a:pt x="453555" y="354882"/>
                  </a:lnTo>
                  <a:lnTo>
                    <a:pt x="440200" y="341743"/>
                  </a:lnTo>
                  <a:cubicBezTo>
                    <a:pt x="438150" y="339725"/>
                    <a:pt x="438150" y="339725"/>
                    <a:pt x="438150" y="339725"/>
                  </a:cubicBezTo>
                  <a:close/>
                  <a:moveTo>
                    <a:pt x="829296" y="306487"/>
                  </a:moveTo>
                  <a:cubicBezTo>
                    <a:pt x="829296" y="306487"/>
                    <a:pt x="823188" y="307498"/>
                    <a:pt x="814025" y="309014"/>
                  </a:cubicBezTo>
                  <a:lnTo>
                    <a:pt x="809318" y="309793"/>
                  </a:lnTo>
                  <a:lnTo>
                    <a:pt x="796219" y="322840"/>
                  </a:lnTo>
                  <a:cubicBezTo>
                    <a:pt x="796219" y="322840"/>
                    <a:pt x="796219" y="322840"/>
                    <a:pt x="798248" y="322840"/>
                  </a:cubicBezTo>
                  <a:lnTo>
                    <a:pt x="801845" y="322840"/>
                  </a:lnTo>
                  <a:lnTo>
                    <a:pt x="802413" y="322502"/>
                  </a:lnTo>
                  <a:cubicBezTo>
                    <a:pt x="810207" y="317859"/>
                    <a:pt x="819116" y="312552"/>
                    <a:pt x="829296" y="306487"/>
                  </a:cubicBezTo>
                  <a:close/>
                  <a:moveTo>
                    <a:pt x="1301030" y="0"/>
                  </a:moveTo>
                  <a:lnTo>
                    <a:pt x="1301751" y="0"/>
                  </a:lnTo>
                  <a:lnTo>
                    <a:pt x="1305089" y="0"/>
                  </a:lnTo>
                  <a:cubicBezTo>
                    <a:pt x="1309148" y="0"/>
                    <a:pt x="1317265" y="0"/>
                    <a:pt x="1333501" y="0"/>
                  </a:cubicBezTo>
                  <a:cubicBezTo>
                    <a:pt x="1333501" y="0"/>
                    <a:pt x="1333501" y="0"/>
                    <a:pt x="1284794" y="32292"/>
                  </a:cubicBezTo>
                  <a:cubicBezTo>
                    <a:pt x="1284794" y="32292"/>
                    <a:pt x="1284794" y="32292"/>
                    <a:pt x="1317265" y="32292"/>
                  </a:cubicBezTo>
                  <a:cubicBezTo>
                    <a:pt x="1317265" y="32292"/>
                    <a:pt x="1268558" y="64584"/>
                    <a:pt x="1268558" y="64584"/>
                  </a:cubicBezTo>
                  <a:cubicBezTo>
                    <a:pt x="1268558" y="64584"/>
                    <a:pt x="1268558" y="64584"/>
                    <a:pt x="1317265" y="64584"/>
                  </a:cubicBezTo>
                  <a:cubicBezTo>
                    <a:pt x="1317265" y="64584"/>
                    <a:pt x="1252322" y="80730"/>
                    <a:pt x="1252322" y="80730"/>
                  </a:cubicBezTo>
                  <a:cubicBezTo>
                    <a:pt x="1252322" y="80730"/>
                    <a:pt x="1252322" y="80730"/>
                    <a:pt x="1301030" y="96876"/>
                  </a:cubicBezTo>
                  <a:cubicBezTo>
                    <a:pt x="1301030" y="96876"/>
                    <a:pt x="1236086" y="113022"/>
                    <a:pt x="1236086" y="113022"/>
                  </a:cubicBezTo>
                  <a:cubicBezTo>
                    <a:pt x="1236086" y="113022"/>
                    <a:pt x="1236086" y="113022"/>
                    <a:pt x="1284794" y="145314"/>
                  </a:cubicBezTo>
                  <a:cubicBezTo>
                    <a:pt x="1284794" y="145314"/>
                    <a:pt x="1203615" y="145314"/>
                    <a:pt x="1203615" y="145314"/>
                  </a:cubicBezTo>
                  <a:cubicBezTo>
                    <a:pt x="1203615" y="145314"/>
                    <a:pt x="1203615" y="145314"/>
                    <a:pt x="1268558" y="177606"/>
                  </a:cubicBezTo>
                  <a:cubicBezTo>
                    <a:pt x="1268558" y="177606"/>
                    <a:pt x="1187379" y="177606"/>
                    <a:pt x="1187379" y="177606"/>
                  </a:cubicBezTo>
                  <a:cubicBezTo>
                    <a:pt x="1187379" y="177606"/>
                    <a:pt x="1187379" y="177606"/>
                    <a:pt x="1252322" y="209899"/>
                  </a:cubicBezTo>
                  <a:cubicBezTo>
                    <a:pt x="1252322" y="209899"/>
                    <a:pt x="1154907" y="209899"/>
                    <a:pt x="1154907" y="209899"/>
                  </a:cubicBezTo>
                  <a:cubicBezTo>
                    <a:pt x="1154907" y="209899"/>
                    <a:pt x="1154907" y="209899"/>
                    <a:pt x="1236086" y="242191"/>
                  </a:cubicBezTo>
                  <a:cubicBezTo>
                    <a:pt x="1236086" y="242191"/>
                    <a:pt x="1122436" y="258337"/>
                    <a:pt x="1122436" y="258337"/>
                  </a:cubicBezTo>
                  <a:cubicBezTo>
                    <a:pt x="1122436" y="258337"/>
                    <a:pt x="1122436" y="258337"/>
                    <a:pt x="1219851" y="274483"/>
                  </a:cubicBezTo>
                  <a:cubicBezTo>
                    <a:pt x="1219851" y="274483"/>
                    <a:pt x="1106200" y="290629"/>
                    <a:pt x="1106200" y="290629"/>
                  </a:cubicBezTo>
                  <a:cubicBezTo>
                    <a:pt x="1106200" y="290629"/>
                    <a:pt x="1106200" y="290629"/>
                    <a:pt x="1203615" y="306775"/>
                  </a:cubicBezTo>
                  <a:cubicBezTo>
                    <a:pt x="1203615" y="322921"/>
                    <a:pt x="1089964" y="322921"/>
                    <a:pt x="1089964" y="322921"/>
                  </a:cubicBezTo>
                  <a:cubicBezTo>
                    <a:pt x="1089964" y="322921"/>
                    <a:pt x="1089964" y="322921"/>
                    <a:pt x="1171143" y="355213"/>
                  </a:cubicBezTo>
                  <a:cubicBezTo>
                    <a:pt x="1171143" y="355213"/>
                    <a:pt x="1084129" y="367575"/>
                    <a:pt x="1062376" y="370665"/>
                  </a:cubicBezTo>
                  <a:lnTo>
                    <a:pt x="1060252" y="370967"/>
                  </a:lnTo>
                  <a:lnTo>
                    <a:pt x="1059881" y="371834"/>
                  </a:lnTo>
                  <a:lnTo>
                    <a:pt x="1067640" y="373377"/>
                  </a:lnTo>
                  <a:cubicBezTo>
                    <a:pt x="1077787" y="375396"/>
                    <a:pt x="1098082" y="379432"/>
                    <a:pt x="1138671" y="387505"/>
                  </a:cubicBezTo>
                  <a:cubicBezTo>
                    <a:pt x="1138671" y="403651"/>
                    <a:pt x="1057492" y="403651"/>
                    <a:pt x="1057492" y="403651"/>
                  </a:cubicBezTo>
                  <a:cubicBezTo>
                    <a:pt x="1057492" y="403651"/>
                    <a:pt x="1057492" y="403651"/>
                    <a:pt x="1122436" y="419797"/>
                  </a:cubicBezTo>
                  <a:cubicBezTo>
                    <a:pt x="1122436" y="419797"/>
                    <a:pt x="1041257" y="435943"/>
                    <a:pt x="1041257" y="435943"/>
                  </a:cubicBezTo>
                  <a:cubicBezTo>
                    <a:pt x="1041257" y="435943"/>
                    <a:pt x="1041257" y="435943"/>
                    <a:pt x="1106200" y="452090"/>
                  </a:cubicBezTo>
                  <a:cubicBezTo>
                    <a:pt x="1106200" y="452090"/>
                    <a:pt x="1106200" y="452090"/>
                    <a:pt x="1041257" y="468236"/>
                  </a:cubicBezTo>
                  <a:cubicBezTo>
                    <a:pt x="1041257" y="468236"/>
                    <a:pt x="1041257" y="468236"/>
                    <a:pt x="1061805" y="475047"/>
                  </a:cubicBezTo>
                  <a:lnTo>
                    <a:pt x="1086005" y="483069"/>
                  </a:lnTo>
                  <a:lnTo>
                    <a:pt x="1110126" y="452086"/>
                  </a:lnTo>
                  <a:cubicBezTo>
                    <a:pt x="1123907" y="435738"/>
                    <a:pt x="1138896" y="419327"/>
                    <a:pt x="1155154" y="403169"/>
                  </a:cubicBezTo>
                  <a:cubicBezTo>
                    <a:pt x="1203928" y="354693"/>
                    <a:pt x="1270993" y="297128"/>
                    <a:pt x="1356349" y="257742"/>
                  </a:cubicBezTo>
                  <a:lnTo>
                    <a:pt x="1401363" y="241835"/>
                  </a:lnTo>
                  <a:lnTo>
                    <a:pt x="1401878" y="241594"/>
                  </a:lnTo>
                  <a:cubicBezTo>
                    <a:pt x="1419646" y="234520"/>
                    <a:pt x="1434876" y="229467"/>
                    <a:pt x="1447060" y="225425"/>
                  </a:cubicBezTo>
                  <a:lnTo>
                    <a:pt x="1447801" y="225425"/>
                  </a:lnTo>
                  <a:lnTo>
                    <a:pt x="1451122" y="225425"/>
                  </a:lnTo>
                  <a:cubicBezTo>
                    <a:pt x="1455183" y="225425"/>
                    <a:pt x="1463306" y="225425"/>
                    <a:pt x="1479551" y="225425"/>
                  </a:cubicBezTo>
                  <a:cubicBezTo>
                    <a:pt x="1479551" y="225425"/>
                    <a:pt x="1479551" y="225425"/>
                    <a:pt x="1463306" y="241594"/>
                  </a:cubicBezTo>
                  <a:cubicBezTo>
                    <a:pt x="1463306" y="241594"/>
                    <a:pt x="1463306" y="241594"/>
                    <a:pt x="1430815" y="241594"/>
                  </a:cubicBezTo>
                  <a:cubicBezTo>
                    <a:pt x="1430815" y="241594"/>
                    <a:pt x="1430815" y="241594"/>
                    <a:pt x="1463306" y="257763"/>
                  </a:cubicBezTo>
                  <a:cubicBezTo>
                    <a:pt x="1447060" y="257763"/>
                    <a:pt x="1398324" y="257763"/>
                    <a:pt x="1398324" y="257763"/>
                  </a:cubicBezTo>
                  <a:cubicBezTo>
                    <a:pt x="1398324" y="257763"/>
                    <a:pt x="1398324" y="257763"/>
                    <a:pt x="1430815" y="273932"/>
                  </a:cubicBezTo>
                  <a:cubicBezTo>
                    <a:pt x="1430815" y="273932"/>
                    <a:pt x="1382079" y="273932"/>
                    <a:pt x="1382079" y="273932"/>
                  </a:cubicBezTo>
                  <a:cubicBezTo>
                    <a:pt x="1382079" y="273932"/>
                    <a:pt x="1382079" y="273932"/>
                    <a:pt x="1414570" y="306270"/>
                  </a:cubicBezTo>
                  <a:cubicBezTo>
                    <a:pt x="1414570" y="306270"/>
                    <a:pt x="1349588" y="290101"/>
                    <a:pt x="1349588" y="290101"/>
                  </a:cubicBezTo>
                  <a:cubicBezTo>
                    <a:pt x="1349588" y="290101"/>
                    <a:pt x="1349588" y="290101"/>
                    <a:pt x="1382079" y="322439"/>
                  </a:cubicBezTo>
                  <a:cubicBezTo>
                    <a:pt x="1382079" y="322439"/>
                    <a:pt x="1317097" y="306270"/>
                    <a:pt x="1317097" y="306270"/>
                  </a:cubicBezTo>
                  <a:cubicBezTo>
                    <a:pt x="1317097" y="306270"/>
                    <a:pt x="1317097" y="306270"/>
                    <a:pt x="1365833" y="354777"/>
                  </a:cubicBezTo>
                  <a:cubicBezTo>
                    <a:pt x="1365833" y="354777"/>
                    <a:pt x="1300851" y="322439"/>
                    <a:pt x="1300851" y="322439"/>
                  </a:cubicBezTo>
                  <a:cubicBezTo>
                    <a:pt x="1300851" y="322439"/>
                    <a:pt x="1300851" y="322439"/>
                    <a:pt x="1333342" y="387115"/>
                  </a:cubicBezTo>
                  <a:cubicBezTo>
                    <a:pt x="1333342" y="387115"/>
                    <a:pt x="1268361" y="338608"/>
                    <a:pt x="1268361" y="338608"/>
                  </a:cubicBezTo>
                  <a:cubicBezTo>
                    <a:pt x="1268361" y="338608"/>
                    <a:pt x="1268361" y="338608"/>
                    <a:pt x="1317097" y="403284"/>
                  </a:cubicBezTo>
                  <a:cubicBezTo>
                    <a:pt x="1317097" y="403284"/>
                    <a:pt x="1219624" y="370946"/>
                    <a:pt x="1219624" y="370946"/>
                  </a:cubicBezTo>
                  <a:cubicBezTo>
                    <a:pt x="1219624" y="370946"/>
                    <a:pt x="1219624" y="370946"/>
                    <a:pt x="1284606" y="419453"/>
                  </a:cubicBezTo>
                  <a:cubicBezTo>
                    <a:pt x="1284606" y="419453"/>
                    <a:pt x="1203379" y="387115"/>
                    <a:pt x="1203379" y="387115"/>
                  </a:cubicBezTo>
                  <a:cubicBezTo>
                    <a:pt x="1203379" y="387115"/>
                    <a:pt x="1203379" y="387115"/>
                    <a:pt x="1230793" y="414400"/>
                  </a:cubicBezTo>
                  <a:lnTo>
                    <a:pt x="1263297" y="446752"/>
                  </a:lnTo>
                  <a:lnTo>
                    <a:pt x="1304846" y="425407"/>
                  </a:lnTo>
                  <a:cubicBezTo>
                    <a:pt x="1363374" y="399172"/>
                    <a:pt x="1439601" y="375805"/>
                    <a:pt x="1524838" y="363908"/>
                  </a:cubicBezTo>
                  <a:lnTo>
                    <a:pt x="1573964" y="360456"/>
                  </a:lnTo>
                  <a:lnTo>
                    <a:pt x="1582409" y="359128"/>
                  </a:lnTo>
                  <a:cubicBezTo>
                    <a:pt x="1606055" y="356608"/>
                    <a:pt x="1626394" y="355600"/>
                    <a:pt x="1642666" y="355600"/>
                  </a:cubicBezTo>
                  <a:lnTo>
                    <a:pt x="1642693" y="355626"/>
                  </a:lnTo>
                  <a:lnTo>
                    <a:pt x="1643063" y="355600"/>
                  </a:lnTo>
                  <a:lnTo>
                    <a:pt x="1642716" y="355650"/>
                  </a:lnTo>
                  <a:lnTo>
                    <a:pt x="1644700" y="357616"/>
                  </a:lnTo>
                  <a:cubicBezTo>
                    <a:pt x="1646734" y="359632"/>
                    <a:pt x="1650802" y="363663"/>
                    <a:pt x="1658938" y="371726"/>
                  </a:cubicBezTo>
                  <a:cubicBezTo>
                    <a:pt x="1658938" y="371726"/>
                    <a:pt x="1658938" y="371726"/>
                    <a:pt x="1610123" y="371726"/>
                  </a:cubicBezTo>
                  <a:cubicBezTo>
                    <a:pt x="1610123" y="371726"/>
                    <a:pt x="1610123" y="371726"/>
                    <a:pt x="1642666" y="387851"/>
                  </a:cubicBezTo>
                  <a:cubicBezTo>
                    <a:pt x="1626394" y="387851"/>
                    <a:pt x="1577579" y="387851"/>
                    <a:pt x="1577579" y="387851"/>
                  </a:cubicBezTo>
                  <a:cubicBezTo>
                    <a:pt x="1577579" y="387851"/>
                    <a:pt x="1577579" y="387851"/>
                    <a:pt x="1610123" y="403977"/>
                  </a:cubicBezTo>
                  <a:cubicBezTo>
                    <a:pt x="1610123" y="403977"/>
                    <a:pt x="1545035" y="387851"/>
                    <a:pt x="1545035" y="387851"/>
                  </a:cubicBezTo>
                  <a:cubicBezTo>
                    <a:pt x="1545035" y="387851"/>
                    <a:pt x="1545035" y="387851"/>
                    <a:pt x="1577579" y="420103"/>
                  </a:cubicBezTo>
                  <a:cubicBezTo>
                    <a:pt x="1577579" y="420103"/>
                    <a:pt x="1512491" y="387851"/>
                    <a:pt x="1512491" y="387851"/>
                  </a:cubicBezTo>
                  <a:cubicBezTo>
                    <a:pt x="1512491" y="387851"/>
                    <a:pt x="1512491" y="387851"/>
                    <a:pt x="1545035" y="452354"/>
                  </a:cubicBezTo>
                  <a:cubicBezTo>
                    <a:pt x="1545035" y="452354"/>
                    <a:pt x="1479948" y="387851"/>
                    <a:pt x="1479948" y="387851"/>
                  </a:cubicBezTo>
                  <a:cubicBezTo>
                    <a:pt x="1479948" y="387851"/>
                    <a:pt x="1479948" y="387851"/>
                    <a:pt x="1512491" y="468480"/>
                  </a:cubicBezTo>
                  <a:cubicBezTo>
                    <a:pt x="1496219" y="468480"/>
                    <a:pt x="1431132" y="403977"/>
                    <a:pt x="1431132" y="403977"/>
                  </a:cubicBezTo>
                  <a:cubicBezTo>
                    <a:pt x="1431132" y="403977"/>
                    <a:pt x="1431132" y="403977"/>
                    <a:pt x="1463676" y="484606"/>
                  </a:cubicBezTo>
                  <a:cubicBezTo>
                    <a:pt x="1463676" y="484606"/>
                    <a:pt x="1398588" y="420103"/>
                    <a:pt x="1398588" y="420103"/>
                  </a:cubicBezTo>
                  <a:cubicBezTo>
                    <a:pt x="1398588" y="420103"/>
                    <a:pt x="1398588" y="420103"/>
                    <a:pt x="1447404" y="500731"/>
                  </a:cubicBezTo>
                  <a:cubicBezTo>
                    <a:pt x="1447404" y="500731"/>
                    <a:pt x="1349773" y="420103"/>
                    <a:pt x="1349773" y="420103"/>
                  </a:cubicBezTo>
                  <a:cubicBezTo>
                    <a:pt x="1349773" y="420103"/>
                    <a:pt x="1349773" y="420103"/>
                    <a:pt x="1398588" y="516857"/>
                  </a:cubicBezTo>
                  <a:cubicBezTo>
                    <a:pt x="1398588" y="516857"/>
                    <a:pt x="1300957" y="436229"/>
                    <a:pt x="1300957" y="436229"/>
                  </a:cubicBezTo>
                  <a:cubicBezTo>
                    <a:pt x="1337569" y="420103"/>
                    <a:pt x="1373164" y="407001"/>
                    <a:pt x="1406978" y="396418"/>
                  </a:cubicBezTo>
                  <a:lnTo>
                    <a:pt x="1453957" y="384252"/>
                  </a:lnTo>
                  <a:lnTo>
                    <a:pt x="1431529" y="387826"/>
                  </a:lnTo>
                  <a:cubicBezTo>
                    <a:pt x="1398985" y="395883"/>
                    <a:pt x="1370509" y="403940"/>
                    <a:pt x="1342033" y="414010"/>
                  </a:cubicBezTo>
                  <a:lnTo>
                    <a:pt x="1263949" y="447400"/>
                  </a:lnTo>
                  <a:lnTo>
                    <a:pt x="1267679" y="451113"/>
                  </a:lnTo>
                  <a:lnTo>
                    <a:pt x="1300957" y="436229"/>
                  </a:lnTo>
                  <a:cubicBezTo>
                    <a:pt x="1300957" y="436229"/>
                    <a:pt x="1300957" y="436229"/>
                    <a:pt x="1366044" y="532983"/>
                  </a:cubicBezTo>
                  <a:cubicBezTo>
                    <a:pt x="1366044" y="532983"/>
                    <a:pt x="1268413" y="468480"/>
                    <a:pt x="1268413" y="468480"/>
                  </a:cubicBezTo>
                  <a:cubicBezTo>
                    <a:pt x="1268413" y="468480"/>
                    <a:pt x="1268413" y="468480"/>
                    <a:pt x="1333501" y="549108"/>
                  </a:cubicBezTo>
                  <a:cubicBezTo>
                    <a:pt x="1317229" y="549108"/>
                    <a:pt x="1235869" y="468480"/>
                    <a:pt x="1235869" y="468480"/>
                  </a:cubicBezTo>
                  <a:cubicBezTo>
                    <a:pt x="1235869" y="468480"/>
                    <a:pt x="1235869" y="468480"/>
                    <a:pt x="1284685" y="549108"/>
                  </a:cubicBezTo>
                  <a:cubicBezTo>
                    <a:pt x="1284685" y="549108"/>
                    <a:pt x="1219598" y="500731"/>
                    <a:pt x="1219598" y="500731"/>
                  </a:cubicBezTo>
                  <a:cubicBezTo>
                    <a:pt x="1219598" y="500731"/>
                    <a:pt x="1219598" y="500731"/>
                    <a:pt x="1252141" y="565234"/>
                  </a:cubicBezTo>
                  <a:cubicBezTo>
                    <a:pt x="1252141" y="565234"/>
                    <a:pt x="1170782" y="516857"/>
                    <a:pt x="1170782" y="516857"/>
                  </a:cubicBezTo>
                  <a:cubicBezTo>
                    <a:pt x="1170782" y="516857"/>
                    <a:pt x="1170782" y="516857"/>
                    <a:pt x="1219598" y="581360"/>
                  </a:cubicBezTo>
                  <a:cubicBezTo>
                    <a:pt x="1219598" y="581360"/>
                    <a:pt x="1219598" y="581360"/>
                    <a:pt x="1154510" y="532983"/>
                  </a:cubicBezTo>
                  <a:cubicBezTo>
                    <a:pt x="1154510" y="532983"/>
                    <a:pt x="1154510" y="532983"/>
                    <a:pt x="1187054" y="581360"/>
                  </a:cubicBezTo>
                  <a:cubicBezTo>
                    <a:pt x="1187054" y="581360"/>
                    <a:pt x="1187054" y="581360"/>
                    <a:pt x="1138238" y="549108"/>
                  </a:cubicBezTo>
                  <a:cubicBezTo>
                    <a:pt x="1138238" y="549108"/>
                    <a:pt x="1138238" y="549108"/>
                    <a:pt x="1154510" y="597485"/>
                  </a:cubicBezTo>
                  <a:cubicBezTo>
                    <a:pt x="1154510" y="597485"/>
                    <a:pt x="1154510" y="597485"/>
                    <a:pt x="1105694" y="565234"/>
                  </a:cubicBezTo>
                  <a:cubicBezTo>
                    <a:pt x="1105694" y="565234"/>
                    <a:pt x="1105694" y="565234"/>
                    <a:pt x="1121966" y="613611"/>
                  </a:cubicBezTo>
                  <a:cubicBezTo>
                    <a:pt x="1121966" y="613611"/>
                    <a:pt x="1121966" y="613611"/>
                    <a:pt x="1073151" y="597485"/>
                  </a:cubicBezTo>
                  <a:cubicBezTo>
                    <a:pt x="1073151" y="597485"/>
                    <a:pt x="1073151" y="597485"/>
                    <a:pt x="1105694" y="613611"/>
                  </a:cubicBezTo>
                  <a:cubicBezTo>
                    <a:pt x="1105694" y="613611"/>
                    <a:pt x="1105694" y="613611"/>
                    <a:pt x="1078236" y="620414"/>
                  </a:cubicBezTo>
                  <a:lnTo>
                    <a:pt x="1040906" y="629663"/>
                  </a:lnTo>
                  <a:lnTo>
                    <a:pt x="1040794" y="629737"/>
                  </a:lnTo>
                  <a:lnTo>
                    <a:pt x="1044675" y="629737"/>
                  </a:lnTo>
                  <a:cubicBezTo>
                    <a:pt x="1048743" y="629737"/>
                    <a:pt x="1056879" y="629737"/>
                    <a:pt x="1073151" y="629737"/>
                  </a:cubicBezTo>
                  <a:cubicBezTo>
                    <a:pt x="1073151" y="629737"/>
                    <a:pt x="1069083" y="631752"/>
                    <a:pt x="1062981" y="634776"/>
                  </a:cubicBezTo>
                  <a:lnTo>
                    <a:pt x="1049986" y="641215"/>
                  </a:lnTo>
                  <a:lnTo>
                    <a:pt x="1079650" y="632644"/>
                  </a:lnTo>
                  <a:lnTo>
                    <a:pt x="1088681" y="630670"/>
                  </a:lnTo>
                  <a:lnTo>
                    <a:pt x="1089474" y="630437"/>
                  </a:lnTo>
                  <a:lnTo>
                    <a:pt x="1096577" y="628943"/>
                  </a:lnTo>
                  <a:lnTo>
                    <a:pt x="1124874" y="622755"/>
                  </a:lnTo>
                  <a:lnTo>
                    <a:pt x="1128308" y="622270"/>
                  </a:lnTo>
                  <a:lnTo>
                    <a:pt x="1132468" y="621395"/>
                  </a:lnTo>
                  <a:lnTo>
                    <a:pt x="1135724" y="621222"/>
                  </a:lnTo>
                  <a:lnTo>
                    <a:pt x="1177535" y="615315"/>
                  </a:lnTo>
                  <a:cubicBezTo>
                    <a:pt x="1214909" y="611548"/>
                    <a:pt x="1256606" y="610543"/>
                    <a:pt x="1301354" y="614562"/>
                  </a:cubicBezTo>
                  <a:cubicBezTo>
                    <a:pt x="1374577" y="614562"/>
                    <a:pt x="1466107" y="632644"/>
                    <a:pt x="1555348" y="675591"/>
                  </a:cubicBezTo>
                  <a:lnTo>
                    <a:pt x="1625176" y="716577"/>
                  </a:lnTo>
                  <a:lnTo>
                    <a:pt x="1643063" y="726878"/>
                  </a:lnTo>
                  <a:lnTo>
                    <a:pt x="1643063" y="727076"/>
                  </a:lnTo>
                  <a:lnTo>
                    <a:pt x="1643063" y="728887"/>
                  </a:lnTo>
                  <a:cubicBezTo>
                    <a:pt x="1643063" y="730896"/>
                    <a:pt x="1643063" y="734914"/>
                    <a:pt x="1643063" y="742951"/>
                  </a:cubicBezTo>
                  <a:cubicBezTo>
                    <a:pt x="1643063" y="742951"/>
                    <a:pt x="1643063" y="742951"/>
                    <a:pt x="1610499" y="710804"/>
                  </a:cubicBezTo>
                  <a:cubicBezTo>
                    <a:pt x="1610499" y="710804"/>
                    <a:pt x="1610499" y="710804"/>
                    <a:pt x="1626781" y="742951"/>
                  </a:cubicBezTo>
                  <a:cubicBezTo>
                    <a:pt x="1610499" y="742951"/>
                    <a:pt x="1577935" y="710804"/>
                    <a:pt x="1577935" y="710804"/>
                  </a:cubicBezTo>
                  <a:cubicBezTo>
                    <a:pt x="1577935" y="710804"/>
                    <a:pt x="1577935" y="710804"/>
                    <a:pt x="1577935" y="742951"/>
                  </a:cubicBezTo>
                  <a:cubicBezTo>
                    <a:pt x="1577935" y="742951"/>
                    <a:pt x="1561653" y="710804"/>
                    <a:pt x="1561653" y="710804"/>
                  </a:cubicBezTo>
                  <a:cubicBezTo>
                    <a:pt x="1561653" y="710804"/>
                    <a:pt x="1561653" y="710804"/>
                    <a:pt x="1561653" y="742951"/>
                  </a:cubicBezTo>
                  <a:cubicBezTo>
                    <a:pt x="1561653" y="742951"/>
                    <a:pt x="1529089" y="694731"/>
                    <a:pt x="1529089" y="694731"/>
                  </a:cubicBezTo>
                  <a:cubicBezTo>
                    <a:pt x="1529089" y="694731"/>
                    <a:pt x="1529089" y="694731"/>
                    <a:pt x="1512807" y="742951"/>
                  </a:cubicBezTo>
                  <a:cubicBezTo>
                    <a:pt x="1512807" y="742951"/>
                    <a:pt x="1496525" y="678657"/>
                    <a:pt x="1496525" y="678657"/>
                  </a:cubicBezTo>
                  <a:cubicBezTo>
                    <a:pt x="1496525" y="678657"/>
                    <a:pt x="1496525" y="678657"/>
                    <a:pt x="1480243" y="742951"/>
                  </a:cubicBezTo>
                  <a:cubicBezTo>
                    <a:pt x="1480243" y="742951"/>
                    <a:pt x="1471084" y="697744"/>
                    <a:pt x="1466505" y="675141"/>
                  </a:cubicBezTo>
                  <a:lnTo>
                    <a:pt x="1463996" y="662760"/>
                  </a:lnTo>
                  <a:lnTo>
                    <a:pt x="1463929" y="662740"/>
                  </a:lnTo>
                  <a:lnTo>
                    <a:pt x="1463706" y="663839"/>
                  </a:lnTo>
                  <a:cubicBezTo>
                    <a:pt x="1462943" y="667607"/>
                    <a:pt x="1459890" y="682676"/>
                    <a:pt x="1447679" y="742951"/>
                  </a:cubicBezTo>
                  <a:cubicBezTo>
                    <a:pt x="1447679" y="742951"/>
                    <a:pt x="1431397" y="662584"/>
                    <a:pt x="1431397" y="662584"/>
                  </a:cubicBezTo>
                  <a:cubicBezTo>
                    <a:pt x="1431397" y="662584"/>
                    <a:pt x="1431397" y="662584"/>
                    <a:pt x="1415115" y="742951"/>
                  </a:cubicBezTo>
                  <a:cubicBezTo>
                    <a:pt x="1415115" y="742951"/>
                    <a:pt x="1382550" y="646510"/>
                    <a:pt x="1382550" y="646510"/>
                  </a:cubicBezTo>
                  <a:cubicBezTo>
                    <a:pt x="1382550" y="646510"/>
                    <a:pt x="1382550" y="646510"/>
                    <a:pt x="1382550" y="726878"/>
                  </a:cubicBezTo>
                  <a:cubicBezTo>
                    <a:pt x="1382550" y="726878"/>
                    <a:pt x="1364233" y="672630"/>
                    <a:pt x="1355074" y="645506"/>
                  </a:cubicBezTo>
                  <a:lnTo>
                    <a:pt x="1352018" y="636455"/>
                  </a:lnTo>
                  <a:lnTo>
                    <a:pt x="1349986" y="636221"/>
                  </a:lnTo>
                  <a:lnTo>
                    <a:pt x="1349986" y="642492"/>
                  </a:lnTo>
                  <a:cubicBezTo>
                    <a:pt x="1349986" y="654547"/>
                    <a:pt x="1349986" y="678657"/>
                    <a:pt x="1349986" y="726878"/>
                  </a:cubicBezTo>
                  <a:cubicBezTo>
                    <a:pt x="1349986" y="726878"/>
                    <a:pt x="1312589" y="653040"/>
                    <a:pt x="1303239" y="634581"/>
                  </a:cubicBezTo>
                  <a:lnTo>
                    <a:pt x="1301236" y="630625"/>
                  </a:lnTo>
                  <a:lnTo>
                    <a:pt x="1301140" y="630617"/>
                  </a:lnTo>
                  <a:lnTo>
                    <a:pt x="1301140" y="631692"/>
                  </a:lnTo>
                  <a:cubicBezTo>
                    <a:pt x="1301140" y="635460"/>
                    <a:pt x="1301140" y="650529"/>
                    <a:pt x="1301140" y="710804"/>
                  </a:cubicBezTo>
                  <a:cubicBezTo>
                    <a:pt x="1301140" y="710804"/>
                    <a:pt x="1268576" y="630437"/>
                    <a:pt x="1268576" y="630437"/>
                  </a:cubicBezTo>
                  <a:cubicBezTo>
                    <a:pt x="1268576" y="630437"/>
                    <a:pt x="1268576" y="630437"/>
                    <a:pt x="1268576" y="664342"/>
                  </a:cubicBezTo>
                  <a:lnTo>
                    <a:pt x="1268576" y="703103"/>
                  </a:lnTo>
                  <a:lnTo>
                    <a:pt x="1333694" y="727076"/>
                  </a:lnTo>
                  <a:cubicBezTo>
                    <a:pt x="1382481" y="751364"/>
                    <a:pt x="1443464" y="783749"/>
                    <a:pt x="1502415" y="824231"/>
                  </a:cubicBezTo>
                  <a:lnTo>
                    <a:pt x="1565817" y="873981"/>
                  </a:lnTo>
                  <a:lnTo>
                    <a:pt x="1569109" y="876338"/>
                  </a:lnTo>
                  <a:lnTo>
                    <a:pt x="1570759" y="877859"/>
                  </a:lnTo>
                  <a:lnTo>
                    <a:pt x="1587537" y="891025"/>
                  </a:lnTo>
                  <a:lnTo>
                    <a:pt x="1600052" y="904861"/>
                  </a:lnTo>
                  <a:lnTo>
                    <a:pt x="1624502" y="927398"/>
                  </a:lnTo>
                  <a:cubicBezTo>
                    <a:pt x="1639240" y="943070"/>
                    <a:pt x="1650420" y="957225"/>
                    <a:pt x="1658551" y="969358"/>
                  </a:cubicBezTo>
                  <a:lnTo>
                    <a:pt x="1658751" y="969757"/>
                  </a:lnTo>
                  <a:lnTo>
                    <a:pt x="1658938" y="969963"/>
                  </a:lnTo>
                  <a:lnTo>
                    <a:pt x="1658779" y="969811"/>
                  </a:lnTo>
                  <a:lnTo>
                    <a:pt x="1660584" y="973403"/>
                  </a:lnTo>
                  <a:cubicBezTo>
                    <a:pt x="1662617" y="977447"/>
                    <a:pt x="1666682" y="985536"/>
                    <a:pt x="1674813" y="1001713"/>
                  </a:cubicBezTo>
                  <a:cubicBezTo>
                    <a:pt x="1674813" y="1001713"/>
                    <a:pt x="1674813" y="1001713"/>
                    <a:pt x="1661092" y="981239"/>
                  </a:cubicBezTo>
                  <a:lnTo>
                    <a:pt x="1644346" y="956251"/>
                  </a:lnTo>
                  <a:lnTo>
                    <a:pt x="1642289" y="954423"/>
                  </a:lnTo>
                  <a:lnTo>
                    <a:pt x="1642289" y="959247"/>
                  </a:lnTo>
                  <a:cubicBezTo>
                    <a:pt x="1642289" y="965314"/>
                    <a:pt x="1642289" y="977447"/>
                    <a:pt x="1642289" y="1001713"/>
                  </a:cubicBezTo>
                  <a:cubicBezTo>
                    <a:pt x="1642289" y="1001713"/>
                    <a:pt x="1609764" y="937004"/>
                    <a:pt x="1609764" y="937004"/>
                  </a:cubicBezTo>
                  <a:cubicBezTo>
                    <a:pt x="1609764" y="937004"/>
                    <a:pt x="1609764" y="937004"/>
                    <a:pt x="1609764" y="985536"/>
                  </a:cubicBezTo>
                  <a:cubicBezTo>
                    <a:pt x="1609764" y="985536"/>
                    <a:pt x="1593502" y="937004"/>
                    <a:pt x="1593502" y="937004"/>
                  </a:cubicBezTo>
                  <a:cubicBezTo>
                    <a:pt x="1593502" y="937004"/>
                    <a:pt x="1593502" y="937004"/>
                    <a:pt x="1577240" y="969358"/>
                  </a:cubicBezTo>
                  <a:cubicBezTo>
                    <a:pt x="1577240" y="969358"/>
                    <a:pt x="1560978" y="904649"/>
                    <a:pt x="1560978" y="904649"/>
                  </a:cubicBezTo>
                  <a:cubicBezTo>
                    <a:pt x="1560978" y="904649"/>
                    <a:pt x="1560978" y="904649"/>
                    <a:pt x="1528453" y="953181"/>
                  </a:cubicBezTo>
                  <a:cubicBezTo>
                    <a:pt x="1528453" y="953181"/>
                    <a:pt x="1528453" y="872294"/>
                    <a:pt x="1528453" y="872294"/>
                  </a:cubicBezTo>
                  <a:cubicBezTo>
                    <a:pt x="1528453" y="872294"/>
                    <a:pt x="1528453" y="872294"/>
                    <a:pt x="1495929" y="937004"/>
                  </a:cubicBezTo>
                  <a:cubicBezTo>
                    <a:pt x="1495929" y="937004"/>
                    <a:pt x="1495929" y="856117"/>
                    <a:pt x="1495929" y="856117"/>
                  </a:cubicBezTo>
                  <a:cubicBezTo>
                    <a:pt x="1495929" y="856117"/>
                    <a:pt x="1495929" y="856117"/>
                    <a:pt x="1463405" y="920826"/>
                  </a:cubicBezTo>
                  <a:cubicBezTo>
                    <a:pt x="1463405" y="920826"/>
                    <a:pt x="1463405" y="823762"/>
                    <a:pt x="1463405" y="823762"/>
                  </a:cubicBezTo>
                  <a:cubicBezTo>
                    <a:pt x="1463405" y="823762"/>
                    <a:pt x="1463405" y="823762"/>
                    <a:pt x="1430880" y="904649"/>
                  </a:cubicBezTo>
                  <a:cubicBezTo>
                    <a:pt x="1430880" y="904649"/>
                    <a:pt x="1414618" y="791407"/>
                    <a:pt x="1414618" y="791407"/>
                  </a:cubicBezTo>
                  <a:cubicBezTo>
                    <a:pt x="1414618" y="791407"/>
                    <a:pt x="1414618" y="791407"/>
                    <a:pt x="1398356" y="888471"/>
                  </a:cubicBezTo>
                  <a:cubicBezTo>
                    <a:pt x="1382094" y="888471"/>
                    <a:pt x="1382094" y="775230"/>
                    <a:pt x="1382094" y="775230"/>
                  </a:cubicBezTo>
                  <a:cubicBezTo>
                    <a:pt x="1382094" y="775230"/>
                    <a:pt x="1382094" y="775230"/>
                    <a:pt x="1349569" y="872294"/>
                  </a:cubicBezTo>
                  <a:cubicBezTo>
                    <a:pt x="1349569" y="872294"/>
                    <a:pt x="1349569" y="759052"/>
                    <a:pt x="1349569" y="759052"/>
                  </a:cubicBezTo>
                  <a:cubicBezTo>
                    <a:pt x="1349569" y="759052"/>
                    <a:pt x="1349569" y="759052"/>
                    <a:pt x="1317045" y="839939"/>
                  </a:cubicBezTo>
                  <a:cubicBezTo>
                    <a:pt x="1317045" y="839939"/>
                    <a:pt x="1300783" y="742875"/>
                    <a:pt x="1300783" y="742875"/>
                  </a:cubicBezTo>
                  <a:cubicBezTo>
                    <a:pt x="1300783" y="742875"/>
                    <a:pt x="1300783" y="742875"/>
                    <a:pt x="1268258" y="823762"/>
                  </a:cubicBezTo>
                  <a:cubicBezTo>
                    <a:pt x="1268258" y="823762"/>
                    <a:pt x="1268258" y="726698"/>
                    <a:pt x="1268258" y="726698"/>
                  </a:cubicBezTo>
                  <a:cubicBezTo>
                    <a:pt x="1268258" y="726698"/>
                    <a:pt x="1268258" y="726698"/>
                    <a:pt x="1251996" y="791407"/>
                  </a:cubicBezTo>
                  <a:cubicBezTo>
                    <a:pt x="1251996" y="791407"/>
                    <a:pt x="1235734" y="710520"/>
                    <a:pt x="1235734" y="710520"/>
                  </a:cubicBezTo>
                  <a:cubicBezTo>
                    <a:pt x="1235734" y="710520"/>
                    <a:pt x="1235734" y="710520"/>
                    <a:pt x="1219472" y="775230"/>
                  </a:cubicBezTo>
                  <a:cubicBezTo>
                    <a:pt x="1219472" y="775230"/>
                    <a:pt x="1219472" y="775230"/>
                    <a:pt x="1203210" y="710520"/>
                  </a:cubicBezTo>
                  <a:cubicBezTo>
                    <a:pt x="1203210" y="710520"/>
                    <a:pt x="1203210" y="710520"/>
                    <a:pt x="1186947" y="759052"/>
                  </a:cubicBezTo>
                  <a:cubicBezTo>
                    <a:pt x="1186947" y="759052"/>
                    <a:pt x="1186947" y="759052"/>
                    <a:pt x="1170685" y="710520"/>
                  </a:cubicBezTo>
                  <a:cubicBezTo>
                    <a:pt x="1170685" y="710520"/>
                    <a:pt x="1170685" y="710520"/>
                    <a:pt x="1154423" y="742875"/>
                  </a:cubicBezTo>
                  <a:cubicBezTo>
                    <a:pt x="1154423" y="742875"/>
                    <a:pt x="1154423" y="742875"/>
                    <a:pt x="1138161" y="694343"/>
                  </a:cubicBezTo>
                  <a:cubicBezTo>
                    <a:pt x="1138161" y="694343"/>
                    <a:pt x="1138161" y="694343"/>
                    <a:pt x="1138161" y="726698"/>
                  </a:cubicBezTo>
                  <a:cubicBezTo>
                    <a:pt x="1138161" y="726698"/>
                    <a:pt x="1138161" y="726698"/>
                    <a:pt x="1124439" y="706223"/>
                  </a:cubicBezTo>
                  <a:lnTo>
                    <a:pt x="1105750" y="678336"/>
                  </a:lnTo>
                  <a:lnTo>
                    <a:pt x="1105636" y="678321"/>
                  </a:lnTo>
                  <a:lnTo>
                    <a:pt x="1105636" y="678421"/>
                  </a:lnTo>
                  <a:lnTo>
                    <a:pt x="1105756" y="678657"/>
                  </a:lnTo>
                  <a:lnTo>
                    <a:pt x="1105636" y="678579"/>
                  </a:lnTo>
                  <a:lnTo>
                    <a:pt x="1105636" y="678924"/>
                  </a:lnTo>
                  <a:cubicBezTo>
                    <a:pt x="1105636" y="681199"/>
                    <a:pt x="1105636" y="690299"/>
                    <a:pt x="1105636" y="726698"/>
                  </a:cubicBezTo>
                  <a:cubicBezTo>
                    <a:pt x="1105636" y="726698"/>
                    <a:pt x="1105636" y="726698"/>
                    <a:pt x="1073112" y="678166"/>
                  </a:cubicBezTo>
                  <a:lnTo>
                    <a:pt x="1073112" y="678501"/>
                  </a:lnTo>
                  <a:lnTo>
                    <a:pt x="1073191" y="678657"/>
                  </a:lnTo>
                  <a:lnTo>
                    <a:pt x="1073112" y="678638"/>
                  </a:lnTo>
                  <a:lnTo>
                    <a:pt x="1073112" y="679872"/>
                  </a:lnTo>
                  <a:cubicBezTo>
                    <a:pt x="1073112" y="681578"/>
                    <a:pt x="1073112" y="684991"/>
                    <a:pt x="1073112" y="691815"/>
                  </a:cubicBezTo>
                  <a:lnTo>
                    <a:pt x="1073112" y="699186"/>
                  </a:lnTo>
                  <a:lnTo>
                    <a:pt x="1091683" y="714585"/>
                  </a:lnTo>
                  <a:cubicBezTo>
                    <a:pt x="1130433" y="750998"/>
                    <a:pt x="1179381" y="807641"/>
                    <a:pt x="1220171" y="888560"/>
                  </a:cubicBezTo>
                  <a:cubicBezTo>
                    <a:pt x="1236487" y="929019"/>
                    <a:pt x="1256882" y="981616"/>
                    <a:pt x="1271159" y="1042305"/>
                  </a:cubicBezTo>
                  <a:lnTo>
                    <a:pt x="1279423" y="1093638"/>
                  </a:lnTo>
                  <a:lnTo>
                    <a:pt x="1285409" y="1120892"/>
                  </a:lnTo>
                  <a:cubicBezTo>
                    <a:pt x="1289495" y="1146179"/>
                    <a:pt x="1291538" y="1168937"/>
                    <a:pt x="1291538" y="1189420"/>
                  </a:cubicBezTo>
                  <a:lnTo>
                    <a:pt x="1285443" y="1243994"/>
                  </a:lnTo>
                  <a:lnTo>
                    <a:pt x="1285435" y="1244601"/>
                  </a:lnTo>
                  <a:lnTo>
                    <a:pt x="1285432" y="1244093"/>
                  </a:lnTo>
                  <a:lnTo>
                    <a:pt x="1285409" y="1244292"/>
                  </a:lnTo>
                  <a:cubicBezTo>
                    <a:pt x="1285409" y="1244292"/>
                    <a:pt x="1285409" y="1244292"/>
                    <a:pt x="1285409" y="1260476"/>
                  </a:cubicBezTo>
                  <a:cubicBezTo>
                    <a:pt x="1285409" y="1260476"/>
                    <a:pt x="1285409" y="1260476"/>
                    <a:pt x="1269067" y="1260476"/>
                  </a:cubicBezTo>
                  <a:cubicBezTo>
                    <a:pt x="1269067" y="1260476"/>
                    <a:pt x="1269067" y="1260476"/>
                    <a:pt x="1275962" y="1239994"/>
                  </a:cubicBezTo>
                  <a:lnTo>
                    <a:pt x="1284626" y="1214251"/>
                  </a:lnTo>
                  <a:lnTo>
                    <a:pt x="1284597" y="1213534"/>
                  </a:lnTo>
                  <a:lnTo>
                    <a:pt x="1283367" y="1215971"/>
                  </a:lnTo>
                  <a:cubicBezTo>
                    <a:pt x="1281324" y="1220017"/>
                    <a:pt x="1277238" y="1228109"/>
                    <a:pt x="1269067" y="1244292"/>
                  </a:cubicBezTo>
                  <a:cubicBezTo>
                    <a:pt x="1269067" y="1244292"/>
                    <a:pt x="1269067" y="1195741"/>
                    <a:pt x="1269067" y="1195741"/>
                  </a:cubicBezTo>
                  <a:cubicBezTo>
                    <a:pt x="1269067" y="1195741"/>
                    <a:pt x="1269067" y="1195741"/>
                    <a:pt x="1252725" y="1211925"/>
                  </a:cubicBezTo>
                  <a:cubicBezTo>
                    <a:pt x="1252725" y="1211925"/>
                    <a:pt x="1269067" y="1163374"/>
                    <a:pt x="1269067" y="1163374"/>
                  </a:cubicBezTo>
                  <a:cubicBezTo>
                    <a:pt x="1269067" y="1163374"/>
                    <a:pt x="1269067" y="1163374"/>
                    <a:pt x="1236383" y="1195741"/>
                  </a:cubicBezTo>
                  <a:cubicBezTo>
                    <a:pt x="1236383" y="1195741"/>
                    <a:pt x="1269067" y="1131007"/>
                    <a:pt x="1269067" y="1131007"/>
                  </a:cubicBezTo>
                  <a:cubicBezTo>
                    <a:pt x="1269067" y="1131007"/>
                    <a:pt x="1269067" y="1131007"/>
                    <a:pt x="1220042" y="1163374"/>
                  </a:cubicBezTo>
                  <a:cubicBezTo>
                    <a:pt x="1203700" y="1163374"/>
                    <a:pt x="1269067" y="1098639"/>
                    <a:pt x="1269067" y="1098639"/>
                  </a:cubicBezTo>
                  <a:cubicBezTo>
                    <a:pt x="1269067" y="1098639"/>
                    <a:pt x="1269067" y="1098639"/>
                    <a:pt x="1187358" y="1131007"/>
                  </a:cubicBezTo>
                  <a:cubicBezTo>
                    <a:pt x="1187358" y="1131007"/>
                    <a:pt x="1252725" y="1066272"/>
                    <a:pt x="1252725" y="1066272"/>
                  </a:cubicBezTo>
                  <a:cubicBezTo>
                    <a:pt x="1252725" y="1066272"/>
                    <a:pt x="1252725" y="1066272"/>
                    <a:pt x="1171016" y="1098639"/>
                  </a:cubicBezTo>
                  <a:cubicBezTo>
                    <a:pt x="1171016" y="1098639"/>
                    <a:pt x="1236383" y="1017721"/>
                    <a:pt x="1236383" y="1017721"/>
                  </a:cubicBezTo>
                  <a:cubicBezTo>
                    <a:pt x="1236383" y="1017721"/>
                    <a:pt x="1236383" y="1017721"/>
                    <a:pt x="1171016" y="1066272"/>
                  </a:cubicBezTo>
                  <a:cubicBezTo>
                    <a:pt x="1171016" y="1066272"/>
                    <a:pt x="1236383" y="985353"/>
                    <a:pt x="1236383" y="985353"/>
                  </a:cubicBezTo>
                  <a:cubicBezTo>
                    <a:pt x="1236383" y="985353"/>
                    <a:pt x="1236383" y="985353"/>
                    <a:pt x="1154674" y="1033904"/>
                  </a:cubicBezTo>
                  <a:cubicBezTo>
                    <a:pt x="1154674" y="1033904"/>
                    <a:pt x="1220042" y="952986"/>
                    <a:pt x="1220042" y="952986"/>
                  </a:cubicBezTo>
                  <a:cubicBezTo>
                    <a:pt x="1220042" y="952986"/>
                    <a:pt x="1220042" y="952986"/>
                    <a:pt x="1138332" y="1001537"/>
                  </a:cubicBezTo>
                  <a:cubicBezTo>
                    <a:pt x="1138332" y="1001537"/>
                    <a:pt x="1203700" y="920619"/>
                    <a:pt x="1203700" y="920619"/>
                  </a:cubicBezTo>
                  <a:cubicBezTo>
                    <a:pt x="1203700" y="920619"/>
                    <a:pt x="1203700" y="920619"/>
                    <a:pt x="1121990" y="969170"/>
                  </a:cubicBezTo>
                  <a:cubicBezTo>
                    <a:pt x="1121990" y="952986"/>
                    <a:pt x="1187358" y="888251"/>
                    <a:pt x="1187358" y="888251"/>
                  </a:cubicBezTo>
                  <a:cubicBezTo>
                    <a:pt x="1187358" y="888251"/>
                    <a:pt x="1187358" y="888251"/>
                    <a:pt x="1121990" y="920619"/>
                  </a:cubicBezTo>
                  <a:cubicBezTo>
                    <a:pt x="1121990" y="920619"/>
                    <a:pt x="1171016" y="855884"/>
                    <a:pt x="1171016" y="855884"/>
                  </a:cubicBezTo>
                  <a:cubicBezTo>
                    <a:pt x="1171016" y="855884"/>
                    <a:pt x="1171016" y="855884"/>
                    <a:pt x="1105648" y="888251"/>
                  </a:cubicBezTo>
                  <a:cubicBezTo>
                    <a:pt x="1105648" y="888251"/>
                    <a:pt x="1154674" y="823516"/>
                    <a:pt x="1154674" y="823516"/>
                  </a:cubicBezTo>
                  <a:cubicBezTo>
                    <a:pt x="1154674" y="823516"/>
                    <a:pt x="1154674" y="823516"/>
                    <a:pt x="1089306" y="855884"/>
                  </a:cubicBezTo>
                  <a:cubicBezTo>
                    <a:pt x="1089306" y="855884"/>
                    <a:pt x="1089306" y="855884"/>
                    <a:pt x="1138332" y="807333"/>
                  </a:cubicBezTo>
                  <a:cubicBezTo>
                    <a:pt x="1138332" y="807333"/>
                    <a:pt x="1138332" y="807333"/>
                    <a:pt x="1089306" y="823516"/>
                  </a:cubicBezTo>
                  <a:cubicBezTo>
                    <a:pt x="1089306" y="823516"/>
                    <a:pt x="1089306" y="823516"/>
                    <a:pt x="1121990" y="791149"/>
                  </a:cubicBezTo>
                  <a:cubicBezTo>
                    <a:pt x="1121990" y="791149"/>
                    <a:pt x="1121990" y="791149"/>
                    <a:pt x="1072964" y="807333"/>
                  </a:cubicBezTo>
                  <a:cubicBezTo>
                    <a:pt x="1072964" y="807333"/>
                    <a:pt x="1072964" y="807333"/>
                    <a:pt x="1105648" y="758782"/>
                  </a:cubicBezTo>
                  <a:cubicBezTo>
                    <a:pt x="1105648" y="758782"/>
                    <a:pt x="1105648" y="758782"/>
                    <a:pt x="1072964" y="791149"/>
                  </a:cubicBezTo>
                  <a:cubicBezTo>
                    <a:pt x="1072964" y="791149"/>
                    <a:pt x="1072964" y="791149"/>
                    <a:pt x="1072964" y="726414"/>
                  </a:cubicBezTo>
                  <a:cubicBezTo>
                    <a:pt x="1072964" y="726414"/>
                    <a:pt x="1072964" y="726414"/>
                    <a:pt x="1056622" y="758782"/>
                  </a:cubicBezTo>
                  <a:cubicBezTo>
                    <a:pt x="1056622" y="758782"/>
                    <a:pt x="1056622" y="758782"/>
                    <a:pt x="1056622" y="710231"/>
                  </a:cubicBezTo>
                  <a:cubicBezTo>
                    <a:pt x="1056622" y="710231"/>
                    <a:pt x="1056622" y="710231"/>
                    <a:pt x="1040280" y="742598"/>
                  </a:cubicBezTo>
                  <a:cubicBezTo>
                    <a:pt x="1040280" y="742598"/>
                    <a:pt x="1037982" y="733495"/>
                    <a:pt x="1035109" y="722115"/>
                  </a:cubicBezTo>
                  <a:lnTo>
                    <a:pt x="1027019" y="690065"/>
                  </a:lnTo>
                  <a:lnTo>
                    <a:pt x="1008571" y="678491"/>
                  </a:lnTo>
                  <a:lnTo>
                    <a:pt x="1008530" y="679775"/>
                  </a:lnTo>
                  <a:cubicBezTo>
                    <a:pt x="1008344" y="685509"/>
                    <a:pt x="1007601" y="708446"/>
                    <a:pt x="1004630" y="800195"/>
                  </a:cubicBezTo>
                  <a:lnTo>
                    <a:pt x="1003186" y="844781"/>
                  </a:lnTo>
                  <a:lnTo>
                    <a:pt x="1013073" y="848787"/>
                  </a:lnTo>
                  <a:lnTo>
                    <a:pt x="1039483" y="858080"/>
                  </a:lnTo>
                  <a:cubicBezTo>
                    <a:pt x="1053457" y="863615"/>
                    <a:pt x="1064635" y="868647"/>
                    <a:pt x="1072765" y="872672"/>
                  </a:cubicBezTo>
                  <a:lnTo>
                    <a:pt x="1072947" y="873032"/>
                  </a:lnTo>
                  <a:lnTo>
                    <a:pt x="1073150" y="873126"/>
                  </a:lnTo>
                  <a:lnTo>
                    <a:pt x="1072954" y="873047"/>
                  </a:lnTo>
                  <a:lnTo>
                    <a:pt x="1074798" y="876698"/>
                  </a:lnTo>
                  <a:cubicBezTo>
                    <a:pt x="1076830" y="880723"/>
                    <a:pt x="1080895" y="888774"/>
                    <a:pt x="1089025" y="904876"/>
                  </a:cubicBezTo>
                  <a:cubicBezTo>
                    <a:pt x="1089025" y="904876"/>
                    <a:pt x="1072765" y="904876"/>
                    <a:pt x="1072765" y="904876"/>
                  </a:cubicBezTo>
                  <a:cubicBezTo>
                    <a:pt x="1072765" y="904876"/>
                    <a:pt x="1072765" y="904876"/>
                    <a:pt x="1056506" y="872672"/>
                  </a:cubicBezTo>
                  <a:cubicBezTo>
                    <a:pt x="1056506" y="872672"/>
                    <a:pt x="1056506" y="872672"/>
                    <a:pt x="1056506" y="904876"/>
                  </a:cubicBezTo>
                  <a:cubicBezTo>
                    <a:pt x="1056506" y="904876"/>
                    <a:pt x="1023986" y="872672"/>
                    <a:pt x="1023986" y="872672"/>
                  </a:cubicBezTo>
                  <a:cubicBezTo>
                    <a:pt x="1023986" y="872672"/>
                    <a:pt x="1023986" y="872672"/>
                    <a:pt x="1023986" y="904876"/>
                  </a:cubicBezTo>
                  <a:cubicBezTo>
                    <a:pt x="1023986" y="904876"/>
                    <a:pt x="1007726" y="872672"/>
                    <a:pt x="1007726" y="872672"/>
                  </a:cubicBezTo>
                  <a:cubicBezTo>
                    <a:pt x="1007726" y="872672"/>
                    <a:pt x="1007726" y="872672"/>
                    <a:pt x="1007726" y="904876"/>
                  </a:cubicBezTo>
                  <a:cubicBezTo>
                    <a:pt x="1007726" y="904876"/>
                    <a:pt x="1006710" y="901857"/>
                    <a:pt x="1005186" y="897328"/>
                  </a:cubicBezTo>
                  <a:lnTo>
                    <a:pt x="1001809" y="887297"/>
                  </a:lnTo>
                  <a:lnTo>
                    <a:pt x="1001746" y="889253"/>
                  </a:lnTo>
                  <a:cubicBezTo>
                    <a:pt x="1001175" y="906869"/>
                    <a:pt x="1000557" y="925953"/>
                    <a:pt x="999888" y="946627"/>
                  </a:cubicBezTo>
                  <a:lnTo>
                    <a:pt x="998470" y="990417"/>
                  </a:lnTo>
                  <a:lnTo>
                    <a:pt x="1032370" y="1015964"/>
                  </a:lnTo>
                  <a:lnTo>
                    <a:pt x="1042214" y="1027556"/>
                  </a:lnTo>
                  <a:lnTo>
                    <a:pt x="1066228" y="1050120"/>
                  </a:lnTo>
                  <a:cubicBezTo>
                    <a:pt x="1077949" y="1062981"/>
                    <a:pt x="1086103" y="1074077"/>
                    <a:pt x="1090180" y="1082147"/>
                  </a:cubicBezTo>
                  <a:cubicBezTo>
                    <a:pt x="1090180" y="1082147"/>
                    <a:pt x="1090180" y="1082147"/>
                    <a:pt x="1106488" y="1114426"/>
                  </a:cubicBezTo>
                  <a:cubicBezTo>
                    <a:pt x="1106488" y="1114426"/>
                    <a:pt x="1106488" y="1114426"/>
                    <a:pt x="1092728" y="1093999"/>
                  </a:cubicBezTo>
                  <a:lnTo>
                    <a:pt x="1077955" y="1072068"/>
                  </a:lnTo>
                  <a:lnTo>
                    <a:pt x="1073872" y="1068289"/>
                  </a:lnTo>
                  <a:lnTo>
                    <a:pt x="1073872" y="1070042"/>
                  </a:lnTo>
                  <a:cubicBezTo>
                    <a:pt x="1073872" y="1074077"/>
                    <a:pt x="1073872" y="1082147"/>
                    <a:pt x="1073872" y="1098287"/>
                  </a:cubicBezTo>
                  <a:cubicBezTo>
                    <a:pt x="1073872" y="1098287"/>
                    <a:pt x="1057564" y="1066007"/>
                    <a:pt x="1057564" y="1066007"/>
                  </a:cubicBezTo>
                  <a:cubicBezTo>
                    <a:pt x="1057564" y="1066007"/>
                    <a:pt x="1057564" y="1066007"/>
                    <a:pt x="1041256" y="1098287"/>
                  </a:cubicBezTo>
                  <a:cubicBezTo>
                    <a:pt x="1041256" y="1098287"/>
                    <a:pt x="1041256" y="1049868"/>
                    <a:pt x="1041256" y="1049868"/>
                  </a:cubicBezTo>
                  <a:cubicBezTo>
                    <a:pt x="1041256" y="1049868"/>
                    <a:pt x="1041256" y="1049868"/>
                    <a:pt x="1024948" y="1082147"/>
                  </a:cubicBezTo>
                  <a:cubicBezTo>
                    <a:pt x="1024948" y="1082147"/>
                    <a:pt x="1008640" y="1017588"/>
                    <a:pt x="1008640" y="1017588"/>
                  </a:cubicBezTo>
                  <a:cubicBezTo>
                    <a:pt x="1008640" y="1017588"/>
                    <a:pt x="1008640" y="1017588"/>
                    <a:pt x="1001760" y="1038015"/>
                  </a:cubicBezTo>
                  <a:lnTo>
                    <a:pt x="996414" y="1053889"/>
                  </a:lnTo>
                  <a:lnTo>
                    <a:pt x="995221" y="1090734"/>
                  </a:lnTo>
                  <a:cubicBezTo>
                    <a:pt x="994329" y="1118259"/>
                    <a:pt x="993378" y="1147619"/>
                    <a:pt x="992364" y="1178936"/>
                  </a:cubicBezTo>
                  <a:cubicBezTo>
                    <a:pt x="976136" y="1243590"/>
                    <a:pt x="976136" y="1324409"/>
                    <a:pt x="992364" y="1405227"/>
                  </a:cubicBezTo>
                  <a:cubicBezTo>
                    <a:pt x="992364" y="1405227"/>
                    <a:pt x="992364" y="1405227"/>
                    <a:pt x="1035850" y="1751735"/>
                  </a:cubicBezTo>
                  <a:lnTo>
                    <a:pt x="1044326" y="1819281"/>
                  </a:lnTo>
                  <a:lnTo>
                    <a:pt x="1112266" y="1842407"/>
                  </a:lnTo>
                  <a:cubicBezTo>
                    <a:pt x="1211896" y="1882662"/>
                    <a:pt x="1285094" y="1939018"/>
                    <a:pt x="1317626" y="2003425"/>
                  </a:cubicBezTo>
                  <a:cubicBezTo>
                    <a:pt x="1317626" y="2003425"/>
                    <a:pt x="1317626" y="2003425"/>
                    <a:pt x="195263" y="2003425"/>
                  </a:cubicBezTo>
                  <a:cubicBezTo>
                    <a:pt x="225762" y="1922916"/>
                    <a:pt x="326154" y="1854987"/>
                    <a:pt x="464671" y="1815361"/>
                  </a:cubicBezTo>
                  <a:lnTo>
                    <a:pt x="516010" y="1803469"/>
                  </a:lnTo>
                  <a:lnTo>
                    <a:pt x="512358" y="1756275"/>
                  </a:lnTo>
                  <a:cubicBezTo>
                    <a:pt x="507591" y="1694662"/>
                    <a:pt x="499964" y="1596081"/>
                    <a:pt x="487760" y="1438351"/>
                  </a:cubicBezTo>
                  <a:cubicBezTo>
                    <a:pt x="471488" y="1373642"/>
                    <a:pt x="471488" y="1308932"/>
                    <a:pt x="487760" y="1244223"/>
                  </a:cubicBezTo>
                  <a:cubicBezTo>
                    <a:pt x="487760" y="1244223"/>
                    <a:pt x="487760" y="1244223"/>
                    <a:pt x="509561" y="973283"/>
                  </a:cubicBezTo>
                  <a:lnTo>
                    <a:pt x="514154" y="916215"/>
                  </a:lnTo>
                  <a:lnTo>
                    <a:pt x="512168" y="912935"/>
                  </a:lnTo>
                  <a:lnTo>
                    <a:pt x="506339" y="907133"/>
                  </a:lnTo>
                  <a:lnTo>
                    <a:pt x="490798" y="891664"/>
                  </a:lnTo>
                  <a:lnTo>
                    <a:pt x="492954" y="904488"/>
                  </a:lnTo>
                  <a:lnTo>
                    <a:pt x="494431" y="908898"/>
                  </a:lnTo>
                  <a:cubicBezTo>
                    <a:pt x="496711" y="915707"/>
                    <a:pt x="499751" y="924786"/>
                    <a:pt x="503805" y="936890"/>
                  </a:cubicBezTo>
                  <a:cubicBezTo>
                    <a:pt x="503805" y="936890"/>
                    <a:pt x="503805" y="936890"/>
                    <a:pt x="499751" y="934873"/>
                  </a:cubicBezTo>
                  <a:lnTo>
                    <a:pt x="497908" y="933955"/>
                  </a:lnTo>
                  <a:lnTo>
                    <a:pt x="500574" y="949814"/>
                  </a:lnTo>
                  <a:lnTo>
                    <a:pt x="503805" y="953030"/>
                  </a:lnTo>
                  <a:cubicBezTo>
                    <a:pt x="503805" y="953030"/>
                    <a:pt x="503805" y="953030"/>
                    <a:pt x="503045" y="952778"/>
                  </a:cubicBezTo>
                  <a:lnTo>
                    <a:pt x="500956" y="952085"/>
                  </a:lnTo>
                  <a:lnTo>
                    <a:pt x="501277" y="953993"/>
                  </a:lnTo>
                  <a:cubicBezTo>
                    <a:pt x="502804" y="963078"/>
                    <a:pt x="503823" y="969135"/>
                    <a:pt x="503823" y="969135"/>
                  </a:cubicBezTo>
                  <a:cubicBezTo>
                    <a:pt x="503823" y="969135"/>
                    <a:pt x="503823" y="969135"/>
                    <a:pt x="499750" y="961059"/>
                  </a:cubicBezTo>
                  <a:lnTo>
                    <a:pt x="494071" y="949800"/>
                  </a:lnTo>
                  <a:lnTo>
                    <a:pt x="483283" y="946221"/>
                  </a:lnTo>
                  <a:lnTo>
                    <a:pt x="464109" y="939860"/>
                  </a:lnTo>
                  <a:lnTo>
                    <a:pt x="463112" y="944806"/>
                  </a:lnTo>
                  <a:lnTo>
                    <a:pt x="468841" y="950508"/>
                  </a:lnTo>
                  <a:cubicBezTo>
                    <a:pt x="473401" y="955047"/>
                    <a:pt x="479482" y="961100"/>
                    <a:pt x="487590" y="969170"/>
                  </a:cubicBezTo>
                  <a:cubicBezTo>
                    <a:pt x="487590" y="969170"/>
                    <a:pt x="487590" y="969170"/>
                    <a:pt x="473908" y="962361"/>
                  </a:cubicBezTo>
                  <a:lnTo>
                    <a:pt x="460878" y="955876"/>
                  </a:lnTo>
                  <a:lnTo>
                    <a:pt x="459995" y="960250"/>
                  </a:lnTo>
                  <a:lnTo>
                    <a:pt x="460227" y="960595"/>
                  </a:lnTo>
                  <a:cubicBezTo>
                    <a:pt x="469348" y="974213"/>
                    <a:pt x="487590" y="1001449"/>
                    <a:pt x="487590" y="1001449"/>
                  </a:cubicBezTo>
                  <a:cubicBezTo>
                    <a:pt x="487590" y="1001449"/>
                    <a:pt x="487590" y="1001449"/>
                    <a:pt x="467067" y="987831"/>
                  </a:cubicBezTo>
                  <a:lnTo>
                    <a:pt x="455923" y="980436"/>
                  </a:lnTo>
                  <a:lnTo>
                    <a:pt x="454944" y="985286"/>
                  </a:lnTo>
                  <a:cubicBezTo>
                    <a:pt x="454944" y="985286"/>
                    <a:pt x="454944" y="985286"/>
                    <a:pt x="452908" y="979229"/>
                  </a:cubicBezTo>
                  <a:lnTo>
                    <a:pt x="452564" y="978207"/>
                  </a:lnTo>
                  <a:lnTo>
                    <a:pt x="438944" y="969170"/>
                  </a:lnTo>
                  <a:cubicBezTo>
                    <a:pt x="438944" y="969170"/>
                    <a:pt x="471375" y="1017588"/>
                    <a:pt x="471375" y="1017588"/>
                  </a:cubicBezTo>
                  <a:cubicBezTo>
                    <a:pt x="471375" y="1017588"/>
                    <a:pt x="471375" y="1017588"/>
                    <a:pt x="450852" y="1003971"/>
                  </a:cubicBezTo>
                  <a:lnTo>
                    <a:pt x="431784" y="991317"/>
                  </a:lnTo>
                  <a:lnTo>
                    <a:pt x="431778" y="991343"/>
                  </a:lnTo>
                  <a:lnTo>
                    <a:pt x="429198" y="994108"/>
                  </a:lnTo>
                  <a:lnTo>
                    <a:pt x="430330" y="995649"/>
                  </a:lnTo>
                  <a:cubicBezTo>
                    <a:pt x="444012" y="1014562"/>
                    <a:pt x="471375" y="1053903"/>
                    <a:pt x="471375" y="1066007"/>
                  </a:cubicBezTo>
                  <a:cubicBezTo>
                    <a:pt x="471375" y="1066007"/>
                    <a:pt x="471375" y="1066007"/>
                    <a:pt x="406514" y="1017588"/>
                  </a:cubicBezTo>
                  <a:cubicBezTo>
                    <a:pt x="406514" y="1017588"/>
                    <a:pt x="455159" y="1082147"/>
                    <a:pt x="455159" y="1098286"/>
                  </a:cubicBezTo>
                  <a:cubicBezTo>
                    <a:pt x="455159" y="1098286"/>
                    <a:pt x="455159" y="1098286"/>
                    <a:pt x="390299" y="1033728"/>
                  </a:cubicBezTo>
                  <a:cubicBezTo>
                    <a:pt x="390299" y="1033728"/>
                    <a:pt x="455159" y="1114426"/>
                    <a:pt x="455159" y="1114426"/>
                  </a:cubicBezTo>
                  <a:cubicBezTo>
                    <a:pt x="455159" y="1114426"/>
                    <a:pt x="455159" y="1114426"/>
                    <a:pt x="374083" y="1066007"/>
                  </a:cubicBezTo>
                  <a:cubicBezTo>
                    <a:pt x="374083" y="1066007"/>
                    <a:pt x="438944" y="1146705"/>
                    <a:pt x="438944" y="1146705"/>
                  </a:cubicBezTo>
                  <a:cubicBezTo>
                    <a:pt x="438944" y="1146705"/>
                    <a:pt x="438944" y="1146705"/>
                    <a:pt x="374083" y="1098286"/>
                  </a:cubicBezTo>
                  <a:cubicBezTo>
                    <a:pt x="374083" y="1098286"/>
                    <a:pt x="422729" y="1162845"/>
                    <a:pt x="422729" y="1162845"/>
                  </a:cubicBezTo>
                  <a:cubicBezTo>
                    <a:pt x="422729" y="1162845"/>
                    <a:pt x="422729" y="1162845"/>
                    <a:pt x="374083" y="1130566"/>
                  </a:cubicBezTo>
                  <a:cubicBezTo>
                    <a:pt x="374083" y="1130566"/>
                    <a:pt x="422729" y="1195124"/>
                    <a:pt x="422729" y="1195124"/>
                  </a:cubicBezTo>
                  <a:cubicBezTo>
                    <a:pt x="422729" y="1195124"/>
                    <a:pt x="422729" y="1195124"/>
                    <a:pt x="357868" y="1162845"/>
                  </a:cubicBezTo>
                  <a:cubicBezTo>
                    <a:pt x="357868" y="1162845"/>
                    <a:pt x="406514" y="1211264"/>
                    <a:pt x="406514" y="1211264"/>
                  </a:cubicBezTo>
                  <a:cubicBezTo>
                    <a:pt x="406514" y="1211264"/>
                    <a:pt x="406514" y="1211264"/>
                    <a:pt x="357868" y="1195124"/>
                  </a:cubicBezTo>
                  <a:cubicBezTo>
                    <a:pt x="357868" y="1195124"/>
                    <a:pt x="390299" y="1243543"/>
                    <a:pt x="390299" y="1243543"/>
                  </a:cubicBezTo>
                  <a:cubicBezTo>
                    <a:pt x="390299" y="1243543"/>
                    <a:pt x="390299" y="1243543"/>
                    <a:pt x="357868" y="1227403"/>
                  </a:cubicBezTo>
                  <a:cubicBezTo>
                    <a:pt x="357868" y="1227403"/>
                    <a:pt x="374083" y="1259682"/>
                    <a:pt x="374083" y="1259682"/>
                  </a:cubicBezTo>
                  <a:cubicBezTo>
                    <a:pt x="374083" y="1259682"/>
                    <a:pt x="374083" y="1259682"/>
                    <a:pt x="357868" y="1243543"/>
                  </a:cubicBezTo>
                  <a:cubicBezTo>
                    <a:pt x="357868" y="1243543"/>
                    <a:pt x="357868" y="1291962"/>
                    <a:pt x="357868" y="1291962"/>
                  </a:cubicBezTo>
                  <a:cubicBezTo>
                    <a:pt x="357868" y="1291962"/>
                    <a:pt x="357868" y="1291962"/>
                    <a:pt x="351027" y="1278344"/>
                  </a:cubicBezTo>
                  <a:lnTo>
                    <a:pt x="342132" y="1260636"/>
                  </a:lnTo>
                  <a:lnTo>
                    <a:pt x="342109" y="1261044"/>
                  </a:lnTo>
                  <a:lnTo>
                    <a:pt x="343680" y="1265735"/>
                  </a:lnTo>
                  <a:cubicBezTo>
                    <a:pt x="345707" y="1271787"/>
                    <a:pt x="349761" y="1283892"/>
                    <a:pt x="357868" y="1308101"/>
                  </a:cubicBezTo>
                  <a:cubicBezTo>
                    <a:pt x="357868" y="1308101"/>
                    <a:pt x="341653" y="1308101"/>
                    <a:pt x="341653" y="1308101"/>
                  </a:cubicBezTo>
                  <a:cubicBezTo>
                    <a:pt x="341653" y="1308101"/>
                    <a:pt x="341653" y="1308101"/>
                    <a:pt x="341653" y="1275822"/>
                  </a:cubicBezTo>
                  <a:lnTo>
                    <a:pt x="341643" y="1275768"/>
                  </a:lnTo>
                  <a:lnTo>
                    <a:pt x="341630" y="1276351"/>
                  </a:lnTo>
                  <a:lnTo>
                    <a:pt x="341589" y="1275464"/>
                  </a:lnTo>
                  <a:lnTo>
                    <a:pt x="335319" y="1240264"/>
                  </a:lnTo>
                  <a:lnTo>
                    <a:pt x="338219" y="1203083"/>
                  </a:lnTo>
                  <a:lnTo>
                    <a:pt x="337835" y="1194851"/>
                  </a:lnTo>
                  <a:cubicBezTo>
                    <a:pt x="340365" y="1142872"/>
                    <a:pt x="352004" y="1095940"/>
                    <a:pt x="366678" y="1056072"/>
                  </a:cubicBezTo>
                  <a:lnTo>
                    <a:pt x="370669" y="1046871"/>
                  </a:lnTo>
                  <a:lnTo>
                    <a:pt x="374083" y="1033728"/>
                  </a:lnTo>
                  <a:lnTo>
                    <a:pt x="387919" y="1007100"/>
                  </a:lnTo>
                  <a:lnTo>
                    <a:pt x="390208" y="1001823"/>
                  </a:lnTo>
                  <a:lnTo>
                    <a:pt x="389315" y="1004413"/>
                  </a:lnTo>
                  <a:lnTo>
                    <a:pt x="391632" y="999954"/>
                  </a:lnTo>
                  <a:lnTo>
                    <a:pt x="390208" y="1001823"/>
                  </a:lnTo>
                  <a:lnTo>
                    <a:pt x="392989" y="997343"/>
                  </a:lnTo>
                  <a:lnTo>
                    <a:pt x="394558" y="994322"/>
                  </a:lnTo>
                  <a:lnTo>
                    <a:pt x="389773" y="1001437"/>
                  </a:lnTo>
                  <a:cubicBezTo>
                    <a:pt x="389773" y="1001437"/>
                    <a:pt x="389773" y="1001437"/>
                    <a:pt x="389773" y="969135"/>
                  </a:cubicBezTo>
                  <a:cubicBezTo>
                    <a:pt x="389773" y="969135"/>
                    <a:pt x="389773" y="969135"/>
                    <a:pt x="373481" y="1017588"/>
                  </a:cubicBezTo>
                  <a:cubicBezTo>
                    <a:pt x="373481" y="1017588"/>
                    <a:pt x="373481" y="1017588"/>
                    <a:pt x="357188" y="1017588"/>
                  </a:cubicBezTo>
                  <a:cubicBezTo>
                    <a:pt x="357188" y="1017588"/>
                    <a:pt x="357188" y="1017588"/>
                    <a:pt x="364061" y="1003961"/>
                  </a:cubicBezTo>
                  <a:lnTo>
                    <a:pt x="373412" y="985423"/>
                  </a:lnTo>
                  <a:lnTo>
                    <a:pt x="373063" y="985838"/>
                  </a:lnTo>
                  <a:lnTo>
                    <a:pt x="373505" y="985251"/>
                  </a:lnTo>
                  <a:lnTo>
                    <a:pt x="404794" y="940871"/>
                  </a:lnTo>
                  <a:lnTo>
                    <a:pt x="423746" y="918603"/>
                  </a:lnTo>
                  <a:lnTo>
                    <a:pt x="439507" y="897696"/>
                  </a:lnTo>
                  <a:lnTo>
                    <a:pt x="450885" y="886718"/>
                  </a:lnTo>
                  <a:lnTo>
                    <a:pt x="452908" y="884342"/>
                  </a:lnTo>
                  <a:lnTo>
                    <a:pt x="453577" y="883739"/>
                  </a:lnTo>
                  <a:lnTo>
                    <a:pt x="448281" y="868007"/>
                  </a:lnTo>
                  <a:lnTo>
                    <a:pt x="439108" y="840755"/>
                  </a:lnTo>
                  <a:lnTo>
                    <a:pt x="439016" y="840847"/>
                  </a:lnTo>
                  <a:lnTo>
                    <a:pt x="439016" y="840482"/>
                  </a:lnTo>
                  <a:lnTo>
                    <a:pt x="438867" y="840039"/>
                  </a:lnTo>
                  <a:cubicBezTo>
                    <a:pt x="438867" y="840039"/>
                    <a:pt x="438867" y="840039"/>
                    <a:pt x="422582" y="888416"/>
                  </a:cubicBezTo>
                  <a:cubicBezTo>
                    <a:pt x="422582" y="888416"/>
                    <a:pt x="422582" y="888416"/>
                    <a:pt x="406297" y="856164"/>
                  </a:cubicBezTo>
                  <a:cubicBezTo>
                    <a:pt x="406297" y="856164"/>
                    <a:pt x="406297" y="856164"/>
                    <a:pt x="406297" y="904542"/>
                  </a:cubicBezTo>
                  <a:cubicBezTo>
                    <a:pt x="406297" y="904542"/>
                    <a:pt x="406297" y="904542"/>
                    <a:pt x="390013" y="856164"/>
                  </a:cubicBezTo>
                  <a:cubicBezTo>
                    <a:pt x="390013" y="856164"/>
                    <a:pt x="390013" y="856164"/>
                    <a:pt x="390013" y="920667"/>
                  </a:cubicBezTo>
                  <a:cubicBezTo>
                    <a:pt x="390013" y="920667"/>
                    <a:pt x="390013" y="920667"/>
                    <a:pt x="373728" y="872290"/>
                  </a:cubicBezTo>
                  <a:cubicBezTo>
                    <a:pt x="373728" y="872290"/>
                    <a:pt x="357443" y="936793"/>
                    <a:pt x="357443" y="936793"/>
                  </a:cubicBezTo>
                  <a:cubicBezTo>
                    <a:pt x="357443" y="936793"/>
                    <a:pt x="357443" y="936793"/>
                    <a:pt x="341159" y="888416"/>
                  </a:cubicBezTo>
                  <a:cubicBezTo>
                    <a:pt x="341159" y="888416"/>
                    <a:pt x="341159" y="952919"/>
                    <a:pt x="341159" y="952919"/>
                  </a:cubicBezTo>
                  <a:cubicBezTo>
                    <a:pt x="341159" y="952919"/>
                    <a:pt x="341159" y="952919"/>
                    <a:pt x="308589" y="888416"/>
                  </a:cubicBezTo>
                  <a:cubicBezTo>
                    <a:pt x="308589" y="888416"/>
                    <a:pt x="308589" y="985170"/>
                    <a:pt x="308589" y="985170"/>
                  </a:cubicBezTo>
                  <a:cubicBezTo>
                    <a:pt x="308589" y="985170"/>
                    <a:pt x="308589" y="985170"/>
                    <a:pt x="276020" y="904542"/>
                  </a:cubicBezTo>
                  <a:cubicBezTo>
                    <a:pt x="276020" y="904542"/>
                    <a:pt x="276020" y="1001296"/>
                    <a:pt x="276020" y="1001296"/>
                  </a:cubicBezTo>
                  <a:cubicBezTo>
                    <a:pt x="276020" y="1001296"/>
                    <a:pt x="276020" y="1001296"/>
                    <a:pt x="243451" y="920667"/>
                  </a:cubicBezTo>
                  <a:cubicBezTo>
                    <a:pt x="267878" y="904541"/>
                    <a:pt x="291287" y="891439"/>
                    <a:pt x="313424" y="880605"/>
                  </a:cubicBezTo>
                  <a:lnTo>
                    <a:pt x="364618" y="858879"/>
                  </a:lnTo>
                  <a:lnTo>
                    <a:pt x="335306" y="868711"/>
                  </a:lnTo>
                  <a:lnTo>
                    <a:pt x="387567" y="844604"/>
                  </a:lnTo>
                  <a:lnTo>
                    <a:pt x="422756" y="836843"/>
                  </a:lnTo>
                  <a:lnTo>
                    <a:pt x="422756" y="834795"/>
                  </a:lnTo>
                  <a:cubicBezTo>
                    <a:pt x="422756" y="828742"/>
                    <a:pt x="422756" y="816637"/>
                    <a:pt x="422756" y="792428"/>
                  </a:cubicBezTo>
                  <a:cubicBezTo>
                    <a:pt x="422756" y="792428"/>
                    <a:pt x="422756" y="792428"/>
                    <a:pt x="390236" y="840847"/>
                  </a:cubicBezTo>
                  <a:cubicBezTo>
                    <a:pt x="390236" y="840847"/>
                    <a:pt x="390236" y="840847"/>
                    <a:pt x="390236" y="792428"/>
                  </a:cubicBezTo>
                  <a:cubicBezTo>
                    <a:pt x="390236" y="792428"/>
                    <a:pt x="390236" y="792428"/>
                    <a:pt x="373976" y="840847"/>
                  </a:cubicBezTo>
                  <a:cubicBezTo>
                    <a:pt x="373976" y="840847"/>
                    <a:pt x="373976" y="840847"/>
                    <a:pt x="373976" y="792428"/>
                  </a:cubicBezTo>
                  <a:cubicBezTo>
                    <a:pt x="373976" y="792428"/>
                    <a:pt x="341457" y="840847"/>
                    <a:pt x="341457" y="840847"/>
                  </a:cubicBezTo>
                  <a:cubicBezTo>
                    <a:pt x="341457" y="840847"/>
                    <a:pt x="341457" y="840847"/>
                    <a:pt x="341457" y="792428"/>
                  </a:cubicBezTo>
                  <a:cubicBezTo>
                    <a:pt x="341457" y="792428"/>
                    <a:pt x="325197" y="856986"/>
                    <a:pt x="325197" y="856986"/>
                  </a:cubicBezTo>
                  <a:cubicBezTo>
                    <a:pt x="325197" y="856986"/>
                    <a:pt x="325197" y="856986"/>
                    <a:pt x="325197" y="792428"/>
                  </a:cubicBezTo>
                  <a:cubicBezTo>
                    <a:pt x="325197" y="792428"/>
                    <a:pt x="292677" y="856986"/>
                    <a:pt x="292677" y="856986"/>
                  </a:cubicBezTo>
                  <a:cubicBezTo>
                    <a:pt x="292677" y="856986"/>
                    <a:pt x="292677" y="856986"/>
                    <a:pt x="292677" y="792428"/>
                  </a:cubicBezTo>
                  <a:cubicBezTo>
                    <a:pt x="292677" y="792428"/>
                    <a:pt x="260157" y="873126"/>
                    <a:pt x="260157" y="873126"/>
                  </a:cubicBezTo>
                  <a:cubicBezTo>
                    <a:pt x="260157" y="873126"/>
                    <a:pt x="260157" y="873126"/>
                    <a:pt x="260157" y="792428"/>
                  </a:cubicBezTo>
                  <a:cubicBezTo>
                    <a:pt x="260157" y="792428"/>
                    <a:pt x="227638" y="873126"/>
                    <a:pt x="227638" y="873126"/>
                  </a:cubicBezTo>
                  <a:cubicBezTo>
                    <a:pt x="227638" y="873126"/>
                    <a:pt x="227638" y="873126"/>
                    <a:pt x="227638" y="792428"/>
                  </a:cubicBezTo>
                  <a:cubicBezTo>
                    <a:pt x="227638" y="792428"/>
                    <a:pt x="195118" y="873126"/>
                    <a:pt x="195118" y="873126"/>
                  </a:cubicBezTo>
                  <a:cubicBezTo>
                    <a:pt x="195118" y="873126"/>
                    <a:pt x="195118" y="873126"/>
                    <a:pt x="195118" y="808567"/>
                  </a:cubicBezTo>
                  <a:cubicBezTo>
                    <a:pt x="195118" y="808567"/>
                    <a:pt x="178858" y="873126"/>
                    <a:pt x="178858" y="873126"/>
                  </a:cubicBezTo>
                  <a:cubicBezTo>
                    <a:pt x="178858" y="873126"/>
                    <a:pt x="178858" y="873126"/>
                    <a:pt x="162598" y="808567"/>
                  </a:cubicBezTo>
                  <a:cubicBezTo>
                    <a:pt x="162598" y="808567"/>
                    <a:pt x="146338" y="873126"/>
                    <a:pt x="146338" y="873126"/>
                  </a:cubicBezTo>
                  <a:cubicBezTo>
                    <a:pt x="146338" y="873126"/>
                    <a:pt x="146338" y="873126"/>
                    <a:pt x="130079" y="824707"/>
                  </a:cubicBezTo>
                  <a:cubicBezTo>
                    <a:pt x="130079" y="824707"/>
                    <a:pt x="113819" y="873126"/>
                    <a:pt x="113819" y="873126"/>
                  </a:cubicBezTo>
                  <a:cubicBezTo>
                    <a:pt x="113819" y="873126"/>
                    <a:pt x="113819" y="873126"/>
                    <a:pt x="113819" y="824707"/>
                  </a:cubicBezTo>
                  <a:cubicBezTo>
                    <a:pt x="113819" y="824707"/>
                    <a:pt x="81299" y="873126"/>
                    <a:pt x="81299" y="873126"/>
                  </a:cubicBezTo>
                  <a:cubicBezTo>
                    <a:pt x="81299" y="873126"/>
                    <a:pt x="81299" y="873126"/>
                    <a:pt x="81299" y="840847"/>
                  </a:cubicBezTo>
                  <a:cubicBezTo>
                    <a:pt x="81299" y="840847"/>
                    <a:pt x="65039" y="873126"/>
                    <a:pt x="65039" y="873126"/>
                  </a:cubicBezTo>
                  <a:cubicBezTo>
                    <a:pt x="65039" y="873126"/>
                    <a:pt x="65039" y="873126"/>
                    <a:pt x="65039" y="840847"/>
                  </a:cubicBezTo>
                  <a:cubicBezTo>
                    <a:pt x="65039" y="840847"/>
                    <a:pt x="46747" y="859004"/>
                    <a:pt x="37601" y="868083"/>
                  </a:cubicBezTo>
                  <a:lnTo>
                    <a:pt x="36280" y="869393"/>
                  </a:lnTo>
                  <a:lnTo>
                    <a:pt x="48779" y="856986"/>
                  </a:lnTo>
                  <a:cubicBezTo>
                    <a:pt x="48779" y="856986"/>
                    <a:pt x="48779" y="856986"/>
                    <a:pt x="16260" y="873126"/>
                  </a:cubicBezTo>
                  <a:cubicBezTo>
                    <a:pt x="16260" y="873126"/>
                    <a:pt x="0" y="873126"/>
                    <a:pt x="0" y="873126"/>
                  </a:cubicBezTo>
                  <a:cubicBezTo>
                    <a:pt x="0" y="873126"/>
                    <a:pt x="0" y="873126"/>
                    <a:pt x="16260" y="856986"/>
                  </a:cubicBezTo>
                  <a:lnTo>
                    <a:pt x="24715" y="852241"/>
                  </a:lnTo>
                  <a:lnTo>
                    <a:pt x="19495" y="854245"/>
                  </a:lnTo>
                  <a:cubicBezTo>
                    <a:pt x="17145" y="855159"/>
                    <a:pt x="15875" y="855663"/>
                    <a:pt x="15875" y="855663"/>
                  </a:cubicBezTo>
                  <a:cubicBezTo>
                    <a:pt x="89044" y="807244"/>
                    <a:pt x="171360" y="786061"/>
                    <a:pt x="242242" y="778495"/>
                  </a:cubicBezTo>
                  <a:lnTo>
                    <a:pt x="250836" y="778038"/>
                  </a:lnTo>
                  <a:lnTo>
                    <a:pt x="260157" y="776288"/>
                  </a:lnTo>
                  <a:lnTo>
                    <a:pt x="282928" y="776329"/>
                  </a:lnTo>
                  <a:lnTo>
                    <a:pt x="283792" y="776283"/>
                  </a:lnTo>
                  <a:lnTo>
                    <a:pt x="283489" y="776330"/>
                  </a:lnTo>
                  <a:lnTo>
                    <a:pt x="307428" y="776373"/>
                  </a:lnTo>
                  <a:lnTo>
                    <a:pt x="298210" y="775516"/>
                  </a:lnTo>
                  <a:lnTo>
                    <a:pt x="308552" y="774965"/>
                  </a:lnTo>
                  <a:cubicBezTo>
                    <a:pt x="345137" y="770930"/>
                    <a:pt x="378673" y="771939"/>
                    <a:pt x="408398" y="775721"/>
                  </a:cubicBezTo>
                  <a:lnTo>
                    <a:pt x="443023" y="783548"/>
                  </a:lnTo>
                  <a:lnTo>
                    <a:pt x="445875" y="777866"/>
                  </a:lnTo>
                  <a:cubicBezTo>
                    <a:pt x="448162" y="773311"/>
                    <a:pt x="451211" y="767239"/>
                    <a:pt x="455276" y="759143"/>
                  </a:cubicBezTo>
                  <a:cubicBezTo>
                    <a:pt x="455276" y="759143"/>
                    <a:pt x="455276" y="759143"/>
                    <a:pt x="422756" y="775336"/>
                  </a:cubicBezTo>
                  <a:cubicBezTo>
                    <a:pt x="422756" y="775336"/>
                    <a:pt x="422756" y="775336"/>
                    <a:pt x="439016" y="742950"/>
                  </a:cubicBezTo>
                  <a:cubicBezTo>
                    <a:pt x="439016" y="742950"/>
                    <a:pt x="439016" y="742950"/>
                    <a:pt x="390236" y="759143"/>
                  </a:cubicBezTo>
                  <a:cubicBezTo>
                    <a:pt x="390236" y="759143"/>
                    <a:pt x="390236" y="759143"/>
                    <a:pt x="422756" y="726758"/>
                  </a:cubicBezTo>
                  <a:cubicBezTo>
                    <a:pt x="422756" y="726758"/>
                    <a:pt x="422756" y="726758"/>
                    <a:pt x="373976" y="759143"/>
                  </a:cubicBezTo>
                  <a:cubicBezTo>
                    <a:pt x="373976" y="759143"/>
                    <a:pt x="373976" y="759143"/>
                    <a:pt x="390236" y="710565"/>
                  </a:cubicBezTo>
                  <a:cubicBezTo>
                    <a:pt x="390236" y="710565"/>
                    <a:pt x="341457" y="742950"/>
                    <a:pt x="341457" y="742950"/>
                  </a:cubicBezTo>
                  <a:cubicBezTo>
                    <a:pt x="341457" y="742950"/>
                    <a:pt x="341457" y="742950"/>
                    <a:pt x="355176" y="722457"/>
                  </a:cubicBezTo>
                  <a:lnTo>
                    <a:pt x="372290" y="696892"/>
                  </a:lnTo>
                  <a:lnTo>
                    <a:pt x="363067" y="706115"/>
                  </a:lnTo>
                  <a:cubicBezTo>
                    <a:pt x="360016" y="709166"/>
                    <a:pt x="357982" y="711200"/>
                    <a:pt x="357982" y="711200"/>
                  </a:cubicBezTo>
                  <a:cubicBezTo>
                    <a:pt x="357982" y="711200"/>
                    <a:pt x="357982" y="711200"/>
                    <a:pt x="360016" y="707132"/>
                  </a:cubicBezTo>
                  <a:lnTo>
                    <a:pt x="361877" y="703410"/>
                  </a:lnTo>
                  <a:lnTo>
                    <a:pt x="341457" y="718662"/>
                  </a:lnTo>
                  <a:cubicBezTo>
                    <a:pt x="325197" y="730806"/>
                    <a:pt x="308937" y="742950"/>
                    <a:pt x="308937" y="742950"/>
                  </a:cubicBezTo>
                  <a:cubicBezTo>
                    <a:pt x="308937" y="742950"/>
                    <a:pt x="308937" y="742950"/>
                    <a:pt x="329516" y="715626"/>
                  </a:cubicBezTo>
                  <a:lnTo>
                    <a:pt x="340321" y="701278"/>
                  </a:lnTo>
                  <a:lnTo>
                    <a:pt x="325438" y="711200"/>
                  </a:lnTo>
                  <a:cubicBezTo>
                    <a:pt x="325438" y="711200"/>
                    <a:pt x="325438" y="711200"/>
                    <a:pt x="341710" y="694928"/>
                  </a:cubicBezTo>
                  <a:lnTo>
                    <a:pt x="347762" y="691398"/>
                  </a:lnTo>
                  <a:lnTo>
                    <a:pt x="357716" y="678180"/>
                  </a:lnTo>
                  <a:cubicBezTo>
                    <a:pt x="357716" y="678180"/>
                    <a:pt x="276417" y="726758"/>
                    <a:pt x="276417" y="726758"/>
                  </a:cubicBezTo>
                  <a:cubicBezTo>
                    <a:pt x="276417" y="726758"/>
                    <a:pt x="276417" y="726758"/>
                    <a:pt x="325197" y="661988"/>
                  </a:cubicBezTo>
                  <a:cubicBezTo>
                    <a:pt x="325197" y="661988"/>
                    <a:pt x="243897" y="710565"/>
                    <a:pt x="243897" y="710565"/>
                  </a:cubicBezTo>
                  <a:cubicBezTo>
                    <a:pt x="243897" y="710565"/>
                    <a:pt x="243897" y="710565"/>
                    <a:pt x="292677" y="645795"/>
                  </a:cubicBezTo>
                  <a:cubicBezTo>
                    <a:pt x="292677" y="645795"/>
                    <a:pt x="211378" y="710565"/>
                    <a:pt x="211378" y="710565"/>
                  </a:cubicBezTo>
                  <a:cubicBezTo>
                    <a:pt x="211378" y="710565"/>
                    <a:pt x="211378" y="710565"/>
                    <a:pt x="260157" y="629603"/>
                  </a:cubicBezTo>
                  <a:cubicBezTo>
                    <a:pt x="260157" y="629603"/>
                    <a:pt x="178858" y="694373"/>
                    <a:pt x="178858" y="694373"/>
                  </a:cubicBezTo>
                  <a:cubicBezTo>
                    <a:pt x="178858" y="694373"/>
                    <a:pt x="178858" y="694373"/>
                    <a:pt x="227638" y="629603"/>
                  </a:cubicBezTo>
                  <a:cubicBezTo>
                    <a:pt x="227638" y="629603"/>
                    <a:pt x="162598" y="678180"/>
                    <a:pt x="162598" y="678180"/>
                  </a:cubicBezTo>
                  <a:cubicBezTo>
                    <a:pt x="162598" y="678180"/>
                    <a:pt x="162598" y="678180"/>
                    <a:pt x="176317" y="650855"/>
                  </a:cubicBezTo>
                  <a:lnTo>
                    <a:pt x="194973" y="613699"/>
                  </a:lnTo>
                  <a:lnTo>
                    <a:pt x="194775" y="613666"/>
                  </a:lnTo>
                  <a:lnTo>
                    <a:pt x="184955" y="621000"/>
                  </a:lnTo>
                  <a:cubicBezTo>
                    <a:pt x="166663" y="634663"/>
                    <a:pt x="130079" y="661988"/>
                    <a:pt x="130079" y="661988"/>
                  </a:cubicBezTo>
                  <a:cubicBezTo>
                    <a:pt x="130079" y="661988"/>
                    <a:pt x="130079" y="661988"/>
                    <a:pt x="162598" y="613410"/>
                  </a:cubicBezTo>
                  <a:cubicBezTo>
                    <a:pt x="162598" y="613410"/>
                    <a:pt x="97559" y="645795"/>
                    <a:pt x="97559" y="645795"/>
                  </a:cubicBezTo>
                  <a:cubicBezTo>
                    <a:pt x="97559" y="645795"/>
                    <a:pt x="97559" y="645795"/>
                    <a:pt x="130079" y="597218"/>
                  </a:cubicBezTo>
                  <a:cubicBezTo>
                    <a:pt x="130079" y="597218"/>
                    <a:pt x="81299" y="629603"/>
                    <a:pt x="81299" y="629603"/>
                  </a:cubicBezTo>
                  <a:cubicBezTo>
                    <a:pt x="81299" y="629603"/>
                    <a:pt x="81299" y="629603"/>
                    <a:pt x="97559" y="597218"/>
                  </a:cubicBezTo>
                  <a:cubicBezTo>
                    <a:pt x="97559" y="597218"/>
                    <a:pt x="48779" y="629603"/>
                    <a:pt x="48779" y="613410"/>
                  </a:cubicBezTo>
                  <a:cubicBezTo>
                    <a:pt x="48779" y="613410"/>
                    <a:pt x="48779" y="613410"/>
                    <a:pt x="81299" y="597218"/>
                  </a:cubicBezTo>
                  <a:cubicBezTo>
                    <a:pt x="81299" y="597218"/>
                    <a:pt x="32519" y="613410"/>
                    <a:pt x="32519" y="597218"/>
                  </a:cubicBezTo>
                  <a:cubicBezTo>
                    <a:pt x="32519" y="597218"/>
                    <a:pt x="32519" y="597218"/>
                    <a:pt x="34552" y="595194"/>
                  </a:cubicBezTo>
                  <a:lnTo>
                    <a:pt x="47793" y="582008"/>
                  </a:lnTo>
                  <a:lnTo>
                    <a:pt x="46262" y="581861"/>
                  </a:lnTo>
                  <a:lnTo>
                    <a:pt x="42682" y="583049"/>
                  </a:lnTo>
                  <a:cubicBezTo>
                    <a:pt x="36584" y="585073"/>
                    <a:pt x="24390" y="589121"/>
                    <a:pt x="0" y="597218"/>
                  </a:cubicBezTo>
                  <a:cubicBezTo>
                    <a:pt x="0" y="597218"/>
                    <a:pt x="0" y="597218"/>
                    <a:pt x="13719" y="590386"/>
                  </a:cubicBezTo>
                  <a:lnTo>
                    <a:pt x="31949" y="581309"/>
                  </a:lnTo>
                  <a:lnTo>
                    <a:pt x="31750" y="581305"/>
                  </a:lnTo>
                  <a:lnTo>
                    <a:pt x="31962" y="581302"/>
                  </a:lnTo>
                  <a:lnTo>
                    <a:pt x="32519" y="581025"/>
                  </a:lnTo>
                  <a:lnTo>
                    <a:pt x="41351" y="581173"/>
                  </a:lnTo>
                  <a:lnTo>
                    <a:pt x="48634" y="581073"/>
                  </a:lnTo>
                  <a:lnTo>
                    <a:pt x="48779" y="581025"/>
                  </a:lnTo>
                  <a:lnTo>
                    <a:pt x="48732" y="581072"/>
                  </a:lnTo>
                  <a:lnTo>
                    <a:pt x="123533" y="580043"/>
                  </a:lnTo>
                  <a:cubicBezTo>
                    <a:pt x="209723" y="588373"/>
                    <a:pt x="279896" y="621693"/>
                    <a:pt x="340915" y="645926"/>
                  </a:cubicBezTo>
                  <a:lnTo>
                    <a:pt x="381758" y="671567"/>
                  </a:lnTo>
                  <a:lnTo>
                    <a:pt x="387474" y="668232"/>
                  </a:lnTo>
                  <a:lnTo>
                    <a:pt x="400031" y="662701"/>
                  </a:lnTo>
                  <a:lnTo>
                    <a:pt x="429993" y="646054"/>
                  </a:lnTo>
                  <a:lnTo>
                    <a:pt x="415999" y="646054"/>
                  </a:lnTo>
                  <a:cubicBezTo>
                    <a:pt x="409889" y="646054"/>
                    <a:pt x="405816" y="646054"/>
                    <a:pt x="405816" y="646054"/>
                  </a:cubicBezTo>
                  <a:cubicBezTo>
                    <a:pt x="405816" y="646054"/>
                    <a:pt x="405816" y="646054"/>
                    <a:pt x="470987" y="613716"/>
                  </a:cubicBezTo>
                  <a:cubicBezTo>
                    <a:pt x="470987" y="613716"/>
                    <a:pt x="389523" y="629885"/>
                    <a:pt x="389523" y="629885"/>
                  </a:cubicBezTo>
                  <a:cubicBezTo>
                    <a:pt x="389523" y="629885"/>
                    <a:pt x="389523" y="629885"/>
                    <a:pt x="454694" y="597547"/>
                  </a:cubicBezTo>
                  <a:cubicBezTo>
                    <a:pt x="454694" y="597547"/>
                    <a:pt x="373230" y="597547"/>
                    <a:pt x="356937" y="597547"/>
                  </a:cubicBezTo>
                  <a:cubicBezTo>
                    <a:pt x="356937" y="597547"/>
                    <a:pt x="356937" y="597547"/>
                    <a:pt x="438401" y="565209"/>
                  </a:cubicBezTo>
                  <a:cubicBezTo>
                    <a:pt x="454694" y="585420"/>
                    <a:pt x="468950" y="604621"/>
                    <a:pt x="481170" y="622811"/>
                  </a:cubicBezTo>
                  <a:lnTo>
                    <a:pt x="483411" y="626593"/>
                  </a:lnTo>
                  <a:lnTo>
                    <a:pt x="471311" y="597547"/>
                  </a:lnTo>
                  <a:lnTo>
                    <a:pt x="487664" y="626162"/>
                  </a:lnTo>
                  <a:lnTo>
                    <a:pt x="524371" y="613682"/>
                  </a:lnTo>
                  <a:lnTo>
                    <a:pt x="544480" y="609198"/>
                  </a:lnTo>
                  <a:lnTo>
                    <a:pt x="508060" y="602031"/>
                  </a:lnTo>
                  <a:cubicBezTo>
                    <a:pt x="496193" y="599696"/>
                    <a:pt x="487362" y="597959"/>
                    <a:pt x="487362" y="597959"/>
                  </a:cubicBezTo>
                  <a:cubicBezTo>
                    <a:pt x="487362" y="597959"/>
                    <a:pt x="487362" y="597959"/>
                    <a:pt x="552979" y="597959"/>
                  </a:cubicBezTo>
                  <a:cubicBezTo>
                    <a:pt x="552979" y="597959"/>
                    <a:pt x="470958" y="565680"/>
                    <a:pt x="470958" y="565680"/>
                  </a:cubicBezTo>
                  <a:cubicBezTo>
                    <a:pt x="470958" y="565680"/>
                    <a:pt x="470958" y="565680"/>
                    <a:pt x="552979" y="565680"/>
                  </a:cubicBezTo>
                  <a:lnTo>
                    <a:pt x="564352" y="604767"/>
                  </a:lnTo>
                  <a:lnTo>
                    <a:pt x="569909" y="603527"/>
                  </a:lnTo>
                  <a:lnTo>
                    <a:pt x="569207" y="597831"/>
                  </a:lnTo>
                  <a:lnTo>
                    <a:pt x="570243" y="603453"/>
                  </a:lnTo>
                  <a:lnTo>
                    <a:pt x="588363" y="599412"/>
                  </a:lnTo>
                  <a:lnTo>
                    <a:pt x="601662" y="565151"/>
                  </a:lnTo>
                  <a:lnTo>
                    <a:pt x="629328" y="509592"/>
                  </a:lnTo>
                  <a:lnTo>
                    <a:pt x="622527" y="514085"/>
                  </a:lnTo>
                  <a:cubicBezTo>
                    <a:pt x="619857" y="515849"/>
                    <a:pt x="618332" y="516857"/>
                    <a:pt x="618332" y="516857"/>
                  </a:cubicBezTo>
                  <a:cubicBezTo>
                    <a:pt x="618332" y="516857"/>
                    <a:pt x="618332" y="516857"/>
                    <a:pt x="626468" y="506778"/>
                  </a:cubicBezTo>
                  <a:lnTo>
                    <a:pt x="637589" y="493001"/>
                  </a:lnTo>
                  <a:lnTo>
                    <a:pt x="652003" y="464055"/>
                  </a:lnTo>
                  <a:lnTo>
                    <a:pt x="656864" y="457313"/>
                  </a:lnTo>
                  <a:lnTo>
                    <a:pt x="634603" y="474527"/>
                  </a:lnTo>
                  <a:cubicBezTo>
                    <a:pt x="610196" y="492668"/>
                    <a:pt x="585788" y="508794"/>
                    <a:pt x="585788" y="500731"/>
                  </a:cubicBezTo>
                  <a:cubicBezTo>
                    <a:pt x="585788" y="500731"/>
                    <a:pt x="585788" y="500731"/>
                    <a:pt x="634603" y="420103"/>
                  </a:cubicBezTo>
                  <a:cubicBezTo>
                    <a:pt x="634603" y="420103"/>
                    <a:pt x="579686" y="465456"/>
                    <a:pt x="552227" y="488133"/>
                  </a:cubicBezTo>
                  <a:lnTo>
                    <a:pt x="541278" y="497175"/>
                  </a:lnTo>
                  <a:lnTo>
                    <a:pt x="556022" y="544086"/>
                  </a:lnTo>
                  <a:cubicBezTo>
                    <a:pt x="561093" y="563515"/>
                    <a:pt x="565150" y="581682"/>
                    <a:pt x="569207" y="597831"/>
                  </a:cubicBezTo>
                  <a:cubicBezTo>
                    <a:pt x="561093" y="573608"/>
                    <a:pt x="552979" y="553422"/>
                    <a:pt x="546894" y="533236"/>
                  </a:cubicBezTo>
                  <a:lnTo>
                    <a:pt x="541237" y="497209"/>
                  </a:lnTo>
                  <a:lnTo>
                    <a:pt x="541167" y="497267"/>
                  </a:lnTo>
                  <a:lnTo>
                    <a:pt x="537706" y="500126"/>
                  </a:lnTo>
                  <a:lnTo>
                    <a:pt x="552979" y="565680"/>
                  </a:lnTo>
                  <a:cubicBezTo>
                    <a:pt x="552979" y="565680"/>
                    <a:pt x="470958" y="533400"/>
                    <a:pt x="470958" y="533400"/>
                  </a:cubicBezTo>
                  <a:cubicBezTo>
                    <a:pt x="470958" y="533400"/>
                    <a:pt x="470958" y="533400"/>
                    <a:pt x="536575" y="533400"/>
                  </a:cubicBezTo>
                  <a:cubicBezTo>
                    <a:pt x="536575" y="533400"/>
                    <a:pt x="470958" y="517261"/>
                    <a:pt x="470958" y="517261"/>
                  </a:cubicBezTo>
                  <a:cubicBezTo>
                    <a:pt x="470958" y="517261"/>
                    <a:pt x="470958" y="517261"/>
                    <a:pt x="520171" y="501121"/>
                  </a:cubicBezTo>
                  <a:cubicBezTo>
                    <a:pt x="520171" y="501121"/>
                    <a:pt x="454554" y="484982"/>
                    <a:pt x="454554" y="484982"/>
                  </a:cubicBezTo>
                  <a:cubicBezTo>
                    <a:pt x="454554" y="484982"/>
                    <a:pt x="454554" y="484982"/>
                    <a:pt x="520171" y="484982"/>
                  </a:cubicBezTo>
                  <a:cubicBezTo>
                    <a:pt x="520171" y="484982"/>
                    <a:pt x="454554" y="468842"/>
                    <a:pt x="454554" y="468842"/>
                  </a:cubicBezTo>
                  <a:cubicBezTo>
                    <a:pt x="454554" y="468842"/>
                    <a:pt x="454554" y="468842"/>
                    <a:pt x="460705" y="466824"/>
                  </a:cubicBezTo>
                  <a:lnTo>
                    <a:pt x="474360" y="462346"/>
                  </a:lnTo>
                  <a:lnTo>
                    <a:pt x="475953" y="458401"/>
                  </a:lnTo>
                  <a:lnTo>
                    <a:pt x="481235" y="445313"/>
                  </a:lnTo>
                  <a:lnTo>
                    <a:pt x="479160" y="444633"/>
                  </a:lnTo>
                  <a:cubicBezTo>
                    <a:pt x="466857" y="440598"/>
                    <a:pt x="454554" y="436563"/>
                    <a:pt x="454554" y="436563"/>
                  </a:cubicBezTo>
                  <a:cubicBezTo>
                    <a:pt x="454554" y="436563"/>
                    <a:pt x="454554" y="436563"/>
                    <a:pt x="475315" y="429754"/>
                  </a:cubicBezTo>
                  <a:lnTo>
                    <a:pt x="489377" y="425142"/>
                  </a:lnTo>
                  <a:lnTo>
                    <a:pt x="492741" y="416807"/>
                  </a:lnTo>
                  <a:lnTo>
                    <a:pt x="473819" y="410602"/>
                  </a:lnTo>
                  <a:lnTo>
                    <a:pt x="471885" y="412040"/>
                  </a:lnTo>
                  <a:cubicBezTo>
                    <a:pt x="455613" y="424134"/>
                    <a:pt x="439341" y="436229"/>
                    <a:pt x="439341" y="436229"/>
                  </a:cubicBezTo>
                  <a:cubicBezTo>
                    <a:pt x="439341" y="436229"/>
                    <a:pt x="439341" y="436229"/>
                    <a:pt x="453070" y="415820"/>
                  </a:cubicBezTo>
                  <a:lnTo>
                    <a:pt x="459696" y="405970"/>
                  </a:lnTo>
                  <a:lnTo>
                    <a:pt x="459095" y="405773"/>
                  </a:lnTo>
                  <a:cubicBezTo>
                    <a:pt x="456284" y="404851"/>
                    <a:pt x="454554" y="404284"/>
                    <a:pt x="454554" y="404284"/>
                  </a:cubicBezTo>
                  <a:cubicBezTo>
                    <a:pt x="454554" y="404284"/>
                    <a:pt x="454554" y="404284"/>
                    <a:pt x="458655" y="404284"/>
                  </a:cubicBezTo>
                  <a:lnTo>
                    <a:pt x="460831" y="404284"/>
                  </a:lnTo>
                  <a:lnTo>
                    <a:pt x="466657" y="395623"/>
                  </a:lnTo>
                  <a:lnTo>
                    <a:pt x="459820" y="393830"/>
                  </a:lnTo>
                  <a:lnTo>
                    <a:pt x="439341" y="403977"/>
                  </a:lnTo>
                  <a:cubicBezTo>
                    <a:pt x="423069" y="412040"/>
                    <a:pt x="406797" y="420103"/>
                    <a:pt x="406797" y="420103"/>
                  </a:cubicBezTo>
                  <a:cubicBezTo>
                    <a:pt x="406797" y="420103"/>
                    <a:pt x="406797" y="420103"/>
                    <a:pt x="420527" y="406497"/>
                  </a:cubicBezTo>
                  <a:lnTo>
                    <a:pt x="438858" y="388330"/>
                  </a:lnTo>
                  <a:lnTo>
                    <a:pt x="438155" y="388145"/>
                  </a:lnTo>
                  <a:lnTo>
                    <a:pt x="429171" y="390371"/>
                  </a:lnTo>
                  <a:cubicBezTo>
                    <a:pt x="410865" y="394906"/>
                    <a:pt x="374253" y="403977"/>
                    <a:pt x="374253" y="403977"/>
                  </a:cubicBezTo>
                  <a:cubicBezTo>
                    <a:pt x="374253" y="403977"/>
                    <a:pt x="374253" y="403977"/>
                    <a:pt x="406797" y="371726"/>
                  </a:cubicBezTo>
                  <a:cubicBezTo>
                    <a:pt x="406797" y="371726"/>
                    <a:pt x="357982" y="387851"/>
                    <a:pt x="341710" y="387851"/>
                  </a:cubicBezTo>
                  <a:cubicBezTo>
                    <a:pt x="341710" y="387851"/>
                    <a:pt x="341710" y="387851"/>
                    <a:pt x="355439" y="374245"/>
                  </a:cubicBezTo>
                  <a:lnTo>
                    <a:pt x="372832" y="357009"/>
                  </a:lnTo>
                  <a:lnTo>
                    <a:pt x="370392" y="356876"/>
                  </a:lnTo>
                  <a:lnTo>
                    <a:pt x="368151" y="357616"/>
                  </a:lnTo>
                  <a:cubicBezTo>
                    <a:pt x="362049" y="359632"/>
                    <a:pt x="349846" y="363663"/>
                    <a:pt x="325438" y="371726"/>
                  </a:cubicBezTo>
                  <a:cubicBezTo>
                    <a:pt x="325438" y="371726"/>
                    <a:pt x="325438" y="371726"/>
                    <a:pt x="327472" y="369710"/>
                  </a:cubicBezTo>
                  <a:lnTo>
                    <a:pt x="341467" y="355840"/>
                  </a:lnTo>
                  <a:lnTo>
                    <a:pt x="341313" y="355838"/>
                  </a:lnTo>
                  <a:lnTo>
                    <a:pt x="341471" y="355837"/>
                  </a:lnTo>
                  <a:lnTo>
                    <a:pt x="341710" y="355600"/>
                  </a:lnTo>
                  <a:lnTo>
                    <a:pt x="351015" y="355756"/>
                  </a:lnTo>
                  <a:lnTo>
                    <a:pt x="453555" y="354882"/>
                  </a:lnTo>
                  <a:lnTo>
                    <a:pt x="459538" y="354831"/>
                  </a:lnTo>
                  <a:cubicBezTo>
                    <a:pt x="535304" y="360874"/>
                    <a:pt x="603951" y="379001"/>
                    <a:pt x="659377" y="401157"/>
                  </a:cubicBezTo>
                  <a:lnTo>
                    <a:pt x="687491" y="414832"/>
                  </a:lnTo>
                  <a:lnTo>
                    <a:pt x="729803" y="356143"/>
                  </a:lnTo>
                  <a:lnTo>
                    <a:pt x="770665" y="316190"/>
                  </a:lnTo>
                  <a:lnTo>
                    <a:pt x="746833" y="320133"/>
                  </a:lnTo>
                  <a:cubicBezTo>
                    <a:pt x="737670" y="321649"/>
                    <a:pt x="731562" y="322660"/>
                    <a:pt x="731562" y="322660"/>
                  </a:cubicBezTo>
                  <a:cubicBezTo>
                    <a:pt x="731562" y="322660"/>
                    <a:pt x="731562" y="322660"/>
                    <a:pt x="796718" y="274142"/>
                  </a:cubicBezTo>
                  <a:cubicBezTo>
                    <a:pt x="796718" y="274142"/>
                    <a:pt x="715273" y="290315"/>
                    <a:pt x="715273" y="290315"/>
                  </a:cubicBezTo>
                  <a:cubicBezTo>
                    <a:pt x="715273" y="290315"/>
                    <a:pt x="715273" y="290315"/>
                    <a:pt x="780429" y="257969"/>
                  </a:cubicBezTo>
                  <a:cubicBezTo>
                    <a:pt x="780429" y="257969"/>
                    <a:pt x="698983" y="274142"/>
                    <a:pt x="698983" y="274142"/>
                  </a:cubicBezTo>
                  <a:cubicBezTo>
                    <a:pt x="698983" y="274142"/>
                    <a:pt x="698983" y="274142"/>
                    <a:pt x="747851" y="225624"/>
                  </a:cubicBezTo>
                  <a:cubicBezTo>
                    <a:pt x="747851" y="225624"/>
                    <a:pt x="666405" y="241797"/>
                    <a:pt x="666405" y="241797"/>
                  </a:cubicBezTo>
                  <a:cubicBezTo>
                    <a:pt x="666405" y="241797"/>
                    <a:pt x="666405" y="241797"/>
                    <a:pt x="731562" y="209451"/>
                  </a:cubicBezTo>
                  <a:cubicBezTo>
                    <a:pt x="731562" y="209451"/>
                    <a:pt x="650116" y="209451"/>
                    <a:pt x="650116" y="209451"/>
                  </a:cubicBezTo>
                  <a:cubicBezTo>
                    <a:pt x="650116" y="209451"/>
                    <a:pt x="650116" y="209451"/>
                    <a:pt x="698983" y="177106"/>
                  </a:cubicBezTo>
                  <a:cubicBezTo>
                    <a:pt x="698983" y="177106"/>
                    <a:pt x="650116" y="177106"/>
                    <a:pt x="650116" y="177106"/>
                  </a:cubicBezTo>
                  <a:cubicBezTo>
                    <a:pt x="650116" y="177106"/>
                    <a:pt x="650116" y="177106"/>
                    <a:pt x="682694" y="160933"/>
                  </a:cubicBezTo>
                  <a:cubicBezTo>
                    <a:pt x="682694" y="160933"/>
                    <a:pt x="633827" y="144761"/>
                    <a:pt x="633827" y="144761"/>
                  </a:cubicBezTo>
                  <a:cubicBezTo>
                    <a:pt x="633827" y="144761"/>
                    <a:pt x="633827" y="144761"/>
                    <a:pt x="666405" y="144761"/>
                  </a:cubicBezTo>
                  <a:cubicBezTo>
                    <a:pt x="666405" y="144761"/>
                    <a:pt x="666405" y="144761"/>
                    <a:pt x="617538" y="128588"/>
                  </a:cubicBezTo>
                  <a:cubicBezTo>
                    <a:pt x="617538" y="128588"/>
                    <a:pt x="617538" y="128588"/>
                    <a:pt x="650116" y="128588"/>
                  </a:cubicBezTo>
                  <a:lnTo>
                    <a:pt x="652046" y="129488"/>
                  </a:lnTo>
                  <a:lnTo>
                    <a:pt x="650875" y="128588"/>
                  </a:lnTo>
                  <a:lnTo>
                    <a:pt x="652539" y="129718"/>
                  </a:lnTo>
                  <a:lnTo>
                    <a:pt x="680825" y="142909"/>
                  </a:lnTo>
                  <a:cubicBezTo>
                    <a:pt x="703302" y="156010"/>
                    <a:pt x="729502" y="176360"/>
                    <a:pt x="757706" y="204812"/>
                  </a:cubicBezTo>
                  <a:lnTo>
                    <a:pt x="771496" y="220269"/>
                  </a:lnTo>
                  <a:lnTo>
                    <a:pt x="797152" y="243754"/>
                  </a:lnTo>
                  <a:cubicBezTo>
                    <a:pt x="837784" y="286184"/>
                    <a:pt x="870290" y="330634"/>
                    <a:pt x="894670" y="371043"/>
                  </a:cubicBezTo>
                  <a:cubicBezTo>
                    <a:pt x="878417" y="346797"/>
                    <a:pt x="862164" y="322552"/>
                    <a:pt x="843879" y="300327"/>
                  </a:cubicBezTo>
                  <a:lnTo>
                    <a:pt x="816105" y="274487"/>
                  </a:lnTo>
                  <a:lnTo>
                    <a:pt x="827504" y="290513"/>
                  </a:lnTo>
                  <a:lnTo>
                    <a:pt x="828675" y="290513"/>
                  </a:lnTo>
                  <a:lnTo>
                    <a:pt x="827990" y="291196"/>
                  </a:lnTo>
                  <a:lnTo>
                    <a:pt x="861875" y="338833"/>
                  </a:lnTo>
                  <a:cubicBezTo>
                    <a:pt x="861875" y="338833"/>
                    <a:pt x="854748" y="339843"/>
                    <a:pt x="844059" y="341360"/>
                  </a:cubicBezTo>
                  <a:lnTo>
                    <a:pt x="806153" y="346736"/>
                  </a:lnTo>
                  <a:lnTo>
                    <a:pt x="804840" y="348349"/>
                  </a:lnTo>
                  <a:cubicBezTo>
                    <a:pt x="791148" y="355168"/>
                    <a:pt x="763764" y="355168"/>
                    <a:pt x="763764" y="355168"/>
                  </a:cubicBezTo>
                  <a:cubicBezTo>
                    <a:pt x="763764" y="355168"/>
                    <a:pt x="763764" y="355168"/>
                    <a:pt x="777456" y="361987"/>
                  </a:cubicBezTo>
                  <a:lnTo>
                    <a:pt x="783227" y="364861"/>
                  </a:lnTo>
                  <a:lnTo>
                    <a:pt x="805372" y="357532"/>
                  </a:lnTo>
                  <a:cubicBezTo>
                    <a:pt x="819116" y="352984"/>
                    <a:pt x="837441" y="346919"/>
                    <a:pt x="861875" y="338833"/>
                  </a:cubicBezTo>
                  <a:cubicBezTo>
                    <a:pt x="882236" y="363092"/>
                    <a:pt x="899543" y="386340"/>
                    <a:pt x="914051" y="408325"/>
                  </a:cubicBezTo>
                  <a:lnTo>
                    <a:pt x="915303" y="410515"/>
                  </a:lnTo>
                  <a:lnTo>
                    <a:pt x="894670" y="371043"/>
                  </a:lnTo>
                  <a:cubicBezTo>
                    <a:pt x="906859" y="389227"/>
                    <a:pt x="917526" y="407411"/>
                    <a:pt x="926858" y="425311"/>
                  </a:cubicBezTo>
                  <a:lnTo>
                    <a:pt x="939686" y="453186"/>
                  </a:lnTo>
                  <a:lnTo>
                    <a:pt x="947835" y="467446"/>
                  </a:lnTo>
                  <a:lnTo>
                    <a:pt x="951072" y="466640"/>
                  </a:lnTo>
                  <a:cubicBezTo>
                    <a:pt x="959168" y="464623"/>
                    <a:pt x="975360" y="460590"/>
                    <a:pt x="1007746" y="452524"/>
                  </a:cubicBezTo>
                  <a:cubicBezTo>
                    <a:pt x="1007746" y="452524"/>
                    <a:pt x="942975" y="436392"/>
                    <a:pt x="942975" y="436392"/>
                  </a:cubicBezTo>
                  <a:cubicBezTo>
                    <a:pt x="942975" y="436392"/>
                    <a:pt x="942975" y="436392"/>
                    <a:pt x="1007746" y="420259"/>
                  </a:cubicBezTo>
                  <a:cubicBezTo>
                    <a:pt x="1007746" y="420259"/>
                    <a:pt x="926783" y="404127"/>
                    <a:pt x="926783" y="404127"/>
                  </a:cubicBezTo>
                  <a:cubicBezTo>
                    <a:pt x="926783" y="404127"/>
                    <a:pt x="926783" y="404127"/>
                    <a:pt x="1007746" y="404127"/>
                  </a:cubicBezTo>
                  <a:cubicBezTo>
                    <a:pt x="1007746" y="404127"/>
                    <a:pt x="910590" y="371862"/>
                    <a:pt x="910590" y="371862"/>
                  </a:cubicBezTo>
                  <a:cubicBezTo>
                    <a:pt x="910590" y="371862"/>
                    <a:pt x="910590" y="371862"/>
                    <a:pt x="991553" y="371862"/>
                  </a:cubicBezTo>
                  <a:cubicBezTo>
                    <a:pt x="991553" y="371862"/>
                    <a:pt x="910590" y="339597"/>
                    <a:pt x="910590" y="339597"/>
                  </a:cubicBezTo>
                  <a:cubicBezTo>
                    <a:pt x="910590" y="339597"/>
                    <a:pt x="910590" y="339597"/>
                    <a:pt x="991553" y="323464"/>
                  </a:cubicBezTo>
                  <a:cubicBezTo>
                    <a:pt x="991553" y="323464"/>
                    <a:pt x="894398" y="307332"/>
                    <a:pt x="894398" y="307332"/>
                  </a:cubicBezTo>
                  <a:cubicBezTo>
                    <a:pt x="894398" y="307332"/>
                    <a:pt x="894398" y="307332"/>
                    <a:pt x="991553" y="291200"/>
                  </a:cubicBezTo>
                  <a:cubicBezTo>
                    <a:pt x="991553" y="291200"/>
                    <a:pt x="894398" y="275067"/>
                    <a:pt x="894398" y="275067"/>
                  </a:cubicBezTo>
                  <a:cubicBezTo>
                    <a:pt x="894398" y="275067"/>
                    <a:pt x="894398" y="275067"/>
                    <a:pt x="959168" y="258935"/>
                  </a:cubicBezTo>
                  <a:cubicBezTo>
                    <a:pt x="959168" y="258935"/>
                    <a:pt x="878205" y="242802"/>
                    <a:pt x="878205" y="242802"/>
                  </a:cubicBezTo>
                  <a:cubicBezTo>
                    <a:pt x="878205" y="242802"/>
                    <a:pt x="878205" y="242802"/>
                    <a:pt x="959168" y="226670"/>
                  </a:cubicBezTo>
                  <a:cubicBezTo>
                    <a:pt x="959168" y="226670"/>
                    <a:pt x="878205" y="210537"/>
                    <a:pt x="878205" y="210537"/>
                  </a:cubicBezTo>
                  <a:cubicBezTo>
                    <a:pt x="878205" y="210537"/>
                    <a:pt x="878205" y="210537"/>
                    <a:pt x="942975" y="194405"/>
                  </a:cubicBezTo>
                  <a:cubicBezTo>
                    <a:pt x="942975" y="194405"/>
                    <a:pt x="878205" y="178272"/>
                    <a:pt x="878205" y="178272"/>
                  </a:cubicBezTo>
                  <a:cubicBezTo>
                    <a:pt x="878205" y="178272"/>
                    <a:pt x="878205" y="178272"/>
                    <a:pt x="926783" y="162140"/>
                  </a:cubicBezTo>
                  <a:cubicBezTo>
                    <a:pt x="926783" y="162140"/>
                    <a:pt x="862013" y="146007"/>
                    <a:pt x="862013" y="146007"/>
                  </a:cubicBezTo>
                  <a:cubicBezTo>
                    <a:pt x="862013" y="146007"/>
                    <a:pt x="862013" y="146007"/>
                    <a:pt x="910590" y="146007"/>
                  </a:cubicBezTo>
                  <a:cubicBezTo>
                    <a:pt x="910590" y="146007"/>
                    <a:pt x="862013" y="113743"/>
                    <a:pt x="862013" y="113743"/>
                  </a:cubicBezTo>
                  <a:cubicBezTo>
                    <a:pt x="862013" y="113743"/>
                    <a:pt x="862013" y="113743"/>
                    <a:pt x="894398" y="113743"/>
                  </a:cubicBezTo>
                  <a:cubicBezTo>
                    <a:pt x="894398" y="113743"/>
                    <a:pt x="862013" y="81478"/>
                    <a:pt x="862013" y="81478"/>
                  </a:cubicBezTo>
                  <a:cubicBezTo>
                    <a:pt x="862013" y="81478"/>
                    <a:pt x="862013" y="81478"/>
                    <a:pt x="894398" y="97610"/>
                  </a:cubicBezTo>
                  <a:cubicBezTo>
                    <a:pt x="894398" y="97610"/>
                    <a:pt x="894398" y="97610"/>
                    <a:pt x="862013" y="65345"/>
                  </a:cubicBezTo>
                  <a:cubicBezTo>
                    <a:pt x="862013" y="65345"/>
                    <a:pt x="862013" y="65345"/>
                    <a:pt x="862013" y="49213"/>
                  </a:cubicBezTo>
                  <a:cubicBezTo>
                    <a:pt x="862013" y="49213"/>
                    <a:pt x="862013" y="49213"/>
                    <a:pt x="878205" y="65345"/>
                  </a:cubicBezTo>
                  <a:lnTo>
                    <a:pt x="878880" y="66324"/>
                  </a:lnTo>
                  <a:lnTo>
                    <a:pt x="939972" y="142473"/>
                  </a:lnTo>
                  <a:cubicBezTo>
                    <a:pt x="991326" y="223387"/>
                    <a:pt x="1012786" y="311108"/>
                    <a:pt x="1025050" y="371604"/>
                  </a:cubicBezTo>
                  <a:lnTo>
                    <a:pt x="1025826" y="423806"/>
                  </a:lnTo>
                  <a:lnTo>
                    <a:pt x="1031517" y="404467"/>
                  </a:lnTo>
                  <a:cubicBezTo>
                    <a:pt x="1038858" y="383063"/>
                    <a:pt x="1047503" y="361124"/>
                    <a:pt x="1057673" y="338932"/>
                  </a:cubicBezTo>
                  <a:lnTo>
                    <a:pt x="1088688" y="277405"/>
                  </a:lnTo>
                  <a:lnTo>
                    <a:pt x="1089964" y="274483"/>
                  </a:lnTo>
                  <a:lnTo>
                    <a:pt x="1091020" y="272779"/>
                  </a:lnTo>
                  <a:lnTo>
                    <a:pt x="1098098" y="258738"/>
                  </a:lnTo>
                  <a:cubicBezTo>
                    <a:pt x="1128100" y="201240"/>
                    <a:pt x="1165220" y="137691"/>
                    <a:pt x="1215561" y="80193"/>
                  </a:cubicBezTo>
                  <a:lnTo>
                    <a:pt x="1293402" y="776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ValueShape">
              <a:extLst>
                <a:ext uri="{FF2B5EF4-FFF2-40B4-BE49-F238E27FC236}">
                  <a16:creationId xmlns:a16="http://schemas.microsoft.com/office/drawing/2014/main" id="{9E3279AF-CEC1-4271-A539-0A915A48BE7F}"/>
                </a:ext>
              </a:extLst>
            </p:cNvPr>
            <p:cNvSpPr/>
            <p:nvPr/>
          </p:nvSpPr>
          <p:spPr bwMode="auto">
            <a:xfrm>
              <a:off x="852687" y="4746815"/>
              <a:ext cx="10415270" cy="30092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E6E6E6"/>
                </a:gs>
                <a:gs pos="56000">
                  <a:schemeClr val="accent1">
                    <a:lumMod val="60000"/>
                    <a:lumOff val="40000"/>
                  </a:schemeClr>
                </a:gs>
                <a:gs pos="56100">
                  <a:srgbClr val="E6E6E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ExtraShape1">
              <a:extLst>
                <a:ext uri="{FF2B5EF4-FFF2-40B4-BE49-F238E27FC236}">
                  <a16:creationId xmlns:a16="http://schemas.microsoft.com/office/drawing/2014/main" id="{E87D4DFC-B3A7-4F53-8B75-6B6C6712ADD0}"/>
                </a:ext>
              </a:extLst>
            </p:cNvPr>
            <p:cNvSpPr/>
            <p:nvPr/>
          </p:nvSpPr>
          <p:spPr bwMode="auto">
            <a:xfrm>
              <a:off x="4709292" y="4207788"/>
              <a:ext cx="2903505" cy="831477"/>
            </a:xfrm>
            <a:custGeom>
              <a:avLst/>
              <a:gdLst>
                <a:gd name="T0" fmla="*/ 324 w 335"/>
                <a:gd name="T1" fmla="*/ 2 h 96"/>
                <a:gd name="T2" fmla="*/ 48 w 335"/>
                <a:gd name="T3" fmla="*/ 58 h 96"/>
                <a:gd name="T4" fmla="*/ 21 w 335"/>
                <a:gd name="T5" fmla="*/ 71 h 96"/>
                <a:gd name="T6" fmla="*/ 5 w 335"/>
                <a:gd name="T7" fmla="*/ 85 h 96"/>
                <a:gd name="T8" fmla="*/ 11 w 335"/>
                <a:gd name="T9" fmla="*/ 95 h 96"/>
                <a:gd name="T10" fmla="*/ 286 w 335"/>
                <a:gd name="T11" fmla="*/ 38 h 96"/>
                <a:gd name="T12" fmla="*/ 313 w 335"/>
                <a:gd name="T13" fmla="*/ 25 h 96"/>
                <a:gd name="T14" fmla="*/ 330 w 335"/>
                <a:gd name="T15" fmla="*/ 11 h 96"/>
                <a:gd name="T16" fmla="*/ 324 w 335"/>
                <a:gd name="T17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5" h="96">
                  <a:moveTo>
                    <a:pt x="324" y="2"/>
                  </a:moveTo>
                  <a:cubicBezTo>
                    <a:pt x="48" y="58"/>
                    <a:pt x="48" y="58"/>
                    <a:pt x="48" y="58"/>
                  </a:cubicBezTo>
                  <a:cubicBezTo>
                    <a:pt x="38" y="61"/>
                    <a:pt x="28" y="65"/>
                    <a:pt x="21" y="71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0" y="90"/>
                    <a:pt x="4" y="96"/>
                    <a:pt x="11" y="95"/>
                  </a:cubicBezTo>
                  <a:cubicBezTo>
                    <a:pt x="286" y="38"/>
                    <a:pt x="286" y="38"/>
                    <a:pt x="286" y="38"/>
                  </a:cubicBezTo>
                  <a:cubicBezTo>
                    <a:pt x="297" y="36"/>
                    <a:pt x="306" y="31"/>
                    <a:pt x="313" y="25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35" y="7"/>
                    <a:pt x="331" y="0"/>
                    <a:pt x="324" y="2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ExtraShape2">
              <a:extLst>
                <a:ext uri="{FF2B5EF4-FFF2-40B4-BE49-F238E27FC236}">
                  <a16:creationId xmlns:a16="http://schemas.microsoft.com/office/drawing/2014/main" id="{33D161D5-06BD-4A65-AADC-4E2DE7F71D65}"/>
                </a:ext>
              </a:extLst>
            </p:cNvPr>
            <p:cNvSpPr/>
            <p:nvPr/>
          </p:nvSpPr>
          <p:spPr bwMode="auto">
            <a:xfrm>
              <a:off x="4735931" y="4415181"/>
              <a:ext cx="2703724" cy="624083"/>
            </a:xfrm>
            <a:custGeom>
              <a:avLst/>
              <a:gdLst>
                <a:gd name="T0" fmla="*/ 0 w 312"/>
                <a:gd name="T1" fmla="*/ 66 h 72"/>
                <a:gd name="T2" fmla="*/ 8 w 312"/>
                <a:gd name="T3" fmla="*/ 71 h 72"/>
                <a:gd name="T4" fmla="*/ 283 w 312"/>
                <a:gd name="T5" fmla="*/ 14 h 72"/>
                <a:gd name="T6" fmla="*/ 310 w 312"/>
                <a:gd name="T7" fmla="*/ 1 h 72"/>
                <a:gd name="T8" fmla="*/ 312 w 312"/>
                <a:gd name="T9" fmla="*/ 0 h 72"/>
                <a:gd name="T10" fmla="*/ 299 w 312"/>
                <a:gd name="T11" fmla="*/ 4 h 72"/>
                <a:gd name="T12" fmla="*/ 0 w 312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2">
                  <a:moveTo>
                    <a:pt x="0" y="66"/>
                  </a:moveTo>
                  <a:cubicBezTo>
                    <a:pt x="0" y="69"/>
                    <a:pt x="3" y="72"/>
                    <a:pt x="8" y="71"/>
                  </a:cubicBezTo>
                  <a:cubicBezTo>
                    <a:pt x="283" y="14"/>
                    <a:pt x="283" y="14"/>
                    <a:pt x="283" y="14"/>
                  </a:cubicBezTo>
                  <a:cubicBezTo>
                    <a:pt x="294" y="12"/>
                    <a:pt x="303" y="7"/>
                    <a:pt x="310" y="1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07" y="2"/>
                    <a:pt x="303" y="3"/>
                    <a:pt x="299" y="4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ExtraShape1">
              <a:extLst>
                <a:ext uri="{FF2B5EF4-FFF2-40B4-BE49-F238E27FC236}">
                  <a16:creationId xmlns:a16="http://schemas.microsoft.com/office/drawing/2014/main" id="{6C79EA70-BF22-4879-84E6-B5AE49508BE1}"/>
                </a:ext>
              </a:extLst>
            </p:cNvPr>
            <p:cNvSpPr/>
            <p:nvPr/>
          </p:nvSpPr>
          <p:spPr bwMode="auto">
            <a:xfrm>
              <a:off x="5548391" y="3730210"/>
              <a:ext cx="1172048" cy="1014135"/>
            </a:xfrm>
            <a:custGeom>
              <a:avLst/>
              <a:gdLst>
                <a:gd name="connsiteX0" fmla="*/ 594392 w 977891"/>
                <a:gd name="connsiteY0" fmla="*/ 0 h 846138"/>
                <a:gd name="connsiteX1" fmla="*/ 810909 w 977891"/>
                <a:gd name="connsiteY1" fmla="*/ 231422 h 846138"/>
                <a:gd name="connsiteX2" fmla="*/ 825344 w 977891"/>
                <a:gd name="connsiteY2" fmla="*/ 274814 h 846138"/>
                <a:gd name="connsiteX3" fmla="*/ 835014 w 977891"/>
                <a:gd name="connsiteY3" fmla="*/ 502521 h 846138"/>
                <a:gd name="connsiteX4" fmla="*/ 836583 w 977891"/>
                <a:gd name="connsiteY4" fmla="*/ 539468 h 846138"/>
                <a:gd name="connsiteX5" fmla="*/ 890945 w 977891"/>
                <a:gd name="connsiteY5" fmla="*/ 535820 h 846138"/>
                <a:gd name="connsiteX6" fmla="*/ 977891 w 977891"/>
                <a:gd name="connsiteY6" fmla="*/ 600454 h 846138"/>
                <a:gd name="connsiteX7" fmla="*/ 977891 w 977891"/>
                <a:gd name="connsiteY7" fmla="*/ 614817 h 846138"/>
                <a:gd name="connsiteX8" fmla="*/ 709807 w 977891"/>
                <a:gd name="connsiteY8" fmla="*/ 679451 h 846138"/>
                <a:gd name="connsiteX9" fmla="*/ 695316 w 977891"/>
                <a:gd name="connsiteY9" fmla="*/ 621999 h 846138"/>
                <a:gd name="connsiteX10" fmla="*/ 695425 w 977891"/>
                <a:gd name="connsiteY10" fmla="*/ 621889 h 846138"/>
                <a:gd name="connsiteX11" fmla="*/ 694869 w 977891"/>
                <a:gd name="connsiteY11" fmla="*/ 617766 h 846138"/>
                <a:gd name="connsiteX12" fmla="*/ 659347 w 977891"/>
                <a:gd name="connsiteY12" fmla="*/ 354365 h 846138"/>
                <a:gd name="connsiteX13" fmla="*/ 608826 w 977891"/>
                <a:gd name="connsiteY13" fmla="*/ 282046 h 846138"/>
                <a:gd name="connsiteX14" fmla="*/ 392309 w 977891"/>
                <a:gd name="connsiteY14" fmla="*/ 180798 h 846138"/>
                <a:gd name="connsiteX15" fmla="*/ 385092 w 977891"/>
                <a:gd name="connsiteY15" fmla="*/ 180798 h 846138"/>
                <a:gd name="connsiteX16" fmla="*/ 247964 w 977891"/>
                <a:gd name="connsiteY16" fmla="*/ 383293 h 846138"/>
                <a:gd name="connsiteX17" fmla="*/ 233530 w 977891"/>
                <a:gd name="connsiteY17" fmla="*/ 441148 h 846138"/>
                <a:gd name="connsiteX18" fmla="*/ 257705 w 977891"/>
                <a:gd name="connsiteY18" fmla="*/ 654322 h 846138"/>
                <a:gd name="connsiteX19" fmla="*/ 268660 w 977891"/>
                <a:gd name="connsiteY19" fmla="*/ 750924 h 846138"/>
                <a:gd name="connsiteX20" fmla="*/ 276216 w 977891"/>
                <a:gd name="connsiteY20" fmla="*/ 781195 h 846138"/>
                <a:gd name="connsiteX21" fmla="*/ 9638 w 977891"/>
                <a:gd name="connsiteY21" fmla="*/ 846138 h 846138"/>
                <a:gd name="connsiteX22" fmla="*/ 2434 w 977891"/>
                <a:gd name="connsiteY22" fmla="*/ 831706 h 846138"/>
                <a:gd name="connsiteX23" fmla="*/ 45662 w 977891"/>
                <a:gd name="connsiteY23" fmla="*/ 730684 h 846138"/>
                <a:gd name="connsiteX24" fmla="*/ 105777 w 977891"/>
                <a:gd name="connsiteY24" fmla="*/ 708247 h 846138"/>
                <a:gd name="connsiteX25" fmla="*/ 116127 w 977891"/>
                <a:gd name="connsiteY25" fmla="*/ 707274 h 846138"/>
                <a:gd name="connsiteX26" fmla="*/ 114868 w 977891"/>
                <a:gd name="connsiteY26" fmla="*/ 701598 h 846138"/>
                <a:gd name="connsiteX27" fmla="*/ 60316 w 977891"/>
                <a:gd name="connsiteY27" fmla="*/ 455612 h 846138"/>
                <a:gd name="connsiteX28" fmla="*/ 60316 w 977891"/>
                <a:gd name="connsiteY28" fmla="*/ 412221 h 846138"/>
                <a:gd name="connsiteX29" fmla="*/ 161357 w 977891"/>
                <a:gd name="connsiteY29" fmla="*/ 36160 h 846138"/>
                <a:gd name="connsiteX30" fmla="*/ 594392 w 977891"/>
                <a:gd name="connsiteY30" fmla="*/ 0 h 8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77891" h="846138">
                  <a:moveTo>
                    <a:pt x="594392" y="0"/>
                  </a:moveTo>
                  <a:cubicBezTo>
                    <a:pt x="594392" y="0"/>
                    <a:pt x="594392" y="0"/>
                    <a:pt x="810909" y="231422"/>
                  </a:cubicBezTo>
                  <a:cubicBezTo>
                    <a:pt x="810909" y="245886"/>
                    <a:pt x="818126" y="260350"/>
                    <a:pt x="825344" y="274814"/>
                  </a:cubicBezTo>
                  <a:cubicBezTo>
                    <a:pt x="825344" y="274814"/>
                    <a:pt x="825344" y="274814"/>
                    <a:pt x="835014" y="502521"/>
                  </a:cubicBezTo>
                  <a:lnTo>
                    <a:pt x="836583" y="539468"/>
                  </a:lnTo>
                  <a:lnTo>
                    <a:pt x="890945" y="535820"/>
                  </a:lnTo>
                  <a:cubicBezTo>
                    <a:pt x="941663" y="543001"/>
                    <a:pt x="970646" y="571728"/>
                    <a:pt x="977891" y="600454"/>
                  </a:cubicBezTo>
                  <a:cubicBezTo>
                    <a:pt x="977891" y="607635"/>
                    <a:pt x="977891" y="614817"/>
                    <a:pt x="977891" y="614817"/>
                  </a:cubicBezTo>
                  <a:cubicBezTo>
                    <a:pt x="977891" y="614817"/>
                    <a:pt x="977891" y="614817"/>
                    <a:pt x="709807" y="679451"/>
                  </a:cubicBezTo>
                  <a:cubicBezTo>
                    <a:pt x="709807" y="679451"/>
                    <a:pt x="709807" y="679451"/>
                    <a:pt x="695316" y="621999"/>
                  </a:cubicBezTo>
                  <a:lnTo>
                    <a:pt x="695425" y="621889"/>
                  </a:lnTo>
                  <a:lnTo>
                    <a:pt x="694869" y="617766"/>
                  </a:lnTo>
                  <a:cubicBezTo>
                    <a:pt x="693178" y="605224"/>
                    <a:pt x="686411" y="555052"/>
                    <a:pt x="659347" y="354365"/>
                  </a:cubicBezTo>
                  <a:cubicBezTo>
                    <a:pt x="652130" y="325437"/>
                    <a:pt x="637695" y="296510"/>
                    <a:pt x="608826" y="282046"/>
                  </a:cubicBezTo>
                  <a:cubicBezTo>
                    <a:pt x="543871" y="245886"/>
                    <a:pt x="406744" y="173567"/>
                    <a:pt x="392309" y="180798"/>
                  </a:cubicBezTo>
                  <a:cubicBezTo>
                    <a:pt x="392309" y="180798"/>
                    <a:pt x="392309" y="180798"/>
                    <a:pt x="385092" y="180798"/>
                  </a:cubicBezTo>
                  <a:cubicBezTo>
                    <a:pt x="370657" y="188030"/>
                    <a:pt x="284050" y="318205"/>
                    <a:pt x="247964" y="383293"/>
                  </a:cubicBezTo>
                  <a:cubicBezTo>
                    <a:pt x="233530" y="397757"/>
                    <a:pt x="233530" y="419453"/>
                    <a:pt x="233530" y="441148"/>
                  </a:cubicBezTo>
                  <a:cubicBezTo>
                    <a:pt x="233530" y="441148"/>
                    <a:pt x="233530" y="441148"/>
                    <a:pt x="257705" y="654322"/>
                  </a:cubicBezTo>
                  <a:lnTo>
                    <a:pt x="268660" y="750924"/>
                  </a:lnTo>
                  <a:lnTo>
                    <a:pt x="276216" y="781195"/>
                  </a:lnTo>
                  <a:cubicBezTo>
                    <a:pt x="276216" y="781195"/>
                    <a:pt x="276216" y="781195"/>
                    <a:pt x="9638" y="846138"/>
                  </a:cubicBezTo>
                  <a:cubicBezTo>
                    <a:pt x="2434" y="838922"/>
                    <a:pt x="2434" y="838922"/>
                    <a:pt x="2434" y="831706"/>
                  </a:cubicBezTo>
                  <a:cubicBezTo>
                    <a:pt x="-4771" y="802843"/>
                    <a:pt x="2434" y="759547"/>
                    <a:pt x="45662" y="730684"/>
                  </a:cubicBezTo>
                  <a:cubicBezTo>
                    <a:pt x="65476" y="719860"/>
                    <a:pt x="85739" y="712644"/>
                    <a:pt x="105777" y="708247"/>
                  </a:cubicBezTo>
                  <a:lnTo>
                    <a:pt x="116127" y="707274"/>
                  </a:lnTo>
                  <a:lnTo>
                    <a:pt x="114868" y="701598"/>
                  </a:lnTo>
                  <a:cubicBezTo>
                    <a:pt x="104296" y="653926"/>
                    <a:pt x="87380" y="577652"/>
                    <a:pt x="60316" y="455612"/>
                  </a:cubicBezTo>
                  <a:cubicBezTo>
                    <a:pt x="60316" y="441148"/>
                    <a:pt x="60316" y="426685"/>
                    <a:pt x="60316" y="412221"/>
                  </a:cubicBezTo>
                  <a:cubicBezTo>
                    <a:pt x="60316" y="412221"/>
                    <a:pt x="60316" y="412221"/>
                    <a:pt x="161357" y="36160"/>
                  </a:cubicBezTo>
                  <a:cubicBezTo>
                    <a:pt x="161357" y="36160"/>
                    <a:pt x="161357" y="36160"/>
                    <a:pt x="594392" y="0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ExtraShape2">
              <a:extLst>
                <a:ext uri="{FF2B5EF4-FFF2-40B4-BE49-F238E27FC236}">
                  <a16:creationId xmlns:a16="http://schemas.microsoft.com/office/drawing/2014/main" id="{1A1BF59B-48C0-46C3-8887-DFA487BFEF10}"/>
                </a:ext>
              </a:extLst>
            </p:cNvPr>
            <p:cNvSpPr/>
            <p:nvPr/>
          </p:nvSpPr>
          <p:spPr bwMode="auto">
            <a:xfrm>
              <a:off x="5620681" y="3730212"/>
              <a:ext cx="917098" cy="538462"/>
            </a:xfrm>
            <a:custGeom>
              <a:avLst/>
              <a:gdLst>
                <a:gd name="T0" fmla="*/ 104 w 106"/>
                <a:gd name="T1" fmla="*/ 32 h 62"/>
                <a:gd name="T2" fmla="*/ 74 w 106"/>
                <a:gd name="T3" fmla="*/ 0 h 62"/>
                <a:gd name="T4" fmla="*/ 14 w 106"/>
                <a:gd name="T5" fmla="*/ 5 h 62"/>
                <a:gd name="T6" fmla="*/ 0 w 106"/>
                <a:gd name="T7" fmla="*/ 57 h 62"/>
                <a:gd name="T8" fmla="*/ 0 w 106"/>
                <a:gd name="T9" fmla="*/ 62 h 62"/>
                <a:gd name="T10" fmla="*/ 16 w 106"/>
                <a:gd name="T11" fmla="*/ 59 h 62"/>
                <a:gd name="T12" fmla="*/ 24 w 106"/>
                <a:gd name="T13" fmla="*/ 60 h 62"/>
                <a:gd name="T14" fmla="*/ 26 w 106"/>
                <a:gd name="T15" fmla="*/ 53 h 62"/>
                <a:gd name="T16" fmla="*/ 45 w 106"/>
                <a:gd name="T17" fmla="*/ 25 h 62"/>
                <a:gd name="T18" fmla="*/ 46 w 106"/>
                <a:gd name="T19" fmla="*/ 25 h 62"/>
                <a:gd name="T20" fmla="*/ 76 w 106"/>
                <a:gd name="T21" fmla="*/ 39 h 62"/>
                <a:gd name="T22" fmla="*/ 83 w 106"/>
                <a:gd name="T23" fmla="*/ 49 h 62"/>
                <a:gd name="T24" fmla="*/ 83 w 106"/>
                <a:gd name="T25" fmla="*/ 51 h 62"/>
                <a:gd name="T26" fmla="*/ 106 w 106"/>
                <a:gd name="T27" fmla="*/ 40 h 62"/>
                <a:gd name="T28" fmla="*/ 106 w 106"/>
                <a:gd name="T29" fmla="*/ 38 h 62"/>
                <a:gd name="T30" fmla="*/ 104 w 106"/>
                <a:gd name="T31" fmla="*/ 3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62">
                  <a:moveTo>
                    <a:pt x="104" y="32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60"/>
                    <a:pt x="0" y="62"/>
                  </a:cubicBezTo>
                  <a:cubicBezTo>
                    <a:pt x="5" y="60"/>
                    <a:pt x="11" y="59"/>
                    <a:pt x="16" y="59"/>
                  </a:cubicBezTo>
                  <a:cubicBezTo>
                    <a:pt x="19" y="59"/>
                    <a:pt x="21" y="60"/>
                    <a:pt x="24" y="60"/>
                  </a:cubicBezTo>
                  <a:cubicBezTo>
                    <a:pt x="24" y="57"/>
                    <a:pt x="24" y="55"/>
                    <a:pt x="26" y="53"/>
                  </a:cubicBezTo>
                  <a:cubicBezTo>
                    <a:pt x="31" y="44"/>
                    <a:pt x="43" y="26"/>
                    <a:pt x="45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8" y="24"/>
                    <a:pt x="67" y="34"/>
                    <a:pt x="76" y="39"/>
                  </a:cubicBezTo>
                  <a:cubicBezTo>
                    <a:pt x="80" y="41"/>
                    <a:pt x="82" y="45"/>
                    <a:pt x="83" y="49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90" y="46"/>
                    <a:pt x="98" y="42"/>
                    <a:pt x="106" y="40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5" y="36"/>
                    <a:pt x="104" y="34"/>
                    <a:pt x="104" y="3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ExtraShape3">
              <a:extLst>
                <a:ext uri="{FF2B5EF4-FFF2-40B4-BE49-F238E27FC236}">
                  <a16:creationId xmlns:a16="http://schemas.microsoft.com/office/drawing/2014/main" id="{8C363A36-0B12-4BF4-9B8C-796F8E5FFBBD}"/>
                </a:ext>
              </a:extLst>
            </p:cNvPr>
            <p:cNvSpPr/>
            <p:nvPr/>
          </p:nvSpPr>
          <p:spPr bwMode="auto">
            <a:xfrm>
              <a:off x="5108856" y="2950109"/>
              <a:ext cx="1984506" cy="884752"/>
            </a:xfrm>
            <a:custGeom>
              <a:avLst/>
              <a:gdLst>
                <a:gd name="T0" fmla="*/ 198 w 229"/>
                <a:gd name="T1" fmla="*/ 11 h 102"/>
                <a:gd name="T2" fmla="*/ 164 w 229"/>
                <a:gd name="T3" fmla="*/ 22 h 102"/>
                <a:gd name="T4" fmla="*/ 156 w 229"/>
                <a:gd name="T5" fmla="*/ 23 h 102"/>
                <a:gd name="T6" fmla="*/ 131 w 229"/>
                <a:gd name="T7" fmla="*/ 16 h 102"/>
                <a:gd name="T8" fmla="*/ 114 w 229"/>
                <a:gd name="T9" fmla="*/ 17 h 102"/>
                <a:gd name="T10" fmla="*/ 111 w 229"/>
                <a:gd name="T11" fmla="*/ 14 h 102"/>
                <a:gd name="T12" fmla="*/ 111 w 229"/>
                <a:gd name="T13" fmla="*/ 0 h 102"/>
                <a:gd name="T14" fmla="*/ 92 w 229"/>
                <a:gd name="T15" fmla="*/ 0 h 102"/>
                <a:gd name="T16" fmla="*/ 92 w 229"/>
                <a:gd name="T17" fmla="*/ 16 h 102"/>
                <a:gd name="T18" fmla="*/ 90 w 229"/>
                <a:gd name="T19" fmla="*/ 18 h 102"/>
                <a:gd name="T20" fmla="*/ 75 w 229"/>
                <a:gd name="T21" fmla="*/ 22 h 102"/>
                <a:gd name="T22" fmla="*/ 65 w 229"/>
                <a:gd name="T23" fmla="*/ 31 h 102"/>
                <a:gd name="T24" fmla="*/ 61 w 229"/>
                <a:gd name="T25" fmla="*/ 39 h 102"/>
                <a:gd name="T26" fmla="*/ 51 w 229"/>
                <a:gd name="T27" fmla="*/ 56 h 102"/>
                <a:gd name="T28" fmla="*/ 46 w 229"/>
                <a:gd name="T29" fmla="*/ 59 h 102"/>
                <a:gd name="T30" fmla="*/ 14 w 229"/>
                <a:gd name="T31" fmla="*/ 75 h 102"/>
                <a:gd name="T32" fmla="*/ 3 w 229"/>
                <a:gd name="T33" fmla="*/ 92 h 102"/>
                <a:gd name="T34" fmla="*/ 19 w 229"/>
                <a:gd name="T35" fmla="*/ 98 h 102"/>
                <a:gd name="T36" fmla="*/ 56 w 229"/>
                <a:gd name="T37" fmla="*/ 78 h 102"/>
                <a:gd name="T38" fmla="*/ 72 w 229"/>
                <a:gd name="T39" fmla="*/ 59 h 102"/>
                <a:gd name="T40" fmla="*/ 73 w 229"/>
                <a:gd name="T41" fmla="*/ 59 h 102"/>
                <a:gd name="T42" fmla="*/ 72 w 229"/>
                <a:gd name="T43" fmla="*/ 101 h 102"/>
                <a:gd name="T44" fmla="*/ 135 w 229"/>
                <a:gd name="T45" fmla="*/ 93 h 102"/>
                <a:gd name="T46" fmla="*/ 133 w 229"/>
                <a:gd name="T47" fmla="*/ 50 h 102"/>
                <a:gd name="T48" fmla="*/ 138 w 229"/>
                <a:gd name="T49" fmla="*/ 45 h 102"/>
                <a:gd name="T50" fmla="*/ 160 w 229"/>
                <a:gd name="T51" fmla="*/ 46 h 102"/>
                <a:gd name="T52" fmla="*/ 164 w 229"/>
                <a:gd name="T53" fmla="*/ 45 h 102"/>
                <a:gd name="T54" fmla="*/ 210 w 229"/>
                <a:gd name="T55" fmla="*/ 30 h 102"/>
                <a:gd name="T56" fmla="*/ 221 w 229"/>
                <a:gd name="T57" fmla="*/ 13 h 102"/>
                <a:gd name="T58" fmla="*/ 198 w 229"/>
                <a:gd name="T59" fmla="*/ 1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9" h="102">
                  <a:moveTo>
                    <a:pt x="198" y="11"/>
                  </a:moveTo>
                  <a:cubicBezTo>
                    <a:pt x="164" y="22"/>
                    <a:pt x="164" y="22"/>
                    <a:pt x="164" y="22"/>
                  </a:cubicBezTo>
                  <a:cubicBezTo>
                    <a:pt x="161" y="23"/>
                    <a:pt x="159" y="23"/>
                    <a:pt x="156" y="23"/>
                  </a:cubicBezTo>
                  <a:cubicBezTo>
                    <a:pt x="148" y="23"/>
                    <a:pt x="139" y="18"/>
                    <a:pt x="131" y="16"/>
                  </a:cubicBezTo>
                  <a:cubicBezTo>
                    <a:pt x="128" y="16"/>
                    <a:pt x="118" y="17"/>
                    <a:pt x="114" y="17"/>
                  </a:cubicBezTo>
                  <a:cubicBezTo>
                    <a:pt x="112" y="17"/>
                    <a:pt x="111" y="16"/>
                    <a:pt x="111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17"/>
                    <a:pt x="91" y="18"/>
                    <a:pt x="90" y="18"/>
                  </a:cubicBezTo>
                  <a:cubicBezTo>
                    <a:pt x="85" y="19"/>
                    <a:pt x="80" y="21"/>
                    <a:pt x="75" y="22"/>
                  </a:cubicBezTo>
                  <a:cubicBezTo>
                    <a:pt x="71" y="24"/>
                    <a:pt x="67" y="27"/>
                    <a:pt x="65" y="31"/>
                  </a:cubicBezTo>
                  <a:cubicBezTo>
                    <a:pt x="64" y="33"/>
                    <a:pt x="63" y="35"/>
                    <a:pt x="61" y="39"/>
                  </a:cubicBezTo>
                  <a:cubicBezTo>
                    <a:pt x="57" y="47"/>
                    <a:pt x="56" y="50"/>
                    <a:pt x="51" y="56"/>
                  </a:cubicBezTo>
                  <a:cubicBezTo>
                    <a:pt x="49" y="58"/>
                    <a:pt x="49" y="58"/>
                    <a:pt x="46" y="59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0" y="82"/>
                    <a:pt x="3" y="92"/>
                  </a:cubicBezTo>
                  <a:cubicBezTo>
                    <a:pt x="6" y="102"/>
                    <a:pt x="16" y="99"/>
                    <a:pt x="19" y="9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5"/>
                    <a:pt x="69" y="64"/>
                    <a:pt x="72" y="59"/>
                  </a:cubicBezTo>
                  <a:cubicBezTo>
                    <a:pt x="72" y="58"/>
                    <a:pt x="73" y="58"/>
                    <a:pt x="73" y="59"/>
                  </a:cubicBezTo>
                  <a:cubicBezTo>
                    <a:pt x="73" y="74"/>
                    <a:pt x="72" y="101"/>
                    <a:pt x="72" y="101"/>
                  </a:cubicBezTo>
                  <a:cubicBezTo>
                    <a:pt x="135" y="93"/>
                    <a:pt x="135" y="93"/>
                    <a:pt x="135" y="93"/>
                  </a:cubicBezTo>
                  <a:cubicBezTo>
                    <a:pt x="133" y="50"/>
                    <a:pt x="133" y="50"/>
                    <a:pt x="133" y="50"/>
                  </a:cubicBezTo>
                  <a:cubicBezTo>
                    <a:pt x="133" y="47"/>
                    <a:pt x="135" y="45"/>
                    <a:pt x="138" y="45"/>
                  </a:cubicBezTo>
                  <a:cubicBezTo>
                    <a:pt x="145" y="45"/>
                    <a:pt x="156" y="46"/>
                    <a:pt x="160" y="46"/>
                  </a:cubicBezTo>
                  <a:cubicBezTo>
                    <a:pt x="162" y="45"/>
                    <a:pt x="163" y="45"/>
                    <a:pt x="164" y="45"/>
                  </a:cubicBezTo>
                  <a:cubicBezTo>
                    <a:pt x="210" y="30"/>
                    <a:pt x="210" y="30"/>
                    <a:pt x="210" y="30"/>
                  </a:cubicBezTo>
                  <a:cubicBezTo>
                    <a:pt x="210" y="30"/>
                    <a:pt x="229" y="26"/>
                    <a:pt x="221" y="13"/>
                  </a:cubicBezTo>
                  <a:cubicBezTo>
                    <a:pt x="216" y="5"/>
                    <a:pt x="205" y="9"/>
                    <a:pt x="198" y="11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ExtraShape4">
              <a:extLst>
                <a:ext uri="{FF2B5EF4-FFF2-40B4-BE49-F238E27FC236}">
                  <a16:creationId xmlns:a16="http://schemas.microsoft.com/office/drawing/2014/main" id="{145A6761-C01A-4AC4-80B6-DA68C8F7B7BB}"/>
                </a:ext>
              </a:extLst>
            </p:cNvPr>
            <p:cNvSpPr/>
            <p:nvPr/>
          </p:nvSpPr>
          <p:spPr bwMode="auto">
            <a:xfrm>
              <a:off x="5272488" y="3800611"/>
              <a:ext cx="951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CC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ExtraShape5">
              <a:extLst>
                <a:ext uri="{FF2B5EF4-FFF2-40B4-BE49-F238E27FC236}">
                  <a16:creationId xmlns:a16="http://schemas.microsoft.com/office/drawing/2014/main" id="{B8723FDF-DA0D-4E40-BA3B-DB6C3CDB6613}"/>
                </a:ext>
              </a:extLst>
            </p:cNvPr>
            <p:cNvSpPr/>
            <p:nvPr/>
          </p:nvSpPr>
          <p:spPr bwMode="auto">
            <a:xfrm>
              <a:off x="5264879" y="3800610"/>
              <a:ext cx="7611" cy="761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CC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ExtraShape6">
              <a:extLst>
                <a:ext uri="{FF2B5EF4-FFF2-40B4-BE49-F238E27FC236}">
                  <a16:creationId xmlns:a16="http://schemas.microsoft.com/office/drawing/2014/main" id="{2B7E824F-9D0C-419D-8B21-B78DE2C3C541}"/>
                </a:ext>
              </a:extLst>
            </p:cNvPr>
            <p:cNvSpPr/>
            <p:nvPr/>
          </p:nvSpPr>
          <p:spPr bwMode="auto">
            <a:xfrm>
              <a:off x="5767189" y="2430675"/>
              <a:ext cx="450937" cy="614570"/>
            </a:xfrm>
            <a:custGeom>
              <a:avLst/>
              <a:gdLst>
                <a:gd name="T0" fmla="*/ 28 w 52"/>
                <a:gd name="T1" fmla="*/ 0 h 71"/>
                <a:gd name="T2" fmla="*/ 0 w 52"/>
                <a:gd name="T3" fmla="*/ 35 h 71"/>
                <a:gd name="T4" fmla="*/ 5 w 52"/>
                <a:gd name="T5" fmla="*/ 49 h 71"/>
                <a:gd name="T6" fmla="*/ 26 w 52"/>
                <a:gd name="T7" fmla="*/ 71 h 71"/>
                <a:gd name="T8" fmla="*/ 51 w 52"/>
                <a:gd name="T9" fmla="*/ 36 h 71"/>
                <a:gd name="T10" fmla="*/ 28 w 52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1">
                  <a:moveTo>
                    <a:pt x="28" y="0"/>
                  </a:moveTo>
                  <a:cubicBezTo>
                    <a:pt x="15" y="0"/>
                    <a:pt x="1" y="15"/>
                    <a:pt x="0" y="35"/>
                  </a:cubicBezTo>
                  <a:cubicBezTo>
                    <a:pt x="0" y="40"/>
                    <a:pt x="3" y="45"/>
                    <a:pt x="5" y="49"/>
                  </a:cubicBezTo>
                  <a:cubicBezTo>
                    <a:pt x="8" y="62"/>
                    <a:pt x="17" y="70"/>
                    <a:pt x="26" y="71"/>
                  </a:cubicBezTo>
                  <a:cubicBezTo>
                    <a:pt x="39" y="71"/>
                    <a:pt x="50" y="56"/>
                    <a:pt x="51" y="36"/>
                  </a:cubicBezTo>
                  <a:cubicBezTo>
                    <a:pt x="52" y="17"/>
                    <a:pt x="41" y="1"/>
                    <a:pt x="28" y="0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ExtraShape7">
              <a:extLst>
                <a:ext uri="{FF2B5EF4-FFF2-40B4-BE49-F238E27FC236}">
                  <a16:creationId xmlns:a16="http://schemas.microsoft.com/office/drawing/2014/main" id="{93791B81-15CA-43F6-A29C-6AE5401DBABB}"/>
                </a:ext>
              </a:extLst>
            </p:cNvPr>
            <p:cNvSpPr/>
            <p:nvPr/>
          </p:nvSpPr>
          <p:spPr bwMode="auto">
            <a:xfrm>
              <a:off x="5620688" y="2343150"/>
              <a:ext cx="743952" cy="528948"/>
            </a:xfrm>
            <a:custGeom>
              <a:avLst/>
              <a:gdLst>
                <a:gd name="T0" fmla="*/ 51 w 86"/>
                <a:gd name="T1" fmla="*/ 11 h 61"/>
                <a:gd name="T2" fmla="*/ 23 w 86"/>
                <a:gd name="T3" fmla="*/ 18 h 61"/>
                <a:gd name="T4" fmla="*/ 20 w 86"/>
                <a:gd name="T5" fmla="*/ 61 h 61"/>
                <a:gd name="T6" fmla="*/ 23 w 86"/>
                <a:gd name="T7" fmla="*/ 58 h 61"/>
                <a:gd name="T8" fmla="*/ 24 w 86"/>
                <a:gd name="T9" fmla="*/ 47 h 61"/>
                <a:gd name="T10" fmla="*/ 28 w 86"/>
                <a:gd name="T11" fmla="*/ 50 h 61"/>
                <a:gd name="T12" fmla="*/ 33 w 86"/>
                <a:gd name="T13" fmla="*/ 36 h 61"/>
                <a:gd name="T14" fmla="*/ 75 w 86"/>
                <a:gd name="T15" fmla="*/ 12 h 61"/>
                <a:gd name="T16" fmla="*/ 51 w 86"/>
                <a:gd name="T17" fmla="*/ 1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1">
                  <a:moveTo>
                    <a:pt x="51" y="11"/>
                  </a:moveTo>
                  <a:cubicBezTo>
                    <a:pt x="31" y="0"/>
                    <a:pt x="23" y="18"/>
                    <a:pt x="23" y="18"/>
                  </a:cubicBezTo>
                  <a:cubicBezTo>
                    <a:pt x="0" y="26"/>
                    <a:pt x="20" y="61"/>
                    <a:pt x="20" y="61"/>
                  </a:cubicBezTo>
                  <a:cubicBezTo>
                    <a:pt x="21" y="60"/>
                    <a:pt x="22" y="60"/>
                    <a:pt x="23" y="58"/>
                  </a:cubicBezTo>
                  <a:cubicBezTo>
                    <a:pt x="18" y="56"/>
                    <a:pt x="17" y="47"/>
                    <a:pt x="24" y="47"/>
                  </a:cubicBezTo>
                  <a:cubicBezTo>
                    <a:pt x="25" y="47"/>
                    <a:pt x="27" y="48"/>
                    <a:pt x="28" y="50"/>
                  </a:cubicBezTo>
                  <a:cubicBezTo>
                    <a:pt x="30" y="44"/>
                    <a:pt x="33" y="36"/>
                    <a:pt x="33" y="36"/>
                  </a:cubicBezTo>
                  <a:cubicBezTo>
                    <a:pt x="86" y="54"/>
                    <a:pt x="75" y="12"/>
                    <a:pt x="75" y="12"/>
                  </a:cubicBezTo>
                  <a:cubicBezTo>
                    <a:pt x="66" y="15"/>
                    <a:pt x="61" y="16"/>
                    <a:pt x="51" y="11"/>
                  </a:cubicBezTo>
                  <a:close/>
                </a:path>
              </a:pathLst>
            </a:custGeom>
            <a:solidFill>
              <a:srgbClr val="2D3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ValueText">
              <a:extLst>
                <a:ext uri="{FF2B5EF4-FFF2-40B4-BE49-F238E27FC236}">
                  <a16:creationId xmlns:a16="http://schemas.microsoft.com/office/drawing/2014/main" id="{785A095E-5B09-4751-ADBD-ADB0DC76E77C}"/>
                </a:ext>
              </a:extLst>
            </p:cNvPr>
            <p:cNvSpPr txBox="1"/>
            <p:nvPr/>
          </p:nvSpPr>
          <p:spPr>
            <a:xfrm>
              <a:off x="3370143" y="2807755"/>
              <a:ext cx="1428069" cy="10710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7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95%</a:t>
              </a:r>
              <a:endParaRPr lang="en-US" sz="700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CustomText">
              <a:extLst>
                <a:ext uri="{FF2B5EF4-FFF2-40B4-BE49-F238E27FC236}">
                  <a16:creationId xmlns:a16="http://schemas.microsoft.com/office/drawing/2014/main" id="{058DD5C2-A00A-4988-B593-D4C728D9CFD9}"/>
                </a:ext>
              </a:extLst>
            </p:cNvPr>
            <p:cNvSpPr/>
            <p:nvPr/>
          </p:nvSpPr>
          <p:spPr>
            <a:xfrm>
              <a:off x="809744" y="4030078"/>
              <a:ext cx="1612232" cy="355419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kern="1200" cap="none" normalizeH="0" baseline="0" noProof="0" dirty="0"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"/>
                  <a:ea typeface="微软雅黑" panose="020B0503020204020204" pitchFamily="34" charset="-122"/>
                  <a:sym typeface=""/>
                </a:rPr>
                <a:t>品类结构准确度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CustomText1">
              <a:extLst>
                <a:ext uri="{FF2B5EF4-FFF2-40B4-BE49-F238E27FC236}">
                  <a16:creationId xmlns:a16="http://schemas.microsoft.com/office/drawing/2014/main" id="{137F174A-9ADB-49B9-B8B4-546EA49143F8}"/>
                </a:ext>
              </a:extLst>
            </p:cNvPr>
            <p:cNvSpPr/>
            <p:nvPr/>
          </p:nvSpPr>
          <p:spPr>
            <a:xfrm>
              <a:off x="809743" y="4309823"/>
              <a:ext cx="1612232" cy="26477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2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= 1-</a:t>
              </a:r>
              <a:r>
                <a:rPr lang="zh-CN" altLang="en-US" sz="12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平均方差</a:t>
              </a:r>
              <a:endParaRPr lang="en-US" altLang="zh-CN" sz="12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  <a:p>
              <a:pPr marL="0" marR="0" lvl="0" indent="0" defTabSz="914400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200" u="none" kern="1200" cap="none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CustomText1">
              <a:extLst>
                <a:ext uri="{FF2B5EF4-FFF2-40B4-BE49-F238E27FC236}">
                  <a16:creationId xmlns:a16="http://schemas.microsoft.com/office/drawing/2014/main" id="{39439269-E08F-4836-AB94-AC20A224E2E7}"/>
                </a:ext>
              </a:extLst>
            </p:cNvPr>
            <p:cNvSpPr/>
            <p:nvPr/>
          </p:nvSpPr>
          <p:spPr>
            <a:xfrm>
              <a:off x="2421976" y="4137942"/>
              <a:ext cx="2558674" cy="363260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p"/>
                <a:defRPr/>
              </a:pPr>
              <a:r>
                <a:rPr lang="zh-CN" altLang="en-US" sz="10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计算每个品类预测结构与真实结构的方差</a:t>
              </a:r>
              <a:endParaRPr lang="en-US" altLang="zh-CN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p"/>
                <a:defRPr/>
              </a:pPr>
              <a:r>
                <a:rPr lang="zh-CN" altLang="en-US" sz="10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计算所有品类的平均方差</a:t>
              </a:r>
              <a:endParaRPr lang="en-US" altLang="zh-CN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ExtraShape1">
              <a:extLst>
                <a:ext uri="{FF2B5EF4-FFF2-40B4-BE49-F238E27FC236}">
                  <a16:creationId xmlns:a16="http://schemas.microsoft.com/office/drawing/2014/main" id="{6784FA7D-347A-4FBF-84DC-1DA25D169B7A}"/>
                </a:ext>
              </a:extLst>
            </p:cNvPr>
            <p:cNvSpPr/>
            <p:nvPr/>
          </p:nvSpPr>
          <p:spPr bwMode="auto">
            <a:xfrm>
              <a:off x="11119367" y="3985252"/>
              <a:ext cx="262890" cy="1062490"/>
            </a:xfrm>
            <a:custGeom>
              <a:avLst/>
              <a:gdLst>
                <a:gd name="connsiteX0" fmla="*/ 97155 w 194310"/>
                <a:gd name="connsiteY0" fmla="*/ 0 h 785319"/>
                <a:gd name="connsiteX1" fmla="*/ 194310 w 194310"/>
                <a:gd name="connsiteY1" fmla="*/ 97155 h 785319"/>
                <a:gd name="connsiteX2" fmla="*/ 134972 w 194310"/>
                <a:gd name="connsiteY2" fmla="*/ 186675 h 785319"/>
                <a:gd name="connsiteX3" fmla="*/ 120015 w 194310"/>
                <a:gd name="connsiteY3" fmla="*/ 189695 h 785319"/>
                <a:gd name="connsiteX4" fmla="*/ 120015 w 194310"/>
                <a:gd name="connsiteY4" fmla="*/ 785319 h 785319"/>
                <a:gd name="connsiteX5" fmla="*/ 74296 w 194310"/>
                <a:gd name="connsiteY5" fmla="*/ 785319 h 785319"/>
                <a:gd name="connsiteX6" fmla="*/ 74296 w 194310"/>
                <a:gd name="connsiteY6" fmla="*/ 189695 h 785319"/>
                <a:gd name="connsiteX7" fmla="*/ 59338 w 194310"/>
                <a:gd name="connsiteY7" fmla="*/ 186675 h 785319"/>
                <a:gd name="connsiteX8" fmla="*/ 0 w 194310"/>
                <a:gd name="connsiteY8" fmla="*/ 97155 h 785319"/>
                <a:gd name="connsiteX9" fmla="*/ 97155 w 194310"/>
                <a:gd name="connsiteY9" fmla="*/ 0 h 78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310" h="785319">
                  <a:moveTo>
                    <a:pt x="97155" y="0"/>
                  </a:moveTo>
                  <a:cubicBezTo>
                    <a:pt x="150812" y="0"/>
                    <a:pt x="194310" y="43498"/>
                    <a:pt x="194310" y="97155"/>
                  </a:cubicBezTo>
                  <a:cubicBezTo>
                    <a:pt x="194310" y="137398"/>
                    <a:pt x="169843" y="171926"/>
                    <a:pt x="134972" y="186675"/>
                  </a:cubicBezTo>
                  <a:lnTo>
                    <a:pt x="120015" y="189695"/>
                  </a:lnTo>
                  <a:lnTo>
                    <a:pt x="120015" y="785319"/>
                  </a:lnTo>
                  <a:lnTo>
                    <a:pt x="74296" y="785319"/>
                  </a:lnTo>
                  <a:lnTo>
                    <a:pt x="74296" y="189695"/>
                  </a:lnTo>
                  <a:lnTo>
                    <a:pt x="59338" y="186675"/>
                  </a:lnTo>
                  <a:cubicBezTo>
                    <a:pt x="24468" y="171926"/>
                    <a:pt x="0" y="137398"/>
                    <a:pt x="0" y="97155"/>
                  </a:cubicBezTo>
                  <a:cubicBezTo>
                    <a:pt x="0" y="43498"/>
                    <a:pt x="43498" y="0"/>
                    <a:pt x="97155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cxnSp>
          <p:nvCxnSpPr>
            <p:cNvPr id="26" name="ExtraShape2">
              <a:extLst>
                <a:ext uri="{FF2B5EF4-FFF2-40B4-BE49-F238E27FC236}">
                  <a16:creationId xmlns:a16="http://schemas.microsoft.com/office/drawing/2014/main" id="{FBD0827E-AAAE-4F09-B864-6B2656C2E0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21976" y="4065270"/>
              <a:ext cx="2558674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标题 5">
            <a:extLst>
              <a:ext uri="{FF2B5EF4-FFF2-40B4-BE49-F238E27FC236}">
                <a16:creationId xmlns:a16="http://schemas.microsoft.com/office/drawing/2014/main" id="{D8664149-F7E4-41FE-BAF1-F24544EE4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整体结构准确率</a:t>
            </a:r>
          </a:p>
        </p:txBody>
      </p:sp>
      <p:sp>
        <p:nvSpPr>
          <p:cNvPr id="27" name="ValueText">
            <a:extLst>
              <a:ext uri="{FF2B5EF4-FFF2-40B4-BE49-F238E27FC236}">
                <a16:creationId xmlns:a16="http://schemas.microsoft.com/office/drawing/2014/main" id="{EFB5A395-6ED7-49BA-879F-7D897C88C9A9}"/>
              </a:ext>
            </a:extLst>
          </p:cNvPr>
          <p:cNvSpPr txBox="1"/>
          <p:nvPr/>
        </p:nvSpPr>
        <p:spPr>
          <a:xfrm>
            <a:off x="8986061" y="2688104"/>
            <a:ext cx="2275475" cy="1312968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</a:t>
            </a:r>
            <a:r>
              <a:rPr lang="zh-CN" altLang="en-US" sz="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Wingdings" panose="05000000000000000000" pitchFamily="2" charset="2"/>
              </a:rPr>
              <a:t></a:t>
            </a:r>
            <a:r>
              <a:rPr lang="en-US" altLang="zh-CN" sz="3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3%</a:t>
            </a:r>
            <a:endParaRPr lang="en-US" sz="300" b="1" dirty="0">
              <a:solidFill>
                <a:schemeClr val="accent1">
                  <a:lumMod val="60000"/>
                  <a:lumOff val="40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cxnSp>
        <p:nvCxnSpPr>
          <p:cNvPr id="28" name="ExtraShape2">
            <a:extLst>
              <a:ext uri="{FF2B5EF4-FFF2-40B4-BE49-F238E27FC236}">
                <a16:creationId xmlns:a16="http://schemas.microsoft.com/office/drawing/2014/main" id="{A8E3890C-291A-4309-BDB6-F7A29976BD70}"/>
              </a:ext>
            </a:extLst>
          </p:cNvPr>
          <p:cNvCxnSpPr>
            <a:cxnSpLocks/>
          </p:cNvCxnSpPr>
          <p:nvPr/>
        </p:nvCxnSpPr>
        <p:spPr>
          <a:xfrm flipH="1">
            <a:off x="8610599" y="4287507"/>
            <a:ext cx="2650938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ustomText">
            <a:extLst>
              <a:ext uri="{FF2B5EF4-FFF2-40B4-BE49-F238E27FC236}">
                <a16:creationId xmlns:a16="http://schemas.microsoft.com/office/drawing/2014/main" id="{10F424E1-D117-45F3-916E-DF802837AD8C}"/>
              </a:ext>
            </a:extLst>
          </p:cNvPr>
          <p:cNvSpPr/>
          <p:nvPr/>
        </p:nvSpPr>
        <p:spPr>
          <a:xfrm>
            <a:off x="8445090" y="4317191"/>
            <a:ext cx="1670368" cy="355419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 fontScale="62500" lnSpcReduction="20000"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2000" b="1" kern="1200" cap="none" normalizeH="0" baseline="0" noProof="0" dirty="0"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rPr>
              <a:t>结构误差率</a:t>
            </a:r>
            <a:endParaRPr kumimoji="0" lang="en-US" altLang="zh-CN" sz="2000" b="1" kern="1200" cap="none" normalizeH="0" baseline="0" noProof="0" dirty="0"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"/>
              <a:ea typeface="微软雅黑" panose="020B0503020204020204" pitchFamily="34" charset="-122"/>
              <a:sym typeface="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endParaRPr kumimoji="0" lang="en-US" altLang="zh-CN" sz="2000" b="1" kern="1200" cap="none" normalizeH="0" baseline="0" noProof="0" dirty="0"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30" name="CustomText1">
            <a:extLst>
              <a:ext uri="{FF2B5EF4-FFF2-40B4-BE49-F238E27FC236}">
                <a16:creationId xmlns:a16="http://schemas.microsoft.com/office/drawing/2014/main" id="{530860BE-B227-4AC6-94CF-BEB5A74A20E3}"/>
              </a:ext>
            </a:extLst>
          </p:cNvPr>
          <p:cNvSpPr/>
          <p:nvPr/>
        </p:nvSpPr>
        <p:spPr>
          <a:xfrm>
            <a:off x="8463214" y="4520081"/>
            <a:ext cx="2650938" cy="36326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计算品类预测结构与真实结构的平均差值</a:t>
            </a:r>
            <a:endParaRPr lang="en-US" altLang="zh-CN" sz="1000" dirty="0">
              <a:solidFill>
                <a:schemeClr val="tx2">
                  <a:lumMod val="75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771799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效果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中男</a:t>
            </a:r>
            <a: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品类计算效果</a:t>
            </a:r>
            <a:endParaRPr lang="en-US" altLang="zh-CN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模型中男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品类计算效果</a:t>
            </a:r>
            <a:endParaRPr lang="en-US" altLang="zh-CN" dirty="0"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endParaRPr lang="zh-CN" altLang="en-US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3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781415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夏品类结构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8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9B1FD7F-51DA-4A71-83CD-2550C7A98289}"/>
              </a:ext>
            </a:extLst>
          </p:cNvPr>
          <p:cNvSpPr txBox="1"/>
          <p:nvPr/>
        </p:nvSpPr>
        <p:spPr>
          <a:xfrm>
            <a:off x="347781" y="4928622"/>
            <a:ext cx="11494848" cy="10634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1400" dirty="0">
                <a:latin typeface=""/>
                <a:ea typeface="微软雅黑" panose="020B0503020204020204" pitchFamily="34" charset="-122"/>
                <a:sym typeface=""/>
              </a:rPr>
              <a:t>夏品类预估：</a:t>
            </a:r>
            <a:endParaRPr lang="en-US" altLang="zh-CN" sz="14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 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品类份额变化较大的为男装，主要表现为：男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份额增加，男衬份额减少，牛仔与休闲中裤份额变小，休闲长裤份额变大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 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女装品类份额相对变化较小，主要表现在：休闲中裤份额变小，裙装与牛仔短裤份额增加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      </a:t>
            </a:r>
          </a:p>
        </p:txBody>
      </p:sp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1FDE2779-41D1-43FA-B3B9-3352A398CB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002002"/>
              </p:ext>
            </p:extLst>
          </p:nvPr>
        </p:nvGraphicFramePr>
        <p:xfrm>
          <a:off x="347782" y="1077251"/>
          <a:ext cx="11329868" cy="3313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5EBF3EBD-92A7-4731-B402-C35590535996}"/>
              </a:ext>
            </a:extLst>
          </p:cNvPr>
          <p:cNvSpPr/>
          <p:nvPr/>
        </p:nvSpPr>
        <p:spPr>
          <a:xfrm>
            <a:off x="1465006" y="1582994"/>
            <a:ext cx="1288026" cy="203527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40687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夏结构变化原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9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05FE914-B3C6-4326-9FA7-A6701F7442A2}"/>
              </a:ext>
            </a:extLst>
          </p:cNvPr>
          <p:cNvSpPr txBox="1"/>
          <p:nvPr/>
        </p:nvSpPr>
        <p:spPr>
          <a:xfrm>
            <a:off x="8050452" y="1182231"/>
            <a:ext cx="3470034" cy="194367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1400" dirty="0">
                <a:latin typeface=""/>
                <a:ea typeface="微软雅黑" panose="020B0503020204020204" pitchFamily="34" charset="-122"/>
                <a:sym typeface=""/>
              </a:rPr>
              <a:t>夏品类预估：</a:t>
            </a:r>
            <a:endParaRPr lang="en-US" altLang="zh-CN" sz="14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      男装份额变化主要原因较为分散，不同的品类，面积段，业态，行政级别影响不同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以男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为例：主要受行政级别影响，体现在不同行政级别的男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的份额占比均往右偏移，由此导致了男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份额的整体占比增加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      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ACB942A-FABD-4876-9007-C7643D00D34F}"/>
              </a:ext>
            </a:extLst>
          </p:cNvPr>
          <p:cNvSpPr txBox="1"/>
          <p:nvPr/>
        </p:nvSpPr>
        <p:spPr>
          <a:xfrm>
            <a:off x="8050452" y="3943772"/>
            <a:ext cx="3470035" cy="194367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1400" dirty="0">
                <a:latin typeface=""/>
                <a:ea typeface="微软雅黑" panose="020B0503020204020204" pitchFamily="34" charset="-122"/>
                <a:sym typeface=""/>
              </a:rPr>
              <a:t>夏品类预估：</a:t>
            </a:r>
            <a:endParaRPr lang="en-US" altLang="zh-CN" sz="14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</a:t>
            </a:r>
          </a:p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       女装份额的变化主要原因体现在业态变化上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      以裙装为例，具体原因表现为：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SPM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业态业绩占比逐年增加，且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SPM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中权重份额占比逐渐增大；地铺业态规模与该业态中的裙装占比都在萎缩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      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999E2E5-AEC4-4985-8F70-CEAD33E240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219" y="1182231"/>
            <a:ext cx="7245821" cy="194367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CA73686D-D63B-4BF9-AE31-8D1E71E74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219" y="3871733"/>
            <a:ext cx="7280766" cy="2087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8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C3F7EB-0A8A-4C59-A7AA-264EA0599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重点结论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8453DD-CB1B-4CAF-B2F3-4D131D171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8218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0C4BBC1-A317-4343-A0F6-D7EC197DF18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6750" y="1203024"/>
            <a:ext cx="10852150" cy="5539984"/>
            <a:chOff x="666750" y="1203024"/>
            <a:chExt cx="10852150" cy="5539984"/>
          </a:xfrm>
        </p:grpSpPr>
        <p:sp>
          <p:nvSpPr>
            <p:cNvPr id="6" name="iṥḻiďe">
              <a:extLst>
                <a:ext uri="{FF2B5EF4-FFF2-40B4-BE49-F238E27FC236}">
                  <a16:creationId xmlns:a16="http://schemas.microsoft.com/office/drawing/2014/main" id="{3E5CB9AC-6241-4E9D-93AB-DE7ED8D4F32C}"/>
                </a:ext>
              </a:extLst>
            </p:cNvPr>
            <p:cNvSpPr/>
            <p:nvPr/>
          </p:nvSpPr>
          <p:spPr bwMode="auto">
            <a:xfrm>
              <a:off x="3691301" y="2119033"/>
              <a:ext cx="2168561" cy="2343160"/>
            </a:xfrm>
            <a:custGeom>
              <a:avLst/>
              <a:gdLst>
                <a:gd name="T0" fmla="*/ 144 w 471"/>
                <a:gd name="T1" fmla="*/ 462 h 509"/>
                <a:gd name="T2" fmla="*/ 144 w 471"/>
                <a:gd name="T3" fmla="*/ 407 h 509"/>
                <a:gd name="T4" fmla="*/ 144 w 471"/>
                <a:gd name="T5" fmla="*/ 403 h 509"/>
                <a:gd name="T6" fmla="*/ 227 w 471"/>
                <a:gd name="T7" fmla="*/ 323 h 509"/>
                <a:gd name="T8" fmla="*/ 423 w 471"/>
                <a:gd name="T9" fmla="*/ 323 h 509"/>
                <a:gd name="T10" fmla="*/ 471 w 471"/>
                <a:gd name="T11" fmla="*/ 275 h 509"/>
                <a:gd name="T12" fmla="*/ 471 w 471"/>
                <a:gd name="T13" fmla="*/ 49 h 509"/>
                <a:gd name="T14" fmla="*/ 423 w 471"/>
                <a:gd name="T15" fmla="*/ 1 h 509"/>
                <a:gd name="T16" fmla="*/ 192 w 471"/>
                <a:gd name="T17" fmla="*/ 0 h 509"/>
                <a:gd name="T18" fmla="*/ 144 w 471"/>
                <a:gd name="T19" fmla="*/ 48 h 509"/>
                <a:gd name="T20" fmla="*/ 144 w 471"/>
                <a:gd name="T21" fmla="*/ 275 h 509"/>
                <a:gd name="T22" fmla="*/ 144 w 471"/>
                <a:gd name="T23" fmla="*/ 281 h 509"/>
                <a:gd name="T24" fmla="*/ 89 w 471"/>
                <a:gd name="T25" fmla="*/ 359 h 509"/>
                <a:gd name="T26" fmla="*/ 48 w 471"/>
                <a:gd name="T27" fmla="*/ 359 h 509"/>
                <a:gd name="T28" fmla="*/ 0 w 471"/>
                <a:gd name="T29" fmla="*/ 407 h 509"/>
                <a:gd name="T30" fmla="*/ 0 w 471"/>
                <a:gd name="T31" fmla="*/ 461 h 509"/>
                <a:gd name="T32" fmla="*/ 48 w 471"/>
                <a:gd name="T33" fmla="*/ 509 h 509"/>
                <a:gd name="T34" fmla="*/ 96 w 471"/>
                <a:gd name="T35" fmla="*/ 509 h 509"/>
                <a:gd name="T36" fmla="*/ 144 w 471"/>
                <a:gd name="T37" fmla="*/ 462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1" h="509">
                  <a:moveTo>
                    <a:pt x="144" y="462"/>
                  </a:moveTo>
                  <a:cubicBezTo>
                    <a:pt x="144" y="407"/>
                    <a:pt x="144" y="407"/>
                    <a:pt x="144" y="407"/>
                  </a:cubicBezTo>
                  <a:cubicBezTo>
                    <a:pt x="144" y="406"/>
                    <a:pt x="144" y="405"/>
                    <a:pt x="144" y="403"/>
                  </a:cubicBezTo>
                  <a:cubicBezTo>
                    <a:pt x="143" y="390"/>
                    <a:pt x="148" y="338"/>
                    <a:pt x="227" y="323"/>
                  </a:cubicBezTo>
                  <a:cubicBezTo>
                    <a:pt x="423" y="323"/>
                    <a:pt x="423" y="323"/>
                    <a:pt x="423" y="323"/>
                  </a:cubicBezTo>
                  <a:cubicBezTo>
                    <a:pt x="449" y="323"/>
                    <a:pt x="471" y="302"/>
                    <a:pt x="471" y="275"/>
                  </a:cubicBezTo>
                  <a:cubicBezTo>
                    <a:pt x="471" y="49"/>
                    <a:pt x="471" y="49"/>
                    <a:pt x="471" y="49"/>
                  </a:cubicBezTo>
                  <a:cubicBezTo>
                    <a:pt x="471" y="22"/>
                    <a:pt x="450" y="1"/>
                    <a:pt x="423" y="1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66" y="0"/>
                    <a:pt x="144" y="22"/>
                    <a:pt x="144" y="48"/>
                  </a:cubicBezTo>
                  <a:cubicBezTo>
                    <a:pt x="144" y="275"/>
                    <a:pt x="144" y="275"/>
                    <a:pt x="144" y="275"/>
                  </a:cubicBezTo>
                  <a:cubicBezTo>
                    <a:pt x="144" y="277"/>
                    <a:pt x="144" y="279"/>
                    <a:pt x="144" y="281"/>
                  </a:cubicBezTo>
                  <a:cubicBezTo>
                    <a:pt x="142" y="308"/>
                    <a:pt x="131" y="346"/>
                    <a:pt x="89" y="359"/>
                  </a:cubicBezTo>
                  <a:cubicBezTo>
                    <a:pt x="48" y="359"/>
                    <a:pt x="48" y="359"/>
                    <a:pt x="48" y="359"/>
                  </a:cubicBezTo>
                  <a:cubicBezTo>
                    <a:pt x="21" y="359"/>
                    <a:pt x="0" y="380"/>
                    <a:pt x="0" y="407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88"/>
                    <a:pt x="21" y="509"/>
                    <a:pt x="48" y="509"/>
                  </a:cubicBezTo>
                  <a:cubicBezTo>
                    <a:pt x="96" y="509"/>
                    <a:pt x="96" y="509"/>
                    <a:pt x="96" y="509"/>
                  </a:cubicBezTo>
                  <a:cubicBezTo>
                    <a:pt x="122" y="509"/>
                    <a:pt x="144" y="488"/>
                    <a:pt x="144" y="46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" name="îṩ1íḋè">
              <a:extLst>
                <a:ext uri="{FF2B5EF4-FFF2-40B4-BE49-F238E27FC236}">
                  <a16:creationId xmlns:a16="http://schemas.microsoft.com/office/drawing/2014/main" id="{4A09AF52-1F4D-4F4E-B4E2-624AF8747A10}"/>
                </a:ext>
              </a:extLst>
            </p:cNvPr>
            <p:cNvSpPr/>
            <p:nvPr/>
          </p:nvSpPr>
          <p:spPr bwMode="auto">
            <a:xfrm>
              <a:off x="3849293" y="3909687"/>
              <a:ext cx="309501" cy="384328"/>
            </a:xfrm>
            <a:custGeom>
              <a:avLst/>
              <a:gdLst>
                <a:gd name="T0" fmla="*/ 381 w 400"/>
                <a:gd name="T1" fmla="*/ 124 h 498"/>
                <a:gd name="T2" fmla="*/ 381 w 400"/>
                <a:gd name="T3" fmla="*/ 124 h 498"/>
                <a:gd name="T4" fmla="*/ 231 w 400"/>
                <a:gd name="T5" fmla="*/ 9 h 498"/>
                <a:gd name="T6" fmla="*/ 115 w 400"/>
                <a:gd name="T7" fmla="*/ 151 h 498"/>
                <a:gd name="T8" fmla="*/ 133 w 400"/>
                <a:gd name="T9" fmla="*/ 213 h 498"/>
                <a:gd name="T10" fmla="*/ 9 w 400"/>
                <a:gd name="T11" fmla="*/ 407 h 498"/>
                <a:gd name="T12" fmla="*/ 0 w 400"/>
                <a:gd name="T13" fmla="*/ 434 h 498"/>
                <a:gd name="T14" fmla="*/ 9 w 400"/>
                <a:gd name="T15" fmla="*/ 478 h 498"/>
                <a:gd name="T16" fmla="*/ 27 w 400"/>
                <a:gd name="T17" fmla="*/ 497 h 498"/>
                <a:gd name="T18" fmla="*/ 62 w 400"/>
                <a:gd name="T19" fmla="*/ 487 h 498"/>
                <a:gd name="T20" fmla="*/ 89 w 400"/>
                <a:gd name="T21" fmla="*/ 470 h 498"/>
                <a:gd name="T22" fmla="*/ 142 w 400"/>
                <a:gd name="T23" fmla="*/ 390 h 498"/>
                <a:gd name="T24" fmla="*/ 142 w 400"/>
                <a:gd name="T25" fmla="*/ 390 h 498"/>
                <a:gd name="T26" fmla="*/ 177 w 400"/>
                <a:gd name="T27" fmla="*/ 381 h 498"/>
                <a:gd name="T28" fmla="*/ 231 w 400"/>
                <a:gd name="T29" fmla="*/ 284 h 498"/>
                <a:gd name="T30" fmla="*/ 293 w 400"/>
                <a:gd name="T31" fmla="*/ 284 h 498"/>
                <a:gd name="T32" fmla="*/ 381 w 400"/>
                <a:gd name="T33" fmla="*/ 124 h 498"/>
                <a:gd name="T34" fmla="*/ 319 w 400"/>
                <a:gd name="T35" fmla="*/ 159 h 498"/>
                <a:gd name="T36" fmla="*/ 319 w 400"/>
                <a:gd name="T37" fmla="*/ 159 h 498"/>
                <a:gd name="T38" fmla="*/ 256 w 400"/>
                <a:gd name="T39" fmla="*/ 142 h 498"/>
                <a:gd name="T40" fmla="*/ 221 w 400"/>
                <a:gd name="T41" fmla="*/ 80 h 498"/>
                <a:gd name="T42" fmla="*/ 310 w 400"/>
                <a:gd name="T43" fmla="*/ 71 h 498"/>
                <a:gd name="T44" fmla="*/ 319 w 400"/>
                <a:gd name="T45" fmla="*/ 159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" h="498">
                  <a:moveTo>
                    <a:pt x="381" y="124"/>
                  </a:moveTo>
                  <a:lnTo>
                    <a:pt x="381" y="124"/>
                  </a:lnTo>
                  <a:cubicBezTo>
                    <a:pt x="372" y="44"/>
                    <a:pt x="301" y="0"/>
                    <a:pt x="231" y="9"/>
                  </a:cubicBezTo>
                  <a:cubicBezTo>
                    <a:pt x="159" y="27"/>
                    <a:pt x="106" y="80"/>
                    <a:pt x="115" y="151"/>
                  </a:cubicBezTo>
                  <a:cubicBezTo>
                    <a:pt x="115" y="168"/>
                    <a:pt x="124" y="195"/>
                    <a:pt x="133" y="213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407"/>
                    <a:pt x="0" y="425"/>
                    <a:pt x="0" y="434"/>
                  </a:cubicBezTo>
                  <a:cubicBezTo>
                    <a:pt x="9" y="478"/>
                    <a:pt x="9" y="478"/>
                    <a:pt x="9" y="478"/>
                  </a:cubicBezTo>
                  <a:cubicBezTo>
                    <a:pt x="9" y="487"/>
                    <a:pt x="18" y="497"/>
                    <a:pt x="27" y="497"/>
                  </a:cubicBezTo>
                  <a:cubicBezTo>
                    <a:pt x="62" y="487"/>
                    <a:pt x="62" y="487"/>
                    <a:pt x="62" y="487"/>
                  </a:cubicBezTo>
                  <a:cubicBezTo>
                    <a:pt x="71" y="487"/>
                    <a:pt x="80" y="478"/>
                    <a:pt x="89" y="470"/>
                  </a:cubicBezTo>
                  <a:cubicBezTo>
                    <a:pt x="142" y="390"/>
                    <a:pt x="142" y="390"/>
                    <a:pt x="142" y="390"/>
                  </a:cubicBezTo>
                  <a:lnTo>
                    <a:pt x="142" y="390"/>
                  </a:lnTo>
                  <a:cubicBezTo>
                    <a:pt x="177" y="381"/>
                    <a:pt x="177" y="381"/>
                    <a:pt x="177" y="381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48" y="293"/>
                    <a:pt x="284" y="284"/>
                    <a:pt x="293" y="284"/>
                  </a:cubicBezTo>
                  <a:cubicBezTo>
                    <a:pt x="363" y="275"/>
                    <a:pt x="399" y="195"/>
                    <a:pt x="381" y="124"/>
                  </a:cubicBezTo>
                  <a:close/>
                  <a:moveTo>
                    <a:pt x="319" y="159"/>
                  </a:moveTo>
                  <a:lnTo>
                    <a:pt x="319" y="159"/>
                  </a:lnTo>
                  <a:cubicBezTo>
                    <a:pt x="301" y="187"/>
                    <a:pt x="284" y="168"/>
                    <a:pt x="256" y="142"/>
                  </a:cubicBezTo>
                  <a:cubicBezTo>
                    <a:pt x="231" y="124"/>
                    <a:pt x="203" y="115"/>
                    <a:pt x="221" y="80"/>
                  </a:cubicBezTo>
                  <a:cubicBezTo>
                    <a:pt x="240" y="53"/>
                    <a:pt x="284" y="44"/>
                    <a:pt x="310" y="71"/>
                  </a:cubicBezTo>
                  <a:cubicBezTo>
                    <a:pt x="337" y="89"/>
                    <a:pt x="346" y="133"/>
                    <a:pt x="319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" name="iṧḷïḑe">
              <a:extLst>
                <a:ext uri="{FF2B5EF4-FFF2-40B4-BE49-F238E27FC236}">
                  <a16:creationId xmlns:a16="http://schemas.microsoft.com/office/drawing/2014/main" id="{007E5CA6-3EC5-40C6-9E5F-1951C481A9BE}"/>
                </a:ext>
              </a:extLst>
            </p:cNvPr>
            <p:cNvSpPr/>
            <p:nvPr/>
          </p:nvSpPr>
          <p:spPr bwMode="auto">
            <a:xfrm>
              <a:off x="4626287" y="3849833"/>
              <a:ext cx="2346955" cy="2163501"/>
            </a:xfrm>
            <a:custGeom>
              <a:avLst/>
              <a:gdLst>
                <a:gd name="T0" fmla="*/ 462 w 510"/>
                <a:gd name="T1" fmla="*/ 326 h 470"/>
                <a:gd name="T2" fmla="*/ 407 w 510"/>
                <a:gd name="T3" fmla="*/ 326 h 470"/>
                <a:gd name="T4" fmla="*/ 404 w 510"/>
                <a:gd name="T5" fmla="*/ 327 h 470"/>
                <a:gd name="T6" fmla="*/ 323 w 510"/>
                <a:gd name="T7" fmla="*/ 244 h 470"/>
                <a:gd name="T8" fmla="*/ 323 w 510"/>
                <a:gd name="T9" fmla="*/ 48 h 470"/>
                <a:gd name="T10" fmla="*/ 275 w 510"/>
                <a:gd name="T11" fmla="*/ 0 h 470"/>
                <a:gd name="T12" fmla="*/ 48 w 510"/>
                <a:gd name="T13" fmla="*/ 0 h 470"/>
                <a:gd name="T14" fmla="*/ 0 w 510"/>
                <a:gd name="T15" fmla="*/ 48 h 470"/>
                <a:gd name="T16" fmla="*/ 0 w 510"/>
                <a:gd name="T17" fmla="*/ 278 h 470"/>
                <a:gd name="T18" fmla="*/ 48 w 510"/>
                <a:gd name="T19" fmla="*/ 326 h 470"/>
                <a:gd name="T20" fmla="*/ 275 w 510"/>
                <a:gd name="T21" fmla="*/ 326 h 470"/>
                <a:gd name="T22" fmla="*/ 281 w 510"/>
                <a:gd name="T23" fmla="*/ 326 h 470"/>
                <a:gd name="T24" fmla="*/ 359 w 510"/>
                <a:gd name="T25" fmla="*/ 381 h 470"/>
                <a:gd name="T26" fmla="*/ 359 w 510"/>
                <a:gd name="T27" fmla="*/ 422 h 470"/>
                <a:gd name="T28" fmla="*/ 407 w 510"/>
                <a:gd name="T29" fmla="*/ 470 h 470"/>
                <a:gd name="T30" fmla="*/ 462 w 510"/>
                <a:gd name="T31" fmla="*/ 470 h 470"/>
                <a:gd name="T32" fmla="*/ 510 w 510"/>
                <a:gd name="T33" fmla="*/ 422 h 470"/>
                <a:gd name="T34" fmla="*/ 510 w 510"/>
                <a:gd name="T35" fmla="*/ 374 h 470"/>
                <a:gd name="T36" fmla="*/ 462 w 510"/>
                <a:gd name="T37" fmla="*/ 3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0" h="470">
                  <a:moveTo>
                    <a:pt x="462" y="326"/>
                  </a:moveTo>
                  <a:cubicBezTo>
                    <a:pt x="407" y="326"/>
                    <a:pt x="407" y="326"/>
                    <a:pt x="407" y="326"/>
                  </a:cubicBezTo>
                  <a:cubicBezTo>
                    <a:pt x="406" y="326"/>
                    <a:pt x="405" y="326"/>
                    <a:pt x="404" y="327"/>
                  </a:cubicBezTo>
                  <a:cubicBezTo>
                    <a:pt x="390" y="327"/>
                    <a:pt x="338" y="322"/>
                    <a:pt x="323" y="244"/>
                  </a:cubicBezTo>
                  <a:cubicBezTo>
                    <a:pt x="323" y="48"/>
                    <a:pt x="323" y="48"/>
                    <a:pt x="323" y="48"/>
                  </a:cubicBezTo>
                  <a:cubicBezTo>
                    <a:pt x="323" y="21"/>
                    <a:pt x="302" y="0"/>
                    <a:pt x="27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305"/>
                    <a:pt x="22" y="326"/>
                    <a:pt x="48" y="326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7" y="326"/>
                    <a:pt x="279" y="326"/>
                    <a:pt x="281" y="326"/>
                  </a:cubicBezTo>
                  <a:cubicBezTo>
                    <a:pt x="309" y="328"/>
                    <a:pt x="346" y="339"/>
                    <a:pt x="359" y="381"/>
                  </a:cubicBezTo>
                  <a:cubicBezTo>
                    <a:pt x="359" y="422"/>
                    <a:pt x="359" y="422"/>
                    <a:pt x="359" y="422"/>
                  </a:cubicBezTo>
                  <a:cubicBezTo>
                    <a:pt x="359" y="449"/>
                    <a:pt x="380" y="470"/>
                    <a:pt x="407" y="470"/>
                  </a:cubicBezTo>
                  <a:cubicBezTo>
                    <a:pt x="462" y="470"/>
                    <a:pt x="462" y="470"/>
                    <a:pt x="462" y="470"/>
                  </a:cubicBezTo>
                  <a:cubicBezTo>
                    <a:pt x="488" y="470"/>
                    <a:pt x="510" y="449"/>
                    <a:pt x="510" y="422"/>
                  </a:cubicBezTo>
                  <a:cubicBezTo>
                    <a:pt x="510" y="374"/>
                    <a:pt x="510" y="374"/>
                    <a:pt x="510" y="374"/>
                  </a:cubicBezTo>
                  <a:cubicBezTo>
                    <a:pt x="510" y="348"/>
                    <a:pt x="488" y="326"/>
                    <a:pt x="462" y="3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" name="íslíḑé">
              <a:extLst>
                <a:ext uri="{FF2B5EF4-FFF2-40B4-BE49-F238E27FC236}">
                  <a16:creationId xmlns:a16="http://schemas.microsoft.com/office/drawing/2014/main" id="{F4CAEEC8-80DC-49D1-93B5-9EC7A22D2441}"/>
                </a:ext>
              </a:extLst>
            </p:cNvPr>
            <p:cNvSpPr/>
            <p:nvPr/>
          </p:nvSpPr>
          <p:spPr bwMode="auto">
            <a:xfrm>
              <a:off x="6413150" y="5549984"/>
              <a:ext cx="446454" cy="288419"/>
            </a:xfrm>
            <a:custGeom>
              <a:avLst/>
              <a:gdLst>
                <a:gd name="T0" fmla="*/ 381 w 498"/>
                <a:gd name="T1" fmla="*/ 89 h 320"/>
                <a:gd name="T2" fmla="*/ 381 w 498"/>
                <a:gd name="T3" fmla="*/ 89 h 320"/>
                <a:gd name="T4" fmla="*/ 355 w 498"/>
                <a:gd name="T5" fmla="*/ 89 h 320"/>
                <a:gd name="T6" fmla="*/ 231 w 498"/>
                <a:gd name="T7" fmla="*/ 0 h 320"/>
                <a:gd name="T8" fmla="*/ 98 w 498"/>
                <a:gd name="T9" fmla="*/ 134 h 320"/>
                <a:gd name="T10" fmla="*/ 98 w 498"/>
                <a:gd name="T11" fmla="*/ 150 h 320"/>
                <a:gd name="T12" fmla="*/ 89 w 498"/>
                <a:gd name="T13" fmla="*/ 150 h 320"/>
                <a:gd name="T14" fmla="*/ 0 w 498"/>
                <a:gd name="T15" fmla="*/ 240 h 320"/>
                <a:gd name="T16" fmla="*/ 89 w 498"/>
                <a:gd name="T17" fmla="*/ 319 h 320"/>
                <a:gd name="T18" fmla="*/ 381 w 498"/>
                <a:gd name="T19" fmla="*/ 319 h 320"/>
                <a:gd name="T20" fmla="*/ 497 w 498"/>
                <a:gd name="T21" fmla="*/ 204 h 320"/>
                <a:gd name="T22" fmla="*/ 381 w 498"/>
                <a:gd name="T23" fmla="*/ 89 h 320"/>
                <a:gd name="T24" fmla="*/ 284 w 498"/>
                <a:gd name="T25" fmla="*/ 195 h 320"/>
                <a:gd name="T26" fmla="*/ 284 w 498"/>
                <a:gd name="T27" fmla="*/ 195 h 320"/>
                <a:gd name="T28" fmla="*/ 213 w 498"/>
                <a:gd name="T29" fmla="*/ 275 h 320"/>
                <a:gd name="T30" fmla="*/ 195 w 498"/>
                <a:gd name="T31" fmla="*/ 275 h 320"/>
                <a:gd name="T32" fmla="*/ 195 w 498"/>
                <a:gd name="T33" fmla="*/ 266 h 320"/>
                <a:gd name="T34" fmla="*/ 195 w 498"/>
                <a:gd name="T35" fmla="*/ 257 h 320"/>
                <a:gd name="T36" fmla="*/ 222 w 498"/>
                <a:gd name="T37" fmla="*/ 204 h 320"/>
                <a:gd name="T38" fmla="*/ 204 w 498"/>
                <a:gd name="T39" fmla="*/ 195 h 320"/>
                <a:gd name="T40" fmla="*/ 204 w 498"/>
                <a:gd name="T41" fmla="*/ 195 h 320"/>
                <a:gd name="T42" fmla="*/ 186 w 498"/>
                <a:gd name="T43" fmla="*/ 178 h 320"/>
                <a:gd name="T44" fmla="*/ 195 w 498"/>
                <a:gd name="T45" fmla="*/ 160 h 320"/>
                <a:gd name="T46" fmla="*/ 258 w 498"/>
                <a:gd name="T47" fmla="*/ 89 h 320"/>
                <a:gd name="T48" fmla="*/ 275 w 498"/>
                <a:gd name="T49" fmla="*/ 80 h 320"/>
                <a:gd name="T50" fmla="*/ 284 w 498"/>
                <a:gd name="T51" fmla="*/ 89 h 320"/>
                <a:gd name="T52" fmla="*/ 275 w 498"/>
                <a:gd name="T53" fmla="*/ 106 h 320"/>
                <a:gd name="T54" fmla="*/ 249 w 498"/>
                <a:gd name="T55" fmla="*/ 160 h 320"/>
                <a:gd name="T56" fmla="*/ 275 w 498"/>
                <a:gd name="T57" fmla="*/ 169 h 320"/>
                <a:gd name="T58" fmla="*/ 275 w 498"/>
                <a:gd name="T59" fmla="*/ 169 h 320"/>
                <a:gd name="T60" fmla="*/ 293 w 498"/>
                <a:gd name="T61" fmla="*/ 187 h 320"/>
                <a:gd name="T62" fmla="*/ 284 w 498"/>
                <a:gd name="T63" fmla="*/ 19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98" h="320">
                  <a:moveTo>
                    <a:pt x="381" y="89"/>
                  </a:moveTo>
                  <a:lnTo>
                    <a:pt x="381" y="89"/>
                  </a:lnTo>
                  <a:cubicBezTo>
                    <a:pt x="372" y="89"/>
                    <a:pt x="364" y="89"/>
                    <a:pt x="355" y="89"/>
                  </a:cubicBezTo>
                  <a:cubicBezTo>
                    <a:pt x="337" y="36"/>
                    <a:pt x="293" y="0"/>
                    <a:pt x="231" y="0"/>
                  </a:cubicBezTo>
                  <a:cubicBezTo>
                    <a:pt x="160" y="0"/>
                    <a:pt x="98" y="62"/>
                    <a:pt x="98" y="134"/>
                  </a:cubicBezTo>
                  <a:cubicBezTo>
                    <a:pt x="98" y="134"/>
                    <a:pt x="98" y="142"/>
                    <a:pt x="98" y="150"/>
                  </a:cubicBezTo>
                  <a:cubicBezTo>
                    <a:pt x="98" y="150"/>
                    <a:pt x="98" y="150"/>
                    <a:pt x="89" y="150"/>
                  </a:cubicBezTo>
                  <a:cubicBezTo>
                    <a:pt x="45" y="150"/>
                    <a:pt x="0" y="187"/>
                    <a:pt x="0" y="240"/>
                  </a:cubicBezTo>
                  <a:cubicBezTo>
                    <a:pt x="0" y="284"/>
                    <a:pt x="45" y="319"/>
                    <a:pt x="89" y="319"/>
                  </a:cubicBezTo>
                  <a:cubicBezTo>
                    <a:pt x="381" y="319"/>
                    <a:pt x="381" y="319"/>
                    <a:pt x="381" y="319"/>
                  </a:cubicBezTo>
                  <a:cubicBezTo>
                    <a:pt x="443" y="319"/>
                    <a:pt x="497" y="275"/>
                    <a:pt x="497" y="204"/>
                  </a:cubicBezTo>
                  <a:cubicBezTo>
                    <a:pt x="497" y="142"/>
                    <a:pt x="443" y="89"/>
                    <a:pt x="381" y="89"/>
                  </a:cubicBezTo>
                  <a:close/>
                  <a:moveTo>
                    <a:pt x="284" y="195"/>
                  </a:moveTo>
                  <a:lnTo>
                    <a:pt x="284" y="195"/>
                  </a:lnTo>
                  <a:cubicBezTo>
                    <a:pt x="266" y="213"/>
                    <a:pt x="222" y="266"/>
                    <a:pt x="213" y="275"/>
                  </a:cubicBezTo>
                  <a:cubicBezTo>
                    <a:pt x="213" y="275"/>
                    <a:pt x="204" y="284"/>
                    <a:pt x="195" y="275"/>
                  </a:cubicBezTo>
                  <a:cubicBezTo>
                    <a:pt x="195" y="275"/>
                    <a:pt x="195" y="275"/>
                    <a:pt x="195" y="266"/>
                  </a:cubicBezTo>
                  <a:lnTo>
                    <a:pt x="195" y="257"/>
                  </a:lnTo>
                  <a:cubicBezTo>
                    <a:pt x="222" y="204"/>
                    <a:pt x="222" y="204"/>
                    <a:pt x="222" y="204"/>
                  </a:cubicBezTo>
                  <a:cubicBezTo>
                    <a:pt x="222" y="195"/>
                    <a:pt x="213" y="195"/>
                    <a:pt x="204" y="195"/>
                  </a:cubicBezTo>
                  <a:lnTo>
                    <a:pt x="204" y="195"/>
                  </a:lnTo>
                  <a:cubicBezTo>
                    <a:pt x="195" y="187"/>
                    <a:pt x="186" y="187"/>
                    <a:pt x="186" y="178"/>
                  </a:cubicBezTo>
                  <a:cubicBezTo>
                    <a:pt x="186" y="169"/>
                    <a:pt x="186" y="169"/>
                    <a:pt x="195" y="160"/>
                  </a:cubicBezTo>
                  <a:cubicBezTo>
                    <a:pt x="204" y="142"/>
                    <a:pt x="258" y="89"/>
                    <a:pt x="258" y="89"/>
                  </a:cubicBezTo>
                  <a:cubicBezTo>
                    <a:pt x="266" y="80"/>
                    <a:pt x="266" y="80"/>
                    <a:pt x="275" y="80"/>
                  </a:cubicBezTo>
                  <a:cubicBezTo>
                    <a:pt x="275" y="89"/>
                    <a:pt x="284" y="89"/>
                    <a:pt x="284" y="89"/>
                  </a:cubicBezTo>
                  <a:cubicBezTo>
                    <a:pt x="284" y="97"/>
                    <a:pt x="275" y="97"/>
                    <a:pt x="275" y="106"/>
                  </a:cubicBezTo>
                  <a:cubicBezTo>
                    <a:pt x="249" y="160"/>
                    <a:pt x="249" y="160"/>
                    <a:pt x="249" y="160"/>
                  </a:cubicBezTo>
                  <a:cubicBezTo>
                    <a:pt x="258" y="160"/>
                    <a:pt x="266" y="169"/>
                    <a:pt x="275" y="169"/>
                  </a:cubicBezTo>
                  <a:lnTo>
                    <a:pt x="275" y="169"/>
                  </a:lnTo>
                  <a:cubicBezTo>
                    <a:pt x="284" y="169"/>
                    <a:pt x="293" y="178"/>
                    <a:pt x="293" y="187"/>
                  </a:cubicBezTo>
                  <a:lnTo>
                    <a:pt x="284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" name="išḻîďé">
              <a:extLst>
                <a:ext uri="{FF2B5EF4-FFF2-40B4-BE49-F238E27FC236}">
                  <a16:creationId xmlns:a16="http://schemas.microsoft.com/office/drawing/2014/main" id="{86AE96F3-F441-47AB-942B-BF8EC9F3AEB8}"/>
                </a:ext>
              </a:extLst>
            </p:cNvPr>
            <p:cNvSpPr/>
            <p:nvPr/>
          </p:nvSpPr>
          <p:spPr bwMode="auto">
            <a:xfrm>
              <a:off x="5261419" y="1203024"/>
              <a:ext cx="2343160" cy="2168562"/>
            </a:xfrm>
            <a:custGeom>
              <a:avLst/>
              <a:gdLst>
                <a:gd name="T0" fmla="*/ 48 w 509"/>
                <a:gd name="T1" fmla="*/ 144 h 471"/>
                <a:gd name="T2" fmla="*/ 102 w 509"/>
                <a:gd name="T3" fmla="*/ 144 h 471"/>
                <a:gd name="T4" fmla="*/ 106 w 509"/>
                <a:gd name="T5" fmla="*/ 144 h 471"/>
                <a:gd name="T6" fmla="*/ 186 w 509"/>
                <a:gd name="T7" fmla="*/ 227 h 471"/>
                <a:gd name="T8" fmla="*/ 186 w 509"/>
                <a:gd name="T9" fmla="*/ 423 h 471"/>
                <a:gd name="T10" fmla="*/ 234 w 509"/>
                <a:gd name="T11" fmla="*/ 471 h 471"/>
                <a:gd name="T12" fmla="*/ 461 w 509"/>
                <a:gd name="T13" fmla="*/ 471 h 471"/>
                <a:gd name="T14" fmla="*/ 509 w 509"/>
                <a:gd name="T15" fmla="*/ 423 h 471"/>
                <a:gd name="T16" fmla="*/ 509 w 509"/>
                <a:gd name="T17" fmla="*/ 192 h 471"/>
                <a:gd name="T18" fmla="*/ 461 w 509"/>
                <a:gd name="T19" fmla="*/ 144 h 471"/>
                <a:gd name="T20" fmla="*/ 234 w 509"/>
                <a:gd name="T21" fmla="*/ 144 h 471"/>
                <a:gd name="T22" fmla="*/ 228 w 509"/>
                <a:gd name="T23" fmla="*/ 144 h 471"/>
                <a:gd name="T24" fmla="*/ 151 w 509"/>
                <a:gd name="T25" fmla="*/ 89 h 471"/>
                <a:gd name="T26" fmla="*/ 151 w 509"/>
                <a:gd name="T27" fmla="*/ 48 h 471"/>
                <a:gd name="T28" fmla="*/ 103 w 509"/>
                <a:gd name="T29" fmla="*/ 0 h 471"/>
                <a:gd name="T30" fmla="*/ 48 w 509"/>
                <a:gd name="T31" fmla="*/ 0 h 471"/>
                <a:gd name="T32" fmla="*/ 0 w 509"/>
                <a:gd name="T33" fmla="*/ 48 h 471"/>
                <a:gd name="T34" fmla="*/ 0 w 509"/>
                <a:gd name="T35" fmla="*/ 96 h 471"/>
                <a:gd name="T36" fmla="*/ 48 w 509"/>
                <a:gd name="T37" fmla="*/ 14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9" h="471">
                  <a:moveTo>
                    <a:pt x="48" y="144"/>
                  </a:moveTo>
                  <a:cubicBezTo>
                    <a:pt x="102" y="144"/>
                    <a:pt x="102" y="144"/>
                    <a:pt x="102" y="144"/>
                  </a:cubicBezTo>
                  <a:cubicBezTo>
                    <a:pt x="104" y="144"/>
                    <a:pt x="105" y="144"/>
                    <a:pt x="106" y="144"/>
                  </a:cubicBezTo>
                  <a:cubicBezTo>
                    <a:pt x="120" y="143"/>
                    <a:pt x="171" y="148"/>
                    <a:pt x="186" y="227"/>
                  </a:cubicBezTo>
                  <a:cubicBezTo>
                    <a:pt x="186" y="423"/>
                    <a:pt x="186" y="423"/>
                    <a:pt x="186" y="423"/>
                  </a:cubicBezTo>
                  <a:cubicBezTo>
                    <a:pt x="186" y="449"/>
                    <a:pt x="207" y="471"/>
                    <a:pt x="234" y="471"/>
                  </a:cubicBezTo>
                  <a:cubicBezTo>
                    <a:pt x="461" y="471"/>
                    <a:pt x="461" y="471"/>
                    <a:pt x="461" y="471"/>
                  </a:cubicBezTo>
                  <a:cubicBezTo>
                    <a:pt x="487" y="471"/>
                    <a:pt x="509" y="450"/>
                    <a:pt x="509" y="423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9" y="166"/>
                    <a:pt x="488" y="144"/>
                    <a:pt x="461" y="144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2" y="144"/>
                    <a:pt x="230" y="144"/>
                    <a:pt x="228" y="144"/>
                  </a:cubicBezTo>
                  <a:cubicBezTo>
                    <a:pt x="201" y="142"/>
                    <a:pt x="164" y="131"/>
                    <a:pt x="151" y="89"/>
                  </a:cubicBezTo>
                  <a:cubicBezTo>
                    <a:pt x="151" y="48"/>
                    <a:pt x="151" y="48"/>
                    <a:pt x="151" y="48"/>
                  </a:cubicBezTo>
                  <a:cubicBezTo>
                    <a:pt x="151" y="21"/>
                    <a:pt x="129" y="0"/>
                    <a:pt x="10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22"/>
                    <a:pt x="21" y="144"/>
                    <a:pt x="48" y="1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îṩḻïdê">
              <a:extLst>
                <a:ext uri="{FF2B5EF4-FFF2-40B4-BE49-F238E27FC236}">
                  <a16:creationId xmlns:a16="http://schemas.microsoft.com/office/drawing/2014/main" id="{19441826-1375-4D28-9D93-4801FE2F1B8E}"/>
                </a:ext>
              </a:extLst>
            </p:cNvPr>
            <p:cNvSpPr/>
            <p:nvPr/>
          </p:nvSpPr>
          <p:spPr bwMode="auto">
            <a:xfrm>
              <a:off x="5444631" y="1337780"/>
              <a:ext cx="285947" cy="388320"/>
            </a:xfrm>
            <a:custGeom>
              <a:avLst/>
              <a:gdLst>
                <a:gd name="T0" fmla="*/ 346 w 355"/>
                <a:gd name="T1" fmla="*/ 132 h 487"/>
                <a:gd name="T2" fmla="*/ 346 w 355"/>
                <a:gd name="T3" fmla="*/ 132 h 487"/>
                <a:gd name="T4" fmla="*/ 116 w 355"/>
                <a:gd name="T5" fmla="*/ 17 h 487"/>
                <a:gd name="T6" fmla="*/ 9 w 355"/>
                <a:gd name="T7" fmla="*/ 53 h 487"/>
                <a:gd name="T8" fmla="*/ 0 w 355"/>
                <a:gd name="T9" fmla="*/ 79 h 487"/>
                <a:gd name="T10" fmla="*/ 9 w 355"/>
                <a:gd name="T11" fmla="*/ 345 h 487"/>
                <a:gd name="T12" fmla="*/ 18 w 355"/>
                <a:gd name="T13" fmla="*/ 363 h 487"/>
                <a:gd name="T14" fmla="*/ 222 w 355"/>
                <a:gd name="T15" fmla="*/ 486 h 487"/>
                <a:gd name="T16" fmla="*/ 231 w 355"/>
                <a:gd name="T17" fmla="*/ 486 h 487"/>
                <a:gd name="T18" fmla="*/ 240 w 355"/>
                <a:gd name="T19" fmla="*/ 486 h 487"/>
                <a:gd name="T20" fmla="*/ 248 w 355"/>
                <a:gd name="T21" fmla="*/ 478 h 487"/>
                <a:gd name="T22" fmla="*/ 248 w 355"/>
                <a:gd name="T23" fmla="*/ 203 h 487"/>
                <a:gd name="T24" fmla="*/ 240 w 355"/>
                <a:gd name="T25" fmla="*/ 185 h 487"/>
                <a:gd name="T26" fmla="*/ 44 w 355"/>
                <a:gd name="T27" fmla="*/ 70 h 487"/>
                <a:gd name="T28" fmla="*/ 71 w 355"/>
                <a:gd name="T29" fmla="*/ 53 h 487"/>
                <a:gd name="T30" fmla="*/ 107 w 355"/>
                <a:gd name="T31" fmla="*/ 44 h 487"/>
                <a:gd name="T32" fmla="*/ 301 w 355"/>
                <a:gd name="T33" fmla="*/ 150 h 487"/>
                <a:gd name="T34" fmla="*/ 310 w 355"/>
                <a:gd name="T35" fmla="*/ 159 h 487"/>
                <a:gd name="T36" fmla="*/ 310 w 355"/>
                <a:gd name="T37" fmla="*/ 425 h 487"/>
                <a:gd name="T38" fmla="*/ 328 w 355"/>
                <a:gd name="T39" fmla="*/ 442 h 487"/>
                <a:gd name="T40" fmla="*/ 354 w 355"/>
                <a:gd name="T41" fmla="*/ 425 h 487"/>
                <a:gd name="T42" fmla="*/ 354 w 355"/>
                <a:gd name="T43" fmla="*/ 141 h 487"/>
                <a:gd name="T44" fmla="*/ 346 w 355"/>
                <a:gd name="T45" fmla="*/ 13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5" h="487">
                  <a:moveTo>
                    <a:pt x="346" y="132"/>
                  </a:moveTo>
                  <a:lnTo>
                    <a:pt x="346" y="132"/>
                  </a:lnTo>
                  <a:cubicBezTo>
                    <a:pt x="116" y="17"/>
                    <a:pt x="116" y="17"/>
                    <a:pt x="116" y="17"/>
                  </a:cubicBezTo>
                  <a:cubicBezTo>
                    <a:pt x="89" y="0"/>
                    <a:pt x="27" y="25"/>
                    <a:pt x="9" y="53"/>
                  </a:cubicBezTo>
                  <a:cubicBezTo>
                    <a:pt x="0" y="70"/>
                    <a:pt x="0" y="79"/>
                    <a:pt x="0" y="79"/>
                  </a:cubicBezTo>
                  <a:cubicBezTo>
                    <a:pt x="9" y="345"/>
                    <a:pt x="9" y="345"/>
                    <a:pt x="9" y="345"/>
                  </a:cubicBezTo>
                  <a:cubicBezTo>
                    <a:pt x="9" y="345"/>
                    <a:pt x="18" y="354"/>
                    <a:pt x="18" y="363"/>
                  </a:cubicBezTo>
                  <a:cubicBezTo>
                    <a:pt x="36" y="363"/>
                    <a:pt x="222" y="486"/>
                    <a:pt x="222" y="486"/>
                  </a:cubicBezTo>
                  <a:cubicBezTo>
                    <a:pt x="231" y="486"/>
                    <a:pt x="231" y="486"/>
                    <a:pt x="231" y="486"/>
                  </a:cubicBezTo>
                  <a:cubicBezTo>
                    <a:pt x="240" y="486"/>
                    <a:pt x="240" y="486"/>
                    <a:pt x="240" y="486"/>
                  </a:cubicBezTo>
                  <a:cubicBezTo>
                    <a:pt x="248" y="486"/>
                    <a:pt x="248" y="478"/>
                    <a:pt x="248" y="478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194"/>
                    <a:pt x="248" y="194"/>
                    <a:pt x="240" y="185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53" y="61"/>
                    <a:pt x="71" y="53"/>
                  </a:cubicBezTo>
                  <a:cubicBezTo>
                    <a:pt x="89" y="44"/>
                    <a:pt x="97" y="44"/>
                    <a:pt x="107" y="44"/>
                  </a:cubicBezTo>
                  <a:cubicBezTo>
                    <a:pt x="107" y="44"/>
                    <a:pt x="293" y="150"/>
                    <a:pt x="301" y="150"/>
                  </a:cubicBezTo>
                  <a:cubicBezTo>
                    <a:pt x="310" y="159"/>
                    <a:pt x="310" y="159"/>
                    <a:pt x="310" y="159"/>
                  </a:cubicBezTo>
                  <a:cubicBezTo>
                    <a:pt x="310" y="168"/>
                    <a:pt x="310" y="425"/>
                    <a:pt x="310" y="425"/>
                  </a:cubicBezTo>
                  <a:cubicBezTo>
                    <a:pt x="310" y="433"/>
                    <a:pt x="319" y="442"/>
                    <a:pt x="328" y="442"/>
                  </a:cubicBezTo>
                  <a:cubicBezTo>
                    <a:pt x="337" y="442"/>
                    <a:pt x="354" y="433"/>
                    <a:pt x="354" y="425"/>
                  </a:cubicBezTo>
                  <a:cubicBezTo>
                    <a:pt x="354" y="141"/>
                    <a:pt x="354" y="141"/>
                    <a:pt x="354" y="141"/>
                  </a:cubicBezTo>
                  <a:lnTo>
                    <a:pt x="346" y="132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iṥḻíḑe">
              <a:extLst>
                <a:ext uri="{FF2B5EF4-FFF2-40B4-BE49-F238E27FC236}">
                  <a16:creationId xmlns:a16="http://schemas.microsoft.com/office/drawing/2014/main" id="{99F0F6BF-87FB-4967-889D-5F8BD5956491}"/>
                </a:ext>
              </a:extLst>
            </p:cNvPr>
            <p:cNvSpPr/>
            <p:nvPr/>
          </p:nvSpPr>
          <p:spPr bwMode="auto">
            <a:xfrm>
              <a:off x="6384701" y="2717863"/>
              <a:ext cx="2158440" cy="2383647"/>
            </a:xfrm>
            <a:custGeom>
              <a:avLst/>
              <a:gdLst>
                <a:gd name="T0" fmla="*/ 323 w 469"/>
                <a:gd name="T1" fmla="*/ 51 h 518"/>
                <a:gd name="T2" fmla="*/ 325 w 469"/>
                <a:gd name="T3" fmla="*/ 105 h 518"/>
                <a:gd name="T4" fmla="*/ 325 w 469"/>
                <a:gd name="T5" fmla="*/ 109 h 518"/>
                <a:gd name="T6" fmla="*/ 244 w 469"/>
                <a:gd name="T7" fmla="*/ 191 h 518"/>
                <a:gd name="T8" fmla="*/ 48 w 469"/>
                <a:gd name="T9" fmla="*/ 195 h 518"/>
                <a:gd name="T10" fmla="*/ 1 w 469"/>
                <a:gd name="T11" fmla="*/ 244 h 518"/>
                <a:gd name="T12" fmla="*/ 5 w 469"/>
                <a:gd name="T13" fmla="*/ 470 h 518"/>
                <a:gd name="T14" fmla="*/ 54 w 469"/>
                <a:gd name="T15" fmla="*/ 517 h 518"/>
                <a:gd name="T16" fmla="*/ 285 w 469"/>
                <a:gd name="T17" fmla="*/ 513 h 518"/>
                <a:gd name="T18" fmla="*/ 332 w 469"/>
                <a:gd name="T19" fmla="*/ 464 h 518"/>
                <a:gd name="T20" fmla="*/ 327 w 469"/>
                <a:gd name="T21" fmla="*/ 237 h 518"/>
                <a:gd name="T22" fmla="*/ 327 w 469"/>
                <a:gd name="T23" fmla="*/ 231 h 518"/>
                <a:gd name="T24" fmla="*/ 380 w 469"/>
                <a:gd name="T25" fmla="*/ 152 h 518"/>
                <a:gd name="T26" fmla="*/ 422 w 469"/>
                <a:gd name="T27" fmla="*/ 151 h 518"/>
                <a:gd name="T28" fmla="*/ 469 w 469"/>
                <a:gd name="T29" fmla="*/ 102 h 518"/>
                <a:gd name="T30" fmla="*/ 467 w 469"/>
                <a:gd name="T31" fmla="*/ 48 h 518"/>
                <a:gd name="T32" fmla="*/ 418 w 469"/>
                <a:gd name="T33" fmla="*/ 1 h 518"/>
                <a:gd name="T34" fmla="*/ 370 w 469"/>
                <a:gd name="T35" fmla="*/ 2 h 518"/>
                <a:gd name="T36" fmla="*/ 323 w 469"/>
                <a:gd name="T37" fmla="*/ 5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9" h="518">
                  <a:moveTo>
                    <a:pt x="323" y="51"/>
                  </a:moveTo>
                  <a:cubicBezTo>
                    <a:pt x="325" y="105"/>
                    <a:pt x="325" y="105"/>
                    <a:pt x="325" y="105"/>
                  </a:cubicBezTo>
                  <a:cubicBezTo>
                    <a:pt x="325" y="106"/>
                    <a:pt x="325" y="107"/>
                    <a:pt x="325" y="109"/>
                  </a:cubicBezTo>
                  <a:cubicBezTo>
                    <a:pt x="325" y="122"/>
                    <a:pt x="322" y="174"/>
                    <a:pt x="244" y="191"/>
                  </a:cubicBezTo>
                  <a:cubicBezTo>
                    <a:pt x="48" y="195"/>
                    <a:pt x="48" y="195"/>
                    <a:pt x="48" y="195"/>
                  </a:cubicBezTo>
                  <a:cubicBezTo>
                    <a:pt x="21" y="195"/>
                    <a:pt x="0" y="217"/>
                    <a:pt x="1" y="244"/>
                  </a:cubicBezTo>
                  <a:cubicBezTo>
                    <a:pt x="5" y="470"/>
                    <a:pt x="5" y="470"/>
                    <a:pt x="5" y="470"/>
                  </a:cubicBezTo>
                  <a:cubicBezTo>
                    <a:pt x="6" y="497"/>
                    <a:pt x="28" y="518"/>
                    <a:pt x="54" y="517"/>
                  </a:cubicBezTo>
                  <a:cubicBezTo>
                    <a:pt x="285" y="513"/>
                    <a:pt x="285" y="513"/>
                    <a:pt x="285" y="513"/>
                  </a:cubicBezTo>
                  <a:cubicBezTo>
                    <a:pt x="311" y="512"/>
                    <a:pt x="332" y="490"/>
                    <a:pt x="332" y="464"/>
                  </a:cubicBezTo>
                  <a:cubicBezTo>
                    <a:pt x="327" y="237"/>
                    <a:pt x="327" y="237"/>
                    <a:pt x="327" y="237"/>
                  </a:cubicBezTo>
                  <a:cubicBezTo>
                    <a:pt x="327" y="235"/>
                    <a:pt x="327" y="233"/>
                    <a:pt x="327" y="231"/>
                  </a:cubicBezTo>
                  <a:cubicBezTo>
                    <a:pt x="329" y="204"/>
                    <a:pt x="339" y="166"/>
                    <a:pt x="380" y="152"/>
                  </a:cubicBezTo>
                  <a:cubicBezTo>
                    <a:pt x="422" y="151"/>
                    <a:pt x="422" y="151"/>
                    <a:pt x="422" y="151"/>
                  </a:cubicBezTo>
                  <a:cubicBezTo>
                    <a:pt x="448" y="151"/>
                    <a:pt x="469" y="129"/>
                    <a:pt x="469" y="102"/>
                  </a:cubicBezTo>
                  <a:cubicBezTo>
                    <a:pt x="467" y="48"/>
                    <a:pt x="467" y="48"/>
                    <a:pt x="467" y="48"/>
                  </a:cubicBezTo>
                  <a:cubicBezTo>
                    <a:pt x="467" y="21"/>
                    <a:pt x="445" y="0"/>
                    <a:pt x="418" y="1"/>
                  </a:cubicBezTo>
                  <a:cubicBezTo>
                    <a:pt x="370" y="2"/>
                    <a:pt x="370" y="2"/>
                    <a:pt x="370" y="2"/>
                  </a:cubicBezTo>
                  <a:cubicBezTo>
                    <a:pt x="344" y="2"/>
                    <a:pt x="323" y="24"/>
                    <a:pt x="323" y="5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iṧ1ïḋê">
              <a:extLst>
                <a:ext uri="{FF2B5EF4-FFF2-40B4-BE49-F238E27FC236}">
                  <a16:creationId xmlns:a16="http://schemas.microsoft.com/office/drawing/2014/main" id="{5D99356D-AA44-4348-BB86-22C6DCD7D56E}"/>
                </a:ext>
              </a:extLst>
            </p:cNvPr>
            <p:cNvSpPr/>
            <p:nvPr/>
          </p:nvSpPr>
          <p:spPr bwMode="auto">
            <a:xfrm>
              <a:off x="8004913" y="2909121"/>
              <a:ext cx="453775" cy="381491"/>
            </a:xfrm>
            <a:custGeom>
              <a:avLst/>
              <a:gdLst>
                <a:gd name="T0" fmla="*/ 124 w 498"/>
                <a:gd name="T1" fmla="*/ 81 h 418"/>
                <a:gd name="T2" fmla="*/ 124 w 498"/>
                <a:gd name="T3" fmla="*/ 81 h 418"/>
                <a:gd name="T4" fmla="*/ 36 w 498"/>
                <a:gd name="T5" fmla="*/ 258 h 418"/>
                <a:gd name="T6" fmla="*/ 346 w 498"/>
                <a:gd name="T7" fmla="*/ 116 h 418"/>
                <a:gd name="T8" fmla="*/ 9 w 498"/>
                <a:gd name="T9" fmla="*/ 382 h 418"/>
                <a:gd name="T10" fmla="*/ 44 w 498"/>
                <a:gd name="T11" fmla="*/ 400 h 418"/>
                <a:gd name="T12" fmla="*/ 97 w 498"/>
                <a:gd name="T13" fmla="*/ 311 h 418"/>
                <a:gd name="T14" fmla="*/ 293 w 498"/>
                <a:gd name="T15" fmla="*/ 311 h 418"/>
                <a:gd name="T16" fmla="*/ 469 w 498"/>
                <a:gd name="T17" fmla="*/ 72 h 418"/>
                <a:gd name="T18" fmla="*/ 124 w 498"/>
                <a:gd name="T19" fmla="*/ 8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8" h="418">
                  <a:moveTo>
                    <a:pt x="124" y="81"/>
                  </a:moveTo>
                  <a:lnTo>
                    <a:pt x="124" y="81"/>
                  </a:lnTo>
                  <a:cubicBezTo>
                    <a:pt x="27" y="134"/>
                    <a:pt x="36" y="222"/>
                    <a:pt x="36" y="258"/>
                  </a:cubicBezTo>
                  <a:cubicBezTo>
                    <a:pt x="159" y="107"/>
                    <a:pt x="346" y="116"/>
                    <a:pt x="346" y="116"/>
                  </a:cubicBezTo>
                  <a:cubicBezTo>
                    <a:pt x="346" y="116"/>
                    <a:pt x="80" y="204"/>
                    <a:pt x="9" y="382"/>
                  </a:cubicBezTo>
                  <a:cubicBezTo>
                    <a:pt x="0" y="400"/>
                    <a:pt x="36" y="417"/>
                    <a:pt x="44" y="400"/>
                  </a:cubicBezTo>
                  <a:cubicBezTo>
                    <a:pt x="62" y="355"/>
                    <a:pt x="97" y="311"/>
                    <a:pt x="97" y="311"/>
                  </a:cubicBezTo>
                  <a:cubicBezTo>
                    <a:pt x="151" y="329"/>
                    <a:pt x="230" y="355"/>
                    <a:pt x="293" y="311"/>
                  </a:cubicBezTo>
                  <a:cubicBezTo>
                    <a:pt x="363" y="258"/>
                    <a:pt x="363" y="134"/>
                    <a:pt x="469" y="72"/>
                  </a:cubicBezTo>
                  <a:cubicBezTo>
                    <a:pt x="497" y="63"/>
                    <a:pt x="249" y="0"/>
                    <a:pt x="124" y="8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íšļiḍè">
              <a:extLst>
                <a:ext uri="{FF2B5EF4-FFF2-40B4-BE49-F238E27FC236}">
                  <a16:creationId xmlns:a16="http://schemas.microsoft.com/office/drawing/2014/main" id="{3B0DBE5A-45E2-4CCC-A9D6-317089943447}"/>
                </a:ext>
              </a:extLst>
            </p:cNvPr>
            <p:cNvSpPr/>
            <p:nvPr/>
          </p:nvSpPr>
          <p:spPr>
            <a:xfrm>
              <a:off x="4350471" y="2642109"/>
              <a:ext cx="1513010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 fontScale="625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800" b="1" dirty="0">
                  <a:latin typeface=""/>
                  <a:ea typeface="微软雅黑" panose="020B0503020204020204" pitchFamily="34" charset="-122"/>
                  <a:sym typeface=""/>
                </a:rPr>
                <a:t>整体</a:t>
              </a:r>
              <a:endParaRPr lang="en-US" altLang="zh-CN" sz="28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ïŝḻíde">
              <a:extLst>
                <a:ext uri="{FF2B5EF4-FFF2-40B4-BE49-F238E27FC236}">
                  <a16:creationId xmlns:a16="http://schemas.microsoft.com/office/drawing/2014/main" id="{9F15AAA4-D693-48C8-A830-289D461ADDEC}"/>
                </a:ext>
              </a:extLst>
            </p:cNvPr>
            <p:cNvSpPr/>
            <p:nvPr/>
          </p:nvSpPr>
          <p:spPr>
            <a:xfrm>
              <a:off x="4626287" y="4399848"/>
              <a:ext cx="1482188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400" b="1" dirty="0">
                  <a:latin typeface=""/>
                  <a:ea typeface="微软雅黑" panose="020B0503020204020204" pitchFamily="34" charset="-122"/>
                  <a:sym typeface=""/>
                </a:rPr>
                <a:t>份额增加</a:t>
              </a:r>
              <a:endParaRPr lang="en-US" altLang="zh-CN" sz="1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iSļíďé">
              <a:extLst>
                <a:ext uri="{FF2B5EF4-FFF2-40B4-BE49-F238E27FC236}">
                  <a16:creationId xmlns:a16="http://schemas.microsoft.com/office/drawing/2014/main" id="{0BA52935-311E-4E6F-A763-BDADFDB2E423}"/>
                </a:ext>
              </a:extLst>
            </p:cNvPr>
            <p:cNvSpPr/>
            <p:nvPr/>
          </p:nvSpPr>
          <p:spPr>
            <a:xfrm>
              <a:off x="6384701" y="4124945"/>
              <a:ext cx="1482188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400" b="1" dirty="0">
                  <a:latin typeface=""/>
                  <a:ea typeface="微软雅黑" panose="020B0503020204020204" pitchFamily="34" charset="-122"/>
                  <a:sym typeface=""/>
                </a:rPr>
                <a:t>份额减少</a:t>
              </a:r>
              <a:endParaRPr lang="en-US" altLang="zh-CN" sz="1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í$ḷïḑe">
              <a:extLst>
                <a:ext uri="{FF2B5EF4-FFF2-40B4-BE49-F238E27FC236}">
                  <a16:creationId xmlns:a16="http://schemas.microsoft.com/office/drawing/2014/main" id="{36F7B339-A93C-4F47-A6A5-1D1A02F39D54}"/>
                </a:ext>
              </a:extLst>
            </p:cNvPr>
            <p:cNvSpPr/>
            <p:nvPr/>
          </p:nvSpPr>
          <p:spPr>
            <a:xfrm>
              <a:off x="6108474" y="2430829"/>
              <a:ext cx="1469714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 fontScale="775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400" b="1" dirty="0">
                  <a:latin typeface=""/>
                  <a:ea typeface="微软雅黑" panose="020B0503020204020204" pitchFamily="34" charset="-122"/>
                  <a:sym typeface=""/>
                </a:rPr>
                <a:t>男女装</a:t>
              </a:r>
              <a:endParaRPr lang="en-US" altLang="zh-CN" sz="2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iSļiḋê">
              <a:extLst>
                <a:ext uri="{FF2B5EF4-FFF2-40B4-BE49-F238E27FC236}">
                  <a16:creationId xmlns:a16="http://schemas.microsoft.com/office/drawing/2014/main" id="{D7439D79-54F6-4FFB-AD05-B8D4E8DAF330}"/>
                </a:ext>
              </a:extLst>
            </p:cNvPr>
            <p:cNvSpPr txBox="1"/>
            <p:nvPr/>
          </p:nvSpPr>
          <p:spPr bwMode="auto">
            <a:xfrm>
              <a:off x="7984038" y="1668699"/>
              <a:ext cx="3534862" cy="112212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     女装品类份额变化主要受业态影响因素较多；男装品类份额变化影响因素集中度较低；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  <a:p>
              <a:pPr lvl="0">
                <a:lnSpc>
                  <a:spcPct val="140000"/>
                </a:lnSpc>
                <a:buSzPct val="25000"/>
                <a:defRPr/>
              </a:pPr>
              <a:endParaRPr lang="en-US" altLang="zh-CN" sz="11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í$ļiḍe">
              <a:extLst>
                <a:ext uri="{FF2B5EF4-FFF2-40B4-BE49-F238E27FC236}">
                  <a16:creationId xmlns:a16="http://schemas.microsoft.com/office/drawing/2014/main" id="{D5955243-07C2-4905-9B92-A83C7AE5BEDF}"/>
                </a:ext>
              </a:extLst>
            </p:cNvPr>
            <p:cNvSpPr txBox="1"/>
            <p:nvPr/>
          </p:nvSpPr>
          <p:spPr bwMode="auto">
            <a:xfrm>
              <a:off x="7984038" y="3909687"/>
              <a:ext cx="3534862" cy="185293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份额减少部分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,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男衬衫份额减少（地域南中北），男牛仔长裤份额减少（城市级别）；女牛仔份额较少（北部）。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  <a:p>
              <a:pPr lvl="0">
                <a:lnSpc>
                  <a:spcPct val="130000"/>
                </a:lnSpc>
                <a:buSzPct val="25000"/>
                <a:defRPr/>
              </a:pPr>
              <a:endParaRPr lang="en-US" altLang="zh-CN" sz="11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iṣ1îďè">
              <a:extLst>
                <a:ext uri="{FF2B5EF4-FFF2-40B4-BE49-F238E27FC236}">
                  <a16:creationId xmlns:a16="http://schemas.microsoft.com/office/drawing/2014/main" id="{89A69D4F-04EF-42F8-9B7D-6CE7B2592B15}"/>
                </a:ext>
              </a:extLst>
            </p:cNvPr>
            <p:cNvSpPr txBox="1"/>
            <p:nvPr/>
          </p:nvSpPr>
          <p:spPr bwMode="auto">
            <a:xfrm>
              <a:off x="666750" y="2430829"/>
              <a:ext cx="3514120" cy="90066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      品类流行趋势对渠道的影响作用不同；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iṧľïdé">
              <a:extLst>
                <a:ext uri="{FF2B5EF4-FFF2-40B4-BE49-F238E27FC236}">
                  <a16:creationId xmlns:a16="http://schemas.microsoft.com/office/drawing/2014/main" id="{9838BC99-D614-4ADE-B2D5-F27BBB03E3CF}"/>
                </a:ext>
              </a:extLst>
            </p:cNvPr>
            <p:cNvSpPr txBox="1"/>
            <p:nvPr/>
          </p:nvSpPr>
          <p:spPr bwMode="auto">
            <a:xfrm>
              <a:off x="666750" y="4399848"/>
              <a:ext cx="3514120" cy="234316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     份额增加部分，男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T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份额增加</a:t>
              </a:r>
              <a:r>
                <a:rPr lang="en-US" altLang="zh-CN" sz="1100" dirty="0">
                  <a:latin typeface=""/>
                  <a:ea typeface="微软雅黑" panose="020B0503020204020204" pitchFamily="34" charset="-122"/>
                  <a:sym typeface=""/>
                </a:rPr>
                <a:t> </a:t>
              </a:r>
              <a:r>
                <a:rPr lang="zh-CN" altLang="en-US" sz="1100" dirty="0">
                  <a:latin typeface=""/>
                  <a:ea typeface="微软雅黑" panose="020B0503020204020204" pitchFamily="34" charset="-122"/>
                  <a:sym typeface=""/>
                </a:rPr>
                <a:t>（</a:t>
              </a:r>
              <a:r>
                <a:rPr lang="zh-CN" altLang="en-US" sz="1200" dirty="0">
                  <a:latin typeface=""/>
                  <a:ea typeface="微软雅黑" panose="020B0503020204020204" pitchFamily="34" charset="-122"/>
                  <a:sym typeface=""/>
                </a:rPr>
                <a:t>行政级别</a:t>
              </a:r>
              <a:r>
                <a:rPr lang="zh-CN" altLang="en-US" sz="1100" dirty="0">
                  <a:latin typeface=""/>
                  <a:ea typeface="微软雅黑" panose="020B0503020204020204" pitchFamily="34" charset="-122"/>
                  <a:sym typeface=""/>
                </a:rPr>
                <a:t>）；女裙份额增加（</a:t>
              </a:r>
              <a:r>
                <a:rPr lang="en-US" altLang="zh-CN" sz="1100" dirty="0">
                  <a:latin typeface=""/>
                  <a:ea typeface="微软雅黑" panose="020B0503020204020204" pitchFamily="34" charset="-122"/>
                  <a:sym typeface=""/>
                </a:rPr>
                <a:t>SPM</a:t>
              </a:r>
              <a:r>
                <a:rPr lang="zh-CN" altLang="en-US" sz="1100" dirty="0">
                  <a:latin typeface=""/>
                  <a:ea typeface="微软雅黑" panose="020B0503020204020204" pitchFamily="34" charset="-122"/>
                  <a:sym typeface=""/>
                </a:rPr>
                <a:t>）；</a:t>
              </a:r>
              <a:endParaRPr lang="en-US" altLang="zh-CN" sz="11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5534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04801" y="736758"/>
            <a:ext cx="5270038" cy="2692242"/>
          </a:xfrm>
          <a:noFill/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r>
              <a:rPr lang="en-US" altLang="zh-CN" sz="48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4800" dirty="0">
                <a:latin typeface=""/>
                <a:ea typeface="微软雅黑" panose="020B0503020204020204" pitchFamily="34" charset="-122"/>
                <a:sym typeface=""/>
              </a:rPr>
              <a:t>夏品类结构预估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32587" y="3782902"/>
            <a:ext cx="3320263" cy="483287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19.07.05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32587" y="3004306"/>
            <a:ext cx="5844995" cy="577093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基于渠道变更的影响因素          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latin typeface=""/>
                <a:ea typeface="微软雅黑" panose="020B0503020204020204" pitchFamily="34" charset="-122"/>
                <a:sym typeface=""/>
              </a:rPr>
              <a:t>大数据项目组    张欢欢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18687" y="5394305"/>
            <a:ext cx="5844996" cy="296392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u="none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564617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7199839" y="4252822"/>
            <a:ext cx="3808347" cy="310871"/>
          </a:xfrm>
        </p:spPr>
        <p:txBody>
          <a:bodyPr>
            <a:noAutofit/>
          </a:bodyPr>
          <a:lstStyle/>
          <a:p>
            <a:pPr algn="r">
              <a:lnSpc>
                <a:spcPct val="130000"/>
              </a:lnSpc>
              <a:spcBef>
                <a:spcPts val="0"/>
              </a:spcBef>
            </a:pPr>
            <a:r>
              <a:rPr lang="en-US" altLang="zh-CN" sz="18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sz="1800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sz="18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sz="1800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70A5D87E-BB0B-4979-8BE2-20719E440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898" y="1308699"/>
            <a:ext cx="5068288" cy="2140857"/>
          </a:xfrm>
        </p:spPr>
        <p:txBody>
          <a:bodyPr>
            <a:normAutofit fontScale="90000"/>
          </a:bodyPr>
          <a:lstStyle/>
          <a:p>
            <a:pPr algn="r">
              <a:lnSpc>
                <a:spcPct val="130000"/>
              </a:lnSpc>
            </a:pPr>
            <a:r>
              <a:rPr lang="en-US" altLang="zh-CN" sz="80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Thanks</a:t>
            </a:r>
            <a: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 </a:t>
            </a:r>
            <a:b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</a:br>
            <a:endParaRPr lang="zh-CN" altLang="en-US" b="0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占比变化：南中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2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6DF9D8DE-24C0-4D37-AF90-A43210B680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028700"/>
            <a:ext cx="11114467" cy="52117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44252B6-D0DC-4DC7-937D-98C35ED173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9827" y="187094"/>
            <a:ext cx="3814564" cy="84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5355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占比变化：行政级别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3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FA88F31-1EE4-4216-B56D-28086072D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3" y="1028700"/>
            <a:ext cx="11049852" cy="554078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31A98A9-0C83-4A47-ABE8-76960847D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8249" y="-14196"/>
            <a:ext cx="5629455" cy="104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7300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占比变化：业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4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6A60A67-78B6-414C-B7D1-4E67ADC8DD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028700"/>
            <a:ext cx="10850563" cy="505012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D221D57-B7EC-423F-9447-67226D2D8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0055" y="80818"/>
            <a:ext cx="4512770" cy="947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654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城市级别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5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49BF431-0A25-4345-AB82-8B70EDC56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028700"/>
            <a:ext cx="10959699" cy="559587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BFE569F-DEA2-4F7F-9BF1-820638CF1F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9050" y="155865"/>
            <a:ext cx="5871604" cy="872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5389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面积段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6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C91FEF0-C9C8-4E4C-9F9D-2814D6D70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5" y="1028700"/>
            <a:ext cx="10850562" cy="52117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8BD36814-1BFE-4C8D-B5A6-E77B13054E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9626" y="19149"/>
            <a:ext cx="5433431" cy="103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9072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男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变化分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7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AED85EB-C103-4CD7-AE58-5FC2D9FEF5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311097"/>
            <a:ext cx="4632555" cy="117452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7F3D96F-10E0-4FD6-80F3-D1F2088427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3095405"/>
            <a:ext cx="4632555" cy="145941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6D0BEC3-FD6E-4507-BE81-2EC7351C0F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5088" y="1223896"/>
            <a:ext cx="6190942" cy="117452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6810D1E-96C2-4E07-AB7C-CA54257BA9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5087" y="3178533"/>
            <a:ext cx="6093286" cy="108051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58F1250F-ADAF-47B5-AE6D-86CCBEB6CA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5087" y="4756063"/>
            <a:ext cx="6093286" cy="108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6101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夏品类结构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8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9B1FD7F-51DA-4A71-83CD-2550C7A98289}"/>
              </a:ext>
            </a:extLst>
          </p:cNvPr>
          <p:cNvSpPr txBox="1"/>
          <p:nvPr/>
        </p:nvSpPr>
        <p:spPr>
          <a:xfrm>
            <a:off x="347781" y="4928622"/>
            <a:ext cx="11494848" cy="10634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1400" dirty="0">
                <a:latin typeface=""/>
                <a:ea typeface="微软雅黑" panose="020B0503020204020204" pitchFamily="34" charset="-122"/>
                <a:sym typeface=""/>
              </a:rPr>
              <a:t>夏品类预估：</a:t>
            </a:r>
            <a:endParaRPr lang="en-US" altLang="zh-CN" sz="14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 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品类份额变化较大的为男装，主要表现为：男</a:t>
            </a: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份额增加，男衬份额减少，牛仔与休闲中裤份额变小，休闲长裤份额变大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100" dirty="0">
                <a:latin typeface=""/>
                <a:ea typeface="微软雅黑" panose="020B0503020204020204" pitchFamily="34" charset="-122"/>
                <a:sym typeface=""/>
              </a:rPr>
              <a:t>        </a:t>
            </a:r>
            <a:r>
              <a:rPr lang="zh-CN" altLang="en-US" sz="1100" dirty="0">
                <a:latin typeface=""/>
                <a:ea typeface="微软雅黑" panose="020B0503020204020204" pitchFamily="34" charset="-122"/>
                <a:sym typeface=""/>
              </a:rPr>
              <a:t>女装品类份额相对变化较小，主要表现在：休闲中裤份额变小，裙装与牛仔短裤份额增加；</a:t>
            </a:r>
            <a:endParaRPr lang="en-US" altLang="zh-CN" sz="11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      </a:t>
            </a:r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1FDE2779-41D1-43FA-B3B9-3352A398CB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475559"/>
              </p:ext>
            </p:extLst>
          </p:nvPr>
        </p:nvGraphicFramePr>
        <p:xfrm>
          <a:off x="626364" y="1334388"/>
          <a:ext cx="10937682" cy="316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5EBF3EBD-92A7-4731-B402-C35590535996}"/>
              </a:ext>
            </a:extLst>
          </p:cNvPr>
          <p:cNvSpPr/>
          <p:nvPr/>
        </p:nvSpPr>
        <p:spPr>
          <a:xfrm>
            <a:off x="1816698" y="1786933"/>
            <a:ext cx="1288026" cy="203527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68401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夏结构变化原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9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F59E2F8-8536-4687-AAC3-E99D921CC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51456"/>
            <a:ext cx="11029868" cy="173927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8142CA9-9A77-4547-AB49-B15979FB5B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3867272"/>
            <a:ext cx="11102976" cy="162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007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3BA44EA-D033-4F43-AD80-17CD17AF2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提纲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A65BF26-C07A-4A79-8120-42572B95A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3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41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28C6938-9560-4F53-A4A1-866F1A769FB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200545" y="1564351"/>
            <a:ext cx="8673259" cy="4140460"/>
            <a:chOff x="1143395" y="1520788"/>
            <a:chExt cx="8673259" cy="4140460"/>
          </a:xfrm>
        </p:grpSpPr>
        <p:sp>
          <p:nvSpPr>
            <p:cNvPr id="6" name="ïšľíḋè">
              <a:extLst>
                <a:ext uri="{FF2B5EF4-FFF2-40B4-BE49-F238E27FC236}">
                  <a16:creationId xmlns:a16="http://schemas.microsoft.com/office/drawing/2014/main" id="{048C632D-65C1-4048-903C-63D48589C72D}"/>
                </a:ext>
              </a:extLst>
            </p:cNvPr>
            <p:cNvSpPr/>
            <p:nvPr/>
          </p:nvSpPr>
          <p:spPr bwMode="auto">
            <a:xfrm>
              <a:off x="1991544" y="1520788"/>
              <a:ext cx="2088232" cy="4140460"/>
            </a:xfrm>
            <a:prstGeom prst="rect">
              <a:avLst/>
            </a:prstGeom>
            <a:noFill/>
            <a:ln w="76200">
              <a:solidFill>
                <a:schemeClr val="accent4">
                  <a:lumMod val="7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solidFill>
                  <a:schemeClr val="accent3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" name="isľiḍé">
              <a:extLst>
                <a:ext uri="{FF2B5EF4-FFF2-40B4-BE49-F238E27FC236}">
                  <a16:creationId xmlns:a16="http://schemas.microsoft.com/office/drawing/2014/main" id="{49B3396A-A817-4AA1-A9F1-CF570E8957E9}"/>
                </a:ext>
              </a:extLst>
            </p:cNvPr>
            <p:cNvSpPr/>
            <p:nvPr/>
          </p:nvSpPr>
          <p:spPr>
            <a:xfrm>
              <a:off x="3255630" y="2564904"/>
              <a:ext cx="1648291" cy="10441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rmAutofit lnSpcReduction="10000"/>
            </a:bodyPr>
            <a:lstStyle/>
            <a:p>
              <a:pPr algn="r">
                <a:lnSpc>
                  <a:spcPct val="130000"/>
                </a:lnSpc>
              </a:pPr>
              <a:r>
                <a:rPr lang="zh-CN" altLang="en-US" sz="5400" b="1" spc="300" dirty="0">
                  <a:solidFill>
                    <a:schemeClr val="accent3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目录</a:t>
              </a:r>
            </a:p>
          </p:txBody>
        </p:sp>
        <p:sp>
          <p:nvSpPr>
            <p:cNvPr id="8" name="îŝľïḑè">
              <a:extLst>
                <a:ext uri="{FF2B5EF4-FFF2-40B4-BE49-F238E27FC236}">
                  <a16:creationId xmlns:a16="http://schemas.microsoft.com/office/drawing/2014/main" id="{12DE7312-4D86-4C5B-AD69-6CD0F1F2C3A9}"/>
                </a:ext>
              </a:extLst>
            </p:cNvPr>
            <p:cNvSpPr/>
            <p:nvPr/>
          </p:nvSpPr>
          <p:spPr>
            <a:xfrm>
              <a:off x="1143395" y="1880828"/>
              <a:ext cx="1696298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normAutofit fontScale="85000" lnSpcReduction="10000"/>
            </a:bodyPr>
            <a:lstStyle/>
            <a:p>
              <a:pPr>
                <a:lnSpc>
                  <a:spcPct val="140000"/>
                </a:lnSpc>
              </a:pPr>
              <a:r>
                <a:rPr lang="en-US" altLang="zh-CN" sz="2000" b="1" spc="300">
                  <a:solidFill>
                    <a:schemeClr val="accent3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CONTENT</a:t>
              </a:r>
            </a:p>
          </p:txBody>
        </p:sp>
        <p:sp>
          <p:nvSpPr>
            <p:cNvPr id="9" name="íṥḷiďè">
              <a:extLst>
                <a:ext uri="{FF2B5EF4-FFF2-40B4-BE49-F238E27FC236}">
                  <a16:creationId xmlns:a16="http://schemas.microsoft.com/office/drawing/2014/main" id="{EB5F206A-579A-4DC1-9D2C-357BCECA8447}"/>
                </a:ext>
              </a:extLst>
            </p:cNvPr>
            <p:cNvSpPr/>
            <p:nvPr/>
          </p:nvSpPr>
          <p:spPr bwMode="auto">
            <a:xfrm>
              <a:off x="3737737" y="3537012"/>
              <a:ext cx="684076" cy="7200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solidFill>
                  <a:schemeClr val="accent3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0" name="ïṧ1ïḓè">
              <a:extLst>
                <a:ext uri="{FF2B5EF4-FFF2-40B4-BE49-F238E27FC236}">
                  <a16:creationId xmlns:a16="http://schemas.microsoft.com/office/drawing/2014/main" id="{26E6FE64-31CF-413F-9FE9-A10362B91614}"/>
                </a:ext>
              </a:extLst>
            </p:cNvPr>
            <p:cNvGrpSpPr/>
            <p:nvPr/>
          </p:nvGrpSpPr>
          <p:grpSpPr>
            <a:xfrm>
              <a:off x="5386028" y="1561321"/>
              <a:ext cx="4430626" cy="707886"/>
              <a:chOff x="1598315" y="1418185"/>
              <a:chExt cx="4430626" cy="707886"/>
            </a:xfrm>
          </p:grpSpPr>
          <p:sp>
            <p:nvSpPr>
              <p:cNvPr id="26" name="íšlîḓe">
                <a:extLst>
                  <a:ext uri="{FF2B5EF4-FFF2-40B4-BE49-F238E27FC236}">
                    <a16:creationId xmlns:a16="http://schemas.microsoft.com/office/drawing/2014/main" id="{93DD5318-B1B4-45E2-9B6D-368BC62B2BDB}"/>
                  </a:ext>
                </a:extLst>
              </p:cNvPr>
              <p:cNvSpPr txBox="1"/>
              <p:nvPr/>
            </p:nvSpPr>
            <p:spPr>
              <a:xfrm>
                <a:off x="1598315" y="1418185"/>
                <a:ext cx="655949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1</a:t>
                </a:r>
              </a:p>
            </p:txBody>
          </p:sp>
          <p:sp>
            <p:nvSpPr>
              <p:cNvPr id="28" name="îŝ1iḓê">
                <a:extLst>
                  <a:ext uri="{FF2B5EF4-FFF2-40B4-BE49-F238E27FC236}">
                    <a16:creationId xmlns:a16="http://schemas.microsoft.com/office/drawing/2014/main" id="{CCB9E521-D2A2-43AA-A7AF-6216067B8C1C}"/>
                  </a:ext>
                </a:extLst>
              </p:cNvPr>
              <p:cNvSpPr txBox="1"/>
              <p:nvPr/>
            </p:nvSpPr>
            <p:spPr>
              <a:xfrm>
                <a:off x="2066367" y="1596663"/>
                <a:ext cx="3962574" cy="452152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项目背景分析</a:t>
                </a:r>
              </a:p>
            </p:txBody>
          </p:sp>
        </p:grpSp>
        <p:grpSp>
          <p:nvGrpSpPr>
            <p:cNvPr id="11" name="íṩļïḋe">
              <a:extLst>
                <a:ext uri="{FF2B5EF4-FFF2-40B4-BE49-F238E27FC236}">
                  <a16:creationId xmlns:a16="http://schemas.microsoft.com/office/drawing/2014/main" id="{05AA6996-36A6-4D50-B17C-EE84EA8CE302}"/>
                </a:ext>
              </a:extLst>
            </p:cNvPr>
            <p:cNvGrpSpPr/>
            <p:nvPr/>
          </p:nvGrpSpPr>
          <p:grpSpPr>
            <a:xfrm>
              <a:off x="5386028" y="2678490"/>
              <a:ext cx="4430626" cy="707886"/>
              <a:chOff x="1598315" y="2786337"/>
              <a:chExt cx="4430626" cy="707886"/>
            </a:xfrm>
          </p:grpSpPr>
          <p:sp>
            <p:nvSpPr>
              <p:cNvPr id="22" name="išļíḓè">
                <a:extLst>
                  <a:ext uri="{FF2B5EF4-FFF2-40B4-BE49-F238E27FC236}">
                    <a16:creationId xmlns:a16="http://schemas.microsoft.com/office/drawing/2014/main" id="{FAB4DC82-302A-4EE7-9B58-31228137B0E2}"/>
                  </a:ext>
                </a:extLst>
              </p:cNvPr>
              <p:cNvSpPr txBox="1"/>
              <p:nvPr/>
            </p:nvSpPr>
            <p:spPr>
              <a:xfrm>
                <a:off x="1598315" y="2786337"/>
                <a:ext cx="718466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2</a:t>
                </a:r>
              </a:p>
            </p:txBody>
          </p:sp>
          <p:sp>
            <p:nvSpPr>
              <p:cNvPr id="24" name="îšlîďè">
                <a:extLst>
                  <a:ext uri="{FF2B5EF4-FFF2-40B4-BE49-F238E27FC236}">
                    <a16:creationId xmlns:a16="http://schemas.microsoft.com/office/drawing/2014/main" id="{74CBFB78-67DB-42D6-B1D9-17BEFD62157F}"/>
                  </a:ext>
                </a:extLst>
              </p:cNvPr>
              <p:cNvSpPr txBox="1"/>
              <p:nvPr/>
            </p:nvSpPr>
            <p:spPr>
              <a:xfrm>
                <a:off x="2066367" y="3086390"/>
                <a:ext cx="3962574" cy="242864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模型原理</a:t>
                </a:r>
              </a:p>
            </p:txBody>
          </p:sp>
        </p:grpSp>
        <p:grpSp>
          <p:nvGrpSpPr>
            <p:cNvPr id="12" name="iSlïḑê">
              <a:extLst>
                <a:ext uri="{FF2B5EF4-FFF2-40B4-BE49-F238E27FC236}">
                  <a16:creationId xmlns:a16="http://schemas.microsoft.com/office/drawing/2014/main" id="{C2C8B67B-F1F9-4843-8AB9-D43AE49DC4C8}"/>
                </a:ext>
              </a:extLst>
            </p:cNvPr>
            <p:cNvGrpSpPr/>
            <p:nvPr/>
          </p:nvGrpSpPr>
          <p:grpSpPr>
            <a:xfrm>
              <a:off x="5386028" y="3795659"/>
              <a:ext cx="4430626" cy="707886"/>
              <a:chOff x="1598315" y="4154489"/>
              <a:chExt cx="4430626" cy="707886"/>
            </a:xfrm>
          </p:grpSpPr>
          <p:sp>
            <p:nvSpPr>
              <p:cNvPr id="18" name="iṥlíḓé">
                <a:extLst>
                  <a:ext uri="{FF2B5EF4-FFF2-40B4-BE49-F238E27FC236}">
                    <a16:creationId xmlns:a16="http://schemas.microsoft.com/office/drawing/2014/main" id="{08CE644E-6293-4600-8461-4AB23C0D1BE6}"/>
                  </a:ext>
                </a:extLst>
              </p:cNvPr>
              <p:cNvSpPr txBox="1"/>
              <p:nvPr/>
            </p:nvSpPr>
            <p:spPr>
              <a:xfrm>
                <a:off x="1598315" y="4154489"/>
                <a:ext cx="732893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3</a:t>
                </a:r>
              </a:p>
            </p:txBody>
          </p:sp>
          <p:sp>
            <p:nvSpPr>
              <p:cNvPr id="20" name="îṩḻîḋê">
                <a:extLst>
                  <a:ext uri="{FF2B5EF4-FFF2-40B4-BE49-F238E27FC236}">
                    <a16:creationId xmlns:a16="http://schemas.microsoft.com/office/drawing/2014/main" id="{F51D569D-098E-45EC-BC9D-371AA97A31BA}"/>
                  </a:ext>
                </a:extLst>
              </p:cNvPr>
              <p:cNvSpPr txBox="1"/>
              <p:nvPr/>
            </p:nvSpPr>
            <p:spPr>
              <a:xfrm>
                <a:off x="2066367" y="4472283"/>
                <a:ext cx="3962574" cy="242864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模型结果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05513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ED8828E-A0EF-4472-BB3D-0C666E05F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901" y="137717"/>
            <a:ext cx="3836968" cy="883136"/>
          </a:xfrm>
        </p:spPr>
        <p:txBody>
          <a:bodyPr/>
          <a:lstStyle/>
          <a:p>
            <a:r>
              <a:rPr lang="zh-CN" altLang="en-US" dirty="0"/>
              <a:t>南中北子渠道规模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3ED6994-CAF6-4997-97CD-ABF561A1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BD93F078-C040-4688-82AB-7965BD00EA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6823501"/>
              </p:ext>
            </p:extLst>
          </p:nvPr>
        </p:nvGraphicFramePr>
        <p:xfrm>
          <a:off x="669924" y="1028701"/>
          <a:ext cx="10935922" cy="1995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0F8B7B25-3E6A-488A-B051-1F847894A2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7216693"/>
              </p:ext>
            </p:extLst>
          </p:nvPr>
        </p:nvGraphicFramePr>
        <p:xfrm>
          <a:off x="777969" y="2729381"/>
          <a:ext cx="10935922" cy="2156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1C6F576E-FBE0-4D6D-8D89-6DBDB78C52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273568"/>
              </p:ext>
            </p:extLst>
          </p:nvPr>
        </p:nvGraphicFramePr>
        <p:xfrm>
          <a:off x="712603" y="4725236"/>
          <a:ext cx="10766794" cy="1995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箭头: 直角上 14">
            <a:extLst>
              <a:ext uri="{FF2B5EF4-FFF2-40B4-BE49-F238E27FC236}">
                <a16:creationId xmlns:a16="http://schemas.microsoft.com/office/drawing/2014/main" id="{1D03F280-0FE7-4B5A-9231-8C9CB8D703EB}"/>
              </a:ext>
            </a:extLst>
          </p:cNvPr>
          <p:cNvSpPr/>
          <p:nvPr/>
        </p:nvSpPr>
        <p:spPr>
          <a:xfrm>
            <a:off x="4401179" y="1995948"/>
            <a:ext cx="328138" cy="335270"/>
          </a:xfrm>
          <a:prstGeom prst="bentUp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3A69E0-5EE9-489B-8890-9EF4CB4A2681}"/>
              </a:ext>
            </a:extLst>
          </p:cNvPr>
          <p:cNvSpPr txBox="1"/>
          <p:nvPr/>
        </p:nvSpPr>
        <p:spPr>
          <a:xfrm>
            <a:off x="154236" y="2637431"/>
            <a:ext cx="461665" cy="207616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y:</a:t>
            </a:r>
            <a:r>
              <a:rPr lang="zh-CN" altLang="en-US" dirty="0"/>
              <a:t>规模占比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ED607C0-9A81-48BA-825F-8264858A296B}"/>
              </a:ext>
            </a:extLst>
          </p:cNvPr>
          <p:cNvSpPr txBox="1"/>
          <p:nvPr/>
        </p:nvSpPr>
        <p:spPr>
          <a:xfrm>
            <a:off x="9287684" y="6402026"/>
            <a:ext cx="1474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:</a:t>
            </a:r>
            <a:r>
              <a:rPr lang="zh-CN" altLang="en-US" dirty="0"/>
              <a:t>结构区间</a:t>
            </a:r>
          </a:p>
        </p:txBody>
      </p:sp>
      <p:sp>
        <p:nvSpPr>
          <p:cNvPr id="8" name="箭头: 下 7">
            <a:extLst>
              <a:ext uri="{FF2B5EF4-FFF2-40B4-BE49-F238E27FC236}">
                <a16:creationId xmlns:a16="http://schemas.microsoft.com/office/drawing/2014/main" id="{660BD9AF-949A-4C0A-A417-F3837C687EE0}"/>
              </a:ext>
            </a:extLst>
          </p:cNvPr>
          <p:cNvSpPr/>
          <p:nvPr/>
        </p:nvSpPr>
        <p:spPr>
          <a:xfrm rot="10800000">
            <a:off x="4159045" y="3680537"/>
            <a:ext cx="242133" cy="429237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rotating-arrows-circle_50446">
            <a:extLst>
              <a:ext uri="{FF2B5EF4-FFF2-40B4-BE49-F238E27FC236}">
                <a16:creationId xmlns:a16="http://schemas.microsoft.com/office/drawing/2014/main" id="{865FD742-FE59-47F1-B56A-3CF906D8A9CC}"/>
              </a:ext>
            </a:extLst>
          </p:cNvPr>
          <p:cNvSpPr>
            <a:spLocks noChangeAspect="1"/>
          </p:cNvSpPr>
          <p:nvPr/>
        </p:nvSpPr>
        <p:spPr bwMode="auto">
          <a:xfrm>
            <a:off x="3670427" y="5539685"/>
            <a:ext cx="488618" cy="487825"/>
          </a:xfrm>
          <a:custGeom>
            <a:avLst/>
            <a:gdLst>
              <a:gd name="connsiteX0" fmla="*/ 460696 w 608556"/>
              <a:gd name="connsiteY0" fmla="*/ 435530 h 607568"/>
              <a:gd name="connsiteX1" fmla="*/ 506378 w 608556"/>
              <a:gd name="connsiteY1" fmla="*/ 472847 h 607568"/>
              <a:gd name="connsiteX2" fmla="*/ 317397 w 608556"/>
              <a:gd name="connsiteY2" fmla="*/ 566140 h 607568"/>
              <a:gd name="connsiteX3" fmla="*/ 317397 w 608556"/>
              <a:gd name="connsiteY3" fmla="*/ 607568 h 607568"/>
              <a:gd name="connsiteX4" fmla="*/ 194761 w 608556"/>
              <a:gd name="connsiteY4" fmla="*/ 536887 h 607568"/>
              <a:gd name="connsiteX5" fmla="*/ 317397 w 608556"/>
              <a:gd name="connsiteY5" fmla="*/ 466127 h 607568"/>
              <a:gd name="connsiteX6" fmla="*/ 317397 w 608556"/>
              <a:gd name="connsiteY6" fmla="*/ 507160 h 607568"/>
              <a:gd name="connsiteX7" fmla="*/ 460696 w 608556"/>
              <a:gd name="connsiteY7" fmla="*/ 435530 h 607568"/>
              <a:gd name="connsiteX8" fmla="*/ 70847 w 608556"/>
              <a:gd name="connsiteY8" fmla="*/ 194478 h 607568"/>
              <a:gd name="connsiteX9" fmla="*/ 141616 w 608556"/>
              <a:gd name="connsiteY9" fmla="*/ 316919 h 607568"/>
              <a:gd name="connsiteX10" fmla="*/ 100532 w 608556"/>
              <a:gd name="connsiteY10" fmla="*/ 316919 h 607568"/>
              <a:gd name="connsiteX11" fmla="*/ 172250 w 608556"/>
              <a:gd name="connsiteY11" fmla="*/ 459992 h 607568"/>
              <a:gd name="connsiteX12" fmla="*/ 134966 w 608556"/>
              <a:gd name="connsiteY12" fmla="*/ 505601 h 607568"/>
              <a:gd name="connsiteX13" fmla="*/ 41479 w 608556"/>
              <a:gd name="connsiteY13" fmla="*/ 316919 h 607568"/>
              <a:gd name="connsiteX14" fmla="*/ 0 w 608556"/>
              <a:gd name="connsiteY14" fmla="*/ 316919 h 607568"/>
              <a:gd name="connsiteX15" fmla="*/ 473614 w 608556"/>
              <a:gd name="connsiteY15" fmla="*/ 101967 h 607568"/>
              <a:gd name="connsiteX16" fmla="*/ 567060 w 608556"/>
              <a:gd name="connsiteY16" fmla="*/ 290643 h 607568"/>
              <a:gd name="connsiteX17" fmla="*/ 608556 w 608556"/>
              <a:gd name="connsiteY17" fmla="*/ 290643 h 607568"/>
              <a:gd name="connsiteX18" fmla="*/ 537759 w 608556"/>
              <a:gd name="connsiteY18" fmla="*/ 413160 h 607568"/>
              <a:gd name="connsiteX19" fmla="*/ 466882 w 608556"/>
              <a:gd name="connsiteY19" fmla="*/ 290643 h 607568"/>
              <a:gd name="connsiteX20" fmla="*/ 507983 w 608556"/>
              <a:gd name="connsiteY20" fmla="*/ 290643 h 607568"/>
              <a:gd name="connsiteX21" fmla="*/ 436235 w 608556"/>
              <a:gd name="connsiteY21" fmla="*/ 147654 h 607568"/>
              <a:gd name="connsiteX22" fmla="*/ 291127 w 608556"/>
              <a:gd name="connsiteY22" fmla="*/ 0 h 607568"/>
              <a:gd name="connsiteX23" fmla="*/ 413866 w 608556"/>
              <a:gd name="connsiteY23" fmla="*/ 70760 h 607568"/>
              <a:gd name="connsiteX24" fmla="*/ 291127 w 608556"/>
              <a:gd name="connsiteY24" fmla="*/ 141441 h 607568"/>
              <a:gd name="connsiteX25" fmla="*/ 291127 w 608556"/>
              <a:gd name="connsiteY25" fmla="*/ 100408 h 607568"/>
              <a:gd name="connsiteX26" fmla="*/ 147878 w 608556"/>
              <a:gd name="connsiteY26" fmla="*/ 172038 h 607568"/>
              <a:gd name="connsiteX27" fmla="*/ 102108 w 608556"/>
              <a:gd name="connsiteY27" fmla="*/ 134800 h 607568"/>
              <a:gd name="connsiteX28" fmla="*/ 291127 w 608556"/>
              <a:gd name="connsiteY28" fmla="*/ 41428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556" h="607568">
                <a:moveTo>
                  <a:pt x="460696" y="435530"/>
                </a:moveTo>
                <a:lnTo>
                  <a:pt x="506378" y="472847"/>
                </a:lnTo>
                <a:cubicBezTo>
                  <a:pt x="459509" y="530088"/>
                  <a:pt x="391026" y="563768"/>
                  <a:pt x="317397" y="566140"/>
                </a:cubicBezTo>
                <a:lnTo>
                  <a:pt x="317397" y="607568"/>
                </a:lnTo>
                <a:lnTo>
                  <a:pt x="194761" y="536887"/>
                </a:lnTo>
                <a:lnTo>
                  <a:pt x="317397" y="466127"/>
                </a:lnTo>
                <a:lnTo>
                  <a:pt x="317397" y="507160"/>
                </a:lnTo>
                <a:cubicBezTo>
                  <a:pt x="373212" y="504788"/>
                  <a:pt x="425069" y="479014"/>
                  <a:pt x="460696" y="435530"/>
                </a:cubicBezTo>
                <a:close/>
                <a:moveTo>
                  <a:pt x="70847" y="194478"/>
                </a:moveTo>
                <a:lnTo>
                  <a:pt x="141616" y="316919"/>
                </a:lnTo>
                <a:lnTo>
                  <a:pt x="100532" y="316919"/>
                </a:lnTo>
                <a:cubicBezTo>
                  <a:pt x="102907" y="372647"/>
                  <a:pt x="128713" y="424421"/>
                  <a:pt x="172250" y="459992"/>
                </a:cubicBezTo>
                <a:lnTo>
                  <a:pt x="134966" y="505601"/>
                </a:lnTo>
                <a:cubicBezTo>
                  <a:pt x="77576" y="458806"/>
                  <a:pt x="43854" y="390432"/>
                  <a:pt x="41479" y="316919"/>
                </a:cubicBezTo>
                <a:lnTo>
                  <a:pt x="0" y="316919"/>
                </a:lnTo>
                <a:close/>
                <a:moveTo>
                  <a:pt x="473614" y="101967"/>
                </a:moveTo>
                <a:cubicBezTo>
                  <a:pt x="530948" y="148761"/>
                  <a:pt x="564684" y="217133"/>
                  <a:pt x="567060" y="290643"/>
                </a:cubicBezTo>
                <a:lnTo>
                  <a:pt x="608556" y="290643"/>
                </a:lnTo>
                <a:lnTo>
                  <a:pt x="537759" y="413160"/>
                </a:lnTo>
                <a:lnTo>
                  <a:pt x="466882" y="290643"/>
                </a:lnTo>
                <a:lnTo>
                  <a:pt x="507983" y="290643"/>
                </a:lnTo>
                <a:cubicBezTo>
                  <a:pt x="505607" y="234918"/>
                  <a:pt x="479790" y="183144"/>
                  <a:pt x="436235" y="147654"/>
                </a:cubicBezTo>
                <a:close/>
                <a:moveTo>
                  <a:pt x="291127" y="0"/>
                </a:moveTo>
                <a:lnTo>
                  <a:pt x="413866" y="70760"/>
                </a:lnTo>
                <a:lnTo>
                  <a:pt x="291127" y="141441"/>
                </a:lnTo>
                <a:lnTo>
                  <a:pt x="291127" y="100408"/>
                </a:lnTo>
                <a:cubicBezTo>
                  <a:pt x="235300" y="102780"/>
                  <a:pt x="183433" y="128554"/>
                  <a:pt x="147878" y="172038"/>
                </a:cubicBezTo>
                <a:lnTo>
                  <a:pt x="102108" y="134800"/>
                </a:lnTo>
                <a:cubicBezTo>
                  <a:pt x="148987" y="77480"/>
                  <a:pt x="217483" y="43800"/>
                  <a:pt x="291127" y="41428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47B6D61-A029-4086-A1AC-F22B7291765A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南中北子渠道的</a:t>
            </a:r>
            <a:r>
              <a:rPr lang="en-US" altLang="zh-CN" dirty="0"/>
              <a:t>T</a:t>
            </a:r>
            <a:r>
              <a:rPr lang="zh-CN" altLang="en-US" dirty="0"/>
              <a:t>恤占比变化不同；</a:t>
            </a:r>
          </a:p>
        </p:txBody>
      </p:sp>
    </p:spTree>
    <p:extLst>
      <p:ext uri="{BB962C8B-B14F-4D97-AF65-F5344CB8AC3E}">
        <p14:creationId xmlns:p14="http://schemas.microsoft.com/office/powerpoint/2010/main" val="11121577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5E0EED-E218-4F2E-AB5D-D5A192913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南中北整体规模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DAE8623-22B9-4D77-9409-7593828DC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201DDC03-1766-4FBC-8AA9-EB790E5730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3190901"/>
              </p:ext>
            </p:extLst>
          </p:nvPr>
        </p:nvGraphicFramePr>
        <p:xfrm>
          <a:off x="5815012" y="1662541"/>
          <a:ext cx="5705475" cy="4039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C33BE6DD-786E-4B58-A526-1CCADBE600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409021"/>
            <a:ext cx="5000688" cy="429347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8C2E81B9-67BA-4AF2-A967-5B09474A005E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子渠道的变化还需要考虑体量变化</a:t>
            </a:r>
          </a:p>
        </p:txBody>
      </p:sp>
    </p:spTree>
    <p:extLst>
      <p:ext uri="{BB962C8B-B14F-4D97-AF65-F5344CB8AC3E}">
        <p14:creationId xmlns:p14="http://schemas.microsoft.com/office/powerpoint/2010/main" val="122122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1373E77-EF27-4922-A2C5-236B80EF8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最终结果趋势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6A2C6CF-6321-4440-8284-695692320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C8EE2B74-56E7-4921-A25D-AF1B8B3693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9431830"/>
              </p:ext>
            </p:extLst>
          </p:nvPr>
        </p:nvGraphicFramePr>
        <p:xfrm>
          <a:off x="760673" y="1213503"/>
          <a:ext cx="10951805" cy="3888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4" name="图片 13">
            <a:extLst>
              <a:ext uri="{FF2B5EF4-FFF2-40B4-BE49-F238E27FC236}">
                <a16:creationId xmlns:a16="http://schemas.microsoft.com/office/drawing/2014/main" id="{824F3CDC-AD5E-4598-83BB-F6B5B1405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5979" y="1799856"/>
            <a:ext cx="3884063" cy="1217167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A9D85A5-514C-4801-8885-6578202DE75B}"/>
              </a:ext>
            </a:extLst>
          </p:cNvPr>
          <p:cNvSpPr txBox="1"/>
          <p:nvPr/>
        </p:nvSpPr>
        <p:spPr>
          <a:xfrm>
            <a:off x="6236575" y="514350"/>
            <a:ext cx="493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加权结果：男</a:t>
            </a:r>
            <a:r>
              <a:rPr lang="en-US" altLang="zh-CN" dirty="0"/>
              <a:t>T</a:t>
            </a:r>
            <a:r>
              <a:rPr lang="zh-CN" altLang="en-US" dirty="0"/>
              <a:t>增加</a:t>
            </a:r>
            <a:r>
              <a:rPr lang="en-US" altLang="zh-CN" dirty="0"/>
              <a:t>2%</a:t>
            </a:r>
            <a:r>
              <a:rPr lang="zh-CN" altLang="en-US" dirty="0"/>
              <a:t>，南大区占增加的</a:t>
            </a:r>
            <a:r>
              <a:rPr lang="en-US" altLang="zh-CN" dirty="0"/>
              <a:t>69%</a:t>
            </a:r>
            <a:r>
              <a:rPr lang="zh-CN" altLang="en-US" dirty="0"/>
              <a:t>；</a:t>
            </a:r>
          </a:p>
        </p:txBody>
      </p:sp>
      <p:sp>
        <p:nvSpPr>
          <p:cNvPr id="17" name="ValueText">
            <a:extLst>
              <a:ext uri="{FF2B5EF4-FFF2-40B4-BE49-F238E27FC236}">
                <a16:creationId xmlns:a16="http://schemas.microsoft.com/office/drawing/2014/main" id="{62739E1B-E3C3-42D1-AC73-7640B639B2AF}"/>
              </a:ext>
            </a:extLst>
          </p:cNvPr>
          <p:cNvSpPr txBox="1"/>
          <p:nvPr/>
        </p:nvSpPr>
        <p:spPr>
          <a:xfrm>
            <a:off x="3121859" y="5506804"/>
            <a:ext cx="1047156" cy="769100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zh-CN" sz="700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95%</a:t>
            </a:r>
            <a:endParaRPr lang="en-US" sz="700" dirty="0">
              <a:solidFill>
                <a:schemeClr val="accent1">
                  <a:lumMod val="60000"/>
                  <a:lumOff val="40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223D80A-8642-4153-872F-EF58D5D7BCF2}"/>
              </a:ext>
            </a:extLst>
          </p:cNvPr>
          <p:cNvSpPr txBox="1"/>
          <p:nvPr/>
        </p:nvSpPr>
        <p:spPr>
          <a:xfrm>
            <a:off x="1153435" y="5295187"/>
            <a:ext cx="17826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2400" dirty="0"/>
          </a:p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整体准确率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4474E7D6-12FC-409F-AF11-D7EC270275C3}"/>
              </a:ext>
            </a:extLst>
          </p:cNvPr>
          <p:cNvSpPr txBox="1"/>
          <p:nvPr/>
        </p:nvSpPr>
        <p:spPr>
          <a:xfrm>
            <a:off x="6236575" y="5256283"/>
            <a:ext cx="17826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2400" dirty="0"/>
          </a:p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结构准确率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ValueText">
            <a:extLst>
              <a:ext uri="{FF2B5EF4-FFF2-40B4-BE49-F238E27FC236}">
                <a16:creationId xmlns:a16="http://schemas.microsoft.com/office/drawing/2014/main" id="{7A6A8F1C-F624-4A66-9F56-6DBCEF45DE46}"/>
              </a:ext>
            </a:extLst>
          </p:cNvPr>
          <p:cNvSpPr txBox="1"/>
          <p:nvPr/>
        </p:nvSpPr>
        <p:spPr>
          <a:xfrm>
            <a:off x="8204999" y="5500874"/>
            <a:ext cx="1047156" cy="769100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zh-CN" sz="700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93%</a:t>
            </a:r>
            <a:endParaRPr lang="en-US" sz="700" dirty="0">
              <a:solidFill>
                <a:schemeClr val="accent1">
                  <a:lumMod val="60000"/>
                  <a:lumOff val="40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717241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项目背景分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过往结构预测的难点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与痛点</a:t>
            </a:r>
            <a:endParaRPr lang="en-US" altLang="zh-CN" dirty="0"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现在结构预测的改善点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1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20FA98-E227-4102-B1E1-76DFBDE24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项目背景介绍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——</a:t>
            </a:r>
            <a:r>
              <a:rPr lang="zh-CN" altLang="en-US" b="0" dirty="0">
                <a:latin typeface=""/>
                <a:ea typeface="微软雅黑" panose="020B0503020204020204" pitchFamily="34" charset="-122"/>
                <a:sym typeface=""/>
              </a:rPr>
              <a:t>结构预测</a:t>
            </a:r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4D6F7E-AA22-448A-81B1-B8975FCE6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5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707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775B231-CB00-4848-8AEB-C6A19DEB5C9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784425"/>
            <a:ext cx="10858500" cy="3695550"/>
            <a:chOff x="660400" y="1784425"/>
            <a:chExt cx="10858500" cy="3695550"/>
          </a:xfrm>
        </p:grpSpPr>
        <p:grpSp>
          <p:nvGrpSpPr>
            <p:cNvPr id="6" name="iṡḷiḍè">
              <a:extLst>
                <a:ext uri="{FF2B5EF4-FFF2-40B4-BE49-F238E27FC236}">
                  <a16:creationId xmlns:a16="http://schemas.microsoft.com/office/drawing/2014/main" id="{4731A8FB-621B-4BE5-9DD8-0BC643EBB6A6}"/>
                </a:ext>
              </a:extLst>
            </p:cNvPr>
            <p:cNvGrpSpPr/>
            <p:nvPr/>
          </p:nvGrpSpPr>
          <p:grpSpPr>
            <a:xfrm>
              <a:off x="4233916" y="2444202"/>
              <a:ext cx="783813" cy="2376000"/>
              <a:chOff x="4335060" y="2822299"/>
              <a:chExt cx="783813" cy="2376000"/>
            </a:xfrm>
          </p:grpSpPr>
          <p:sp>
            <p:nvSpPr>
              <p:cNvPr id="146" name="íS1iḋè">
                <a:extLst>
                  <a:ext uri="{FF2B5EF4-FFF2-40B4-BE49-F238E27FC236}">
                    <a16:creationId xmlns:a16="http://schemas.microsoft.com/office/drawing/2014/main" id="{7F216DD2-2D25-4839-AB7A-8D08075CBA64}"/>
                  </a:ext>
                </a:extLst>
              </p:cNvPr>
              <p:cNvSpPr/>
              <p:nvPr/>
            </p:nvSpPr>
            <p:spPr bwMode="auto">
              <a:xfrm>
                <a:off x="4767060" y="3974299"/>
                <a:ext cx="351813" cy="72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7" name="îṡḻíḓê">
                <a:extLst>
                  <a:ext uri="{FF2B5EF4-FFF2-40B4-BE49-F238E27FC236}">
                    <a16:creationId xmlns:a16="http://schemas.microsoft.com/office/drawing/2014/main" id="{CB5E9896-7E8A-4352-B418-47BFBDB68740}"/>
                  </a:ext>
                </a:extLst>
              </p:cNvPr>
              <p:cNvSpPr/>
              <p:nvPr/>
            </p:nvSpPr>
            <p:spPr bwMode="auto">
              <a:xfrm rot="5400000" flipH="1">
                <a:off x="3363060" y="3794299"/>
                <a:ext cx="2376000" cy="432000"/>
              </a:xfrm>
              <a:prstGeom prst="uturnArrow">
                <a:avLst>
                  <a:gd name="adj1" fmla="val 11666"/>
                  <a:gd name="adj2" fmla="val 25000"/>
                  <a:gd name="adj3" fmla="val 0"/>
                  <a:gd name="adj4" fmla="val 85000"/>
                  <a:gd name="adj5" fmla="val 100000"/>
                </a:avLst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7" name="ïṧḻiḋé">
              <a:extLst>
                <a:ext uri="{FF2B5EF4-FFF2-40B4-BE49-F238E27FC236}">
                  <a16:creationId xmlns:a16="http://schemas.microsoft.com/office/drawing/2014/main" id="{F422D938-D680-4874-8BFD-F45E7FD4BF32}"/>
                </a:ext>
              </a:extLst>
            </p:cNvPr>
            <p:cNvSpPr/>
            <p:nvPr/>
          </p:nvSpPr>
          <p:spPr bwMode="auto">
            <a:xfrm>
              <a:off x="3667284" y="2200717"/>
              <a:ext cx="558869" cy="55886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" name="îşḷiḋê">
              <a:extLst>
                <a:ext uri="{FF2B5EF4-FFF2-40B4-BE49-F238E27FC236}">
                  <a16:creationId xmlns:a16="http://schemas.microsoft.com/office/drawing/2014/main" id="{82B7BA2B-1D40-43A5-A3B9-970FB9508B2A}"/>
                </a:ext>
              </a:extLst>
            </p:cNvPr>
            <p:cNvSpPr/>
            <p:nvPr/>
          </p:nvSpPr>
          <p:spPr bwMode="auto">
            <a:xfrm>
              <a:off x="3667284" y="4504817"/>
              <a:ext cx="558869" cy="55886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9" name="iślî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0D8169B-8D5A-4524-BBE4-829A5258636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06806" y="2563005"/>
              <a:ext cx="2365689" cy="2138393"/>
              <a:chOff x="3587750" y="1155700"/>
              <a:chExt cx="5022851" cy="4540250"/>
            </a:xfrm>
          </p:grpSpPr>
          <p:sp>
            <p:nvSpPr>
              <p:cNvPr id="31" name="ïṣľîḑe">
                <a:extLst>
                  <a:ext uri="{FF2B5EF4-FFF2-40B4-BE49-F238E27FC236}">
                    <a16:creationId xmlns:a16="http://schemas.microsoft.com/office/drawing/2014/main" id="{55033006-5B51-4170-817C-D20C034E8584}"/>
                  </a:ext>
                </a:extLst>
              </p:cNvPr>
              <p:cNvSpPr/>
              <p:nvPr/>
            </p:nvSpPr>
            <p:spPr bwMode="auto">
              <a:xfrm>
                <a:off x="4256088" y="5286375"/>
                <a:ext cx="4354513" cy="409575"/>
              </a:xfrm>
              <a:prstGeom prst="ellipse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2" name="ísḷïďé">
                <a:extLst>
                  <a:ext uri="{FF2B5EF4-FFF2-40B4-BE49-F238E27FC236}">
                    <a16:creationId xmlns:a16="http://schemas.microsoft.com/office/drawing/2014/main" id="{51D7041E-E6E0-4FB7-8BC0-C00DE21737B1}"/>
                  </a:ext>
                </a:extLst>
              </p:cNvPr>
              <p:cNvSpPr/>
              <p:nvPr/>
            </p:nvSpPr>
            <p:spPr bwMode="auto">
              <a:xfrm>
                <a:off x="5437188" y="1217613"/>
                <a:ext cx="2144713" cy="278288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3" name="iṩḷide">
                <a:extLst>
                  <a:ext uri="{FF2B5EF4-FFF2-40B4-BE49-F238E27FC236}">
                    <a16:creationId xmlns:a16="http://schemas.microsoft.com/office/drawing/2014/main" id="{6B2E80DD-7A34-4EE6-B826-CD35FC7E2F61}"/>
                  </a:ext>
                </a:extLst>
              </p:cNvPr>
              <p:cNvSpPr/>
              <p:nvPr/>
            </p:nvSpPr>
            <p:spPr bwMode="auto">
              <a:xfrm>
                <a:off x="5437188" y="1217613"/>
                <a:ext cx="2144713" cy="2782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4" name="íṣḻîḓé">
                <a:extLst>
                  <a:ext uri="{FF2B5EF4-FFF2-40B4-BE49-F238E27FC236}">
                    <a16:creationId xmlns:a16="http://schemas.microsoft.com/office/drawing/2014/main" id="{F018D1B9-3885-4416-93E4-84003F4462C3}"/>
                  </a:ext>
                </a:extLst>
              </p:cNvPr>
              <p:cNvSpPr/>
              <p:nvPr/>
            </p:nvSpPr>
            <p:spPr bwMode="auto">
              <a:xfrm>
                <a:off x="5548313" y="1357313"/>
                <a:ext cx="1922463" cy="25034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5" name="ïślidè">
                <a:extLst>
                  <a:ext uri="{FF2B5EF4-FFF2-40B4-BE49-F238E27FC236}">
                    <a16:creationId xmlns:a16="http://schemas.microsoft.com/office/drawing/2014/main" id="{98D15373-EE0C-4030-B6C3-12DB13C988A5}"/>
                  </a:ext>
                </a:extLst>
              </p:cNvPr>
              <p:cNvSpPr/>
              <p:nvPr/>
            </p:nvSpPr>
            <p:spPr bwMode="auto">
              <a:xfrm>
                <a:off x="5548313" y="1357313"/>
                <a:ext cx="1922463" cy="25034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6" name="îSḷíḋé">
                <a:extLst>
                  <a:ext uri="{FF2B5EF4-FFF2-40B4-BE49-F238E27FC236}">
                    <a16:creationId xmlns:a16="http://schemas.microsoft.com/office/drawing/2014/main" id="{756DCADF-4DF4-454E-BA74-1F8078219B03}"/>
                  </a:ext>
                </a:extLst>
              </p:cNvPr>
              <p:cNvSpPr/>
              <p:nvPr/>
            </p:nvSpPr>
            <p:spPr bwMode="auto">
              <a:xfrm>
                <a:off x="5376863" y="3946525"/>
                <a:ext cx="2265363" cy="109538"/>
              </a:xfrm>
              <a:custGeom>
                <a:avLst/>
                <a:gdLst>
                  <a:gd name="T0" fmla="*/ 360 w 370"/>
                  <a:gd name="T1" fmla="*/ 18 h 18"/>
                  <a:gd name="T2" fmla="*/ 9 w 370"/>
                  <a:gd name="T3" fmla="*/ 18 h 18"/>
                  <a:gd name="T4" fmla="*/ 0 w 370"/>
                  <a:gd name="T5" fmla="*/ 9 h 18"/>
                  <a:gd name="T6" fmla="*/ 9 w 370"/>
                  <a:gd name="T7" fmla="*/ 0 h 18"/>
                  <a:gd name="T8" fmla="*/ 360 w 370"/>
                  <a:gd name="T9" fmla="*/ 0 h 18"/>
                  <a:gd name="T10" fmla="*/ 370 w 370"/>
                  <a:gd name="T11" fmla="*/ 9 h 18"/>
                  <a:gd name="T12" fmla="*/ 360 w 370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18">
                    <a:moveTo>
                      <a:pt x="360" y="18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366" y="0"/>
                      <a:pt x="370" y="4"/>
                      <a:pt x="370" y="9"/>
                    </a:cubicBezTo>
                    <a:cubicBezTo>
                      <a:pt x="370" y="14"/>
                      <a:pt x="366" y="18"/>
                      <a:pt x="360" y="18"/>
                    </a:cubicBezTo>
                    <a:close/>
                  </a:path>
                </a:pathLst>
              </a:cu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7" name="ïSḷîďé">
                <a:extLst>
                  <a:ext uri="{FF2B5EF4-FFF2-40B4-BE49-F238E27FC236}">
                    <a16:creationId xmlns:a16="http://schemas.microsoft.com/office/drawing/2014/main" id="{ACA82105-35CF-4054-97B2-551955DE48ED}"/>
                  </a:ext>
                </a:extLst>
              </p:cNvPr>
              <p:cNvSpPr/>
              <p:nvPr/>
            </p:nvSpPr>
            <p:spPr bwMode="auto">
              <a:xfrm>
                <a:off x="6465888" y="4025900"/>
                <a:ext cx="85725" cy="1400175"/>
              </a:xfrm>
              <a:prstGeom prst="rect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8" name="isḷídê">
                <a:extLst>
                  <a:ext uri="{FF2B5EF4-FFF2-40B4-BE49-F238E27FC236}">
                    <a16:creationId xmlns:a16="http://schemas.microsoft.com/office/drawing/2014/main" id="{6D1C55AC-B875-4D87-8B9D-D59AB8BB65C3}"/>
                  </a:ext>
                </a:extLst>
              </p:cNvPr>
              <p:cNvSpPr/>
              <p:nvPr/>
            </p:nvSpPr>
            <p:spPr bwMode="auto">
              <a:xfrm>
                <a:off x="6135688" y="5389563"/>
                <a:ext cx="741363" cy="141288"/>
              </a:xfrm>
              <a:prstGeom prst="ellipse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9" name="ïṥḻîḓé">
                <a:extLst>
                  <a:ext uri="{FF2B5EF4-FFF2-40B4-BE49-F238E27FC236}">
                    <a16:creationId xmlns:a16="http://schemas.microsoft.com/office/drawing/2014/main" id="{A87554D3-3E7C-464D-BD5F-5452E4E7728A}"/>
                  </a:ext>
                </a:extLst>
              </p:cNvPr>
              <p:cNvSpPr/>
              <p:nvPr/>
            </p:nvSpPr>
            <p:spPr bwMode="auto">
              <a:xfrm>
                <a:off x="5822950" y="3040063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0" name="ïśḻîḑè">
                <a:extLst>
                  <a:ext uri="{FF2B5EF4-FFF2-40B4-BE49-F238E27FC236}">
                    <a16:creationId xmlns:a16="http://schemas.microsoft.com/office/drawing/2014/main" id="{91A67D96-A780-49F1-89B3-8C79ADCA47FF}"/>
                  </a:ext>
                </a:extLst>
              </p:cNvPr>
              <p:cNvSpPr/>
              <p:nvPr/>
            </p:nvSpPr>
            <p:spPr bwMode="auto">
              <a:xfrm>
                <a:off x="5822950" y="3040063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1" name="ï$1ídê">
                <a:extLst>
                  <a:ext uri="{FF2B5EF4-FFF2-40B4-BE49-F238E27FC236}">
                    <a16:creationId xmlns:a16="http://schemas.microsoft.com/office/drawing/2014/main" id="{8B49F327-77F0-4DE8-8758-461CA39EC440}"/>
                  </a:ext>
                </a:extLst>
              </p:cNvPr>
              <p:cNvSpPr/>
              <p:nvPr/>
            </p:nvSpPr>
            <p:spPr bwMode="auto">
              <a:xfrm>
                <a:off x="5822950" y="3138488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2" name="ïṧliḋe">
                <a:extLst>
                  <a:ext uri="{FF2B5EF4-FFF2-40B4-BE49-F238E27FC236}">
                    <a16:creationId xmlns:a16="http://schemas.microsoft.com/office/drawing/2014/main" id="{1003A9D4-4748-4115-B97A-51BE4DE9EFFD}"/>
                  </a:ext>
                </a:extLst>
              </p:cNvPr>
              <p:cNvSpPr/>
              <p:nvPr/>
            </p:nvSpPr>
            <p:spPr bwMode="auto">
              <a:xfrm>
                <a:off x="5822950" y="3138488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3" name="íŝḷíḑé">
                <a:extLst>
                  <a:ext uri="{FF2B5EF4-FFF2-40B4-BE49-F238E27FC236}">
                    <a16:creationId xmlns:a16="http://schemas.microsoft.com/office/drawing/2014/main" id="{8FEC40B7-E54A-4CD5-9409-3040C1E26E7E}"/>
                  </a:ext>
                </a:extLst>
              </p:cNvPr>
              <p:cNvSpPr/>
              <p:nvPr/>
            </p:nvSpPr>
            <p:spPr bwMode="auto">
              <a:xfrm>
                <a:off x="5822950" y="3235325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4" name="ïṣlíḋé">
                <a:extLst>
                  <a:ext uri="{FF2B5EF4-FFF2-40B4-BE49-F238E27FC236}">
                    <a16:creationId xmlns:a16="http://schemas.microsoft.com/office/drawing/2014/main" id="{D78C890F-E540-4618-8E7F-9EDDCE930B59}"/>
                  </a:ext>
                </a:extLst>
              </p:cNvPr>
              <p:cNvSpPr/>
              <p:nvPr/>
            </p:nvSpPr>
            <p:spPr bwMode="auto">
              <a:xfrm>
                <a:off x="5822950" y="3235325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5" name="îşliḍe">
                <a:extLst>
                  <a:ext uri="{FF2B5EF4-FFF2-40B4-BE49-F238E27FC236}">
                    <a16:creationId xmlns:a16="http://schemas.microsoft.com/office/drawing/2014/main" id="{C3009EE7-6FEC-437F-8A56-9E751B4EF61F}"/>
                  </a:ext>
                </a:extLst>
              </p:cNvPr>
              <p:cNvSpPr/>
              <p:nvPr/>
            </p:nvSpPr>
            <p:spPr bwMode="auto">
              <a:xfrm>
                <a:off x="5822950" y="3333750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6" name="ïsľíḓé">
                <a:extLst>
                  <a:ext uri="{FF2B5EF4-FFF2-40B4-BE49-F238E27FC236}">
                    <a16:creationId xmlns:a16="http://schemas.microsoft.com/office/drawing/2014/main" id="{54D565EE-4197-43CC-8BA2-93A33898E296}"/>
                  </a:ext>
                </a:extLst>
              </p:cNvPr>
              <p:cNvSpPr/>
              <p:nvPr/>
            </p:nvSpPr>
            <p:spPr bwMode="auto">
              <a:xfrm>
                <a:off x="5822950" y="3333750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7" name="îŝḻïḋè">
                <a:extLst>
                  <a:ext uri="{FF2B5EF4-FFF2-40B4-BE49-F238E27FC236}">
                    <a16:creationId xmlns:a16="http://schemas.microsoft.com/office/drawing/2014/main" id="{BC7E7C6B-6F7D-4A7F-BFB7-47CB74579EF8}"/>
                  </a:ext>
                </a:extLst>
              </p:cNvPr>
              <p:cNvSpPr/>
              <p:nvPr/>
            </p:nvSpPr>
            <p:spPr bwMode="auto">
              <a:xfrm>
                <a:off x="5822950" y="3432175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8" name="îŝľïḋe">
                <a:extLst>
                  <a:ext uri="{FF2B5EF4-FFF2-40B4-BE49-F238E27FC236}">
                    <a16:creationId xmlns:a16="http://schemas.microsoft.com/office/drawing/2014/main" id="{B7D87923-7E18-4C61-A84B-570B5022B24D}"/>
                  </a:ext>
                </a:extLst>
              </p:cNvPr>
              <p:cNvSpPr/>
              <p:nvPr/>
            </p:nvSpPr>
            <p:spPr bwMode="auto">
              <a:xfrm>
                <a:off x="5822950" y="3432175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9" name="ïṣḷiḓe">
                <a:extLst>
                  <a:ext uri="{FF2B5EF4-FFF2-40B4-BE49-F238E27FC236}">
                    <a16:creationId xmlns:a16="http://schemas.microsoft.com/office/drawing/2014/main" id="{A6447C2E-665B-4A1E-9BD2-AD606B5B697E}"/>
                  </a:ext>
                </a:extLst>
              </p:cNvPr>
              <p:cNvSpPr/>
              <p:nvPr/>
            </p:nvSpPr>
            <p:spPr bwMode="auto">
              <a:xfrm>
                <a:off x="5822950" y="3529013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0" name="iṩḻíďe">
                <a:extLst>
                  <a:ext uri="{FF2B5EF4-FFF2-40B4-BE49-F238E27FC236}">
                    <a16:creationId xmlns:a16="http://schemas.microsoft.com/office/drawing/2014/main" id="{60E1CEDF-8139-4D18-A303-4965DE15960E}"/>
                  </a:ext>
                </a:extLst>
              </p:cNvPr>
              <p:cNvSpPr/>
              <p:nvPr/>
            </p:nvSpPr>
            <p:spPr bwMode="auto">
              <a:xfrm>
                <a:off x="5822950" y="3529013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1" name="îšľiḍe">
                <a:extLst>
                  <a:ext uri="{FF2B5EF4-FFF2-40B4-BE49-F238E27FC236}">
                    <a16:creationId xmlns:a16="http://schemas.microsoft.com/office/drawing/2014/main" id="{CDB15E80-5A84-44FF-A566-18922B3B74A8}"/>
                  </a:ext>
                </a:extLst>
              </p:cNvPr>
              <p:cNvSpPr/>
              <p:nvPr/>
            </p:nvSpPr>
            <p:spPr bwMode="auto">
              <a:xfrm>
                <a:off x="5927725" y="1687513"/>
                <a:ext cx="1009650" cy="1003300"/>
              </a:xfrm>
              <a:prstGeom prst="ellipse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2" name="îSḻïḓê">
                <a:extLst>
                  <a:ext uri="{FF2B5EF4-FFF2-40B4-BE49-F238E27FC236}">
                    <a16:creationId xmlns:a16="http://schemas.microsoft.com/office/drawing/2014/main" id="{2B9FA08E-B1EE-4BA6-861D-348B663A875E}"/>
                  </a:ext>
                </a:extLst>
              </p:cNvPr>
              <p:cNvSpPr/>
              <p:nvPr/>
            </p:nvSpPr>
            <p:spPr bwMode="auto">
              <a:xfrm>
                <a:off x="6435725" y="1687513"/>
                <a:ext cx="465138" cy="501650"/>
              </a:xfrm>
              <a:custGeom>
                <a:avLst/>
                <a:gdLst>
                  <a:gd name="T0" fmla="*/ 0 w 293"/>
                  <a:gd name="T1" fmla="*/ 0 h 316"/>
                  <a:gd name="T2" fmla="*/ 0 w 293"/>
                  <a:gd name="T3" fmla="*/ 316 h 316"/>
                  <a:gd name="T4" fmla="*/ 293 w 293"/>
                  <a:gd name="T5" fmla="*/ 147 h 316"/>
                  <a:gd name="T6" fmla="*/ 243 w 293"/>
                  <a:gd name="T7" fmla="*/ 0 h 316"/>
                  <a:gd name="T8" fmla="*/ 0 w 293"/>
                  <a:gd name="T9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316">
                    <a:moveTo>
                      <a:pt x="0" y="0"/>
                    </a:moveTo>
                    <a:lnTo>
                      <a:pt x="0" y="316"/>
                    </a:lnTo>
                    <a:lnTo>
                      <a:pt x="293" y="147"/>
                    </a:lnTo>
                    <a:lnTo>
                      <a:pt x="24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3" name="îSlïḓé">
                <a:extLst>
                  <a:ext uri="{FF2B5EF4-FFF2-40B4-BE49-F238E27FC236}">
                    <a16:creationId xmlns:a16="http://schemas.microsoft.com/office/drawing/2014/main" id="{50E92F7B-158F-4321-BFDC-83C94FD4C18C}"/>
                  </a:ext>
                </a:extLst>
              </p:cNvPr>
              <p:cNvSpPr/>
              <p:nvPr/>
            </p:nvSpPr>
            <p:spPr bwMode="auto">
              <a:xfrm>
                <a:off x="6478588" y="1597025"/>
                <a:ext cx="441325" cy="501650"/>
              </a:xfrm>
              <a:custGeom>
                <a:avLst/>
                <a:gdLst>
                  <a:gd name="T0" fmla="*/ 72 w 72"/>
                  <a:gd name="T1" fmla="*/ 41 h 82"/>
                  <a:gd name="T2" fmla="*/ 0 w 72"/>
                  <a:gd name="T3" fmla="*/ 0 h 82"/>
                  <a:gd name="T4" fmla="*/ 0 w 72"/>
                  <a:gd name="T5" fmla="*/ 82 h 82"/>
                  <a:gd name="T6" fmla="*/ 72 w 72"/>
                  <a:gd name="T7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82">
                    <a:moveTo>
                      <a:pt x="72" y="41"/>
                    </a:moveTo>
                    <a:cubicBezTo>
                      <a:pt x="58" y="16"/>
                      <a:pt x="31" y="0"/>
                      <a:pt x="0" y="0"/>
                    </a:cubicBezTo>
                    <a:cubicBezTo>
                      <a:pt x="0" y="82"/>
                      <a:pt x="0" y="82"/>
                      <a:pt x="0" y="82"/>
                    </a:cubicBezTo>
                    <a:lnTo>
                      <a:pt x="72" y="41"/>
                    </a:ln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4" name="iŝḷiḋé">
                <a:extLst>
                  <a:ext uri="{FF2B5EF4-FFF2-40B4-BE49-F238E27FC236}">
                    <a16:creationId xmlns:a16="http://schemas.microsoft.com/office/drawing/2014/main" id="{6B26B506-45AC-4526-B405-906F22064650}"/>
                  </a:ext>
                </a:extLst>
              </p:cNvPr>
              <p:cNvSpPr/>
              <p:nvPr/>
            </p:nvSpPr>
            <p:spPr bwMode="auto">
              <a:xfrm>
                <a:off x="5983288" y="2752725"/>
                <a:ext cx="128588" cy="12223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5" name="íṣľíḋè">
                <a:extLst>
                  <a:ext uri="{FF2B5EF4-FFF2-40B4-BE49-F238E27FC236}">
                    <a16:creationId xmlns:a16="http://schemas.microsoft.com/office/drawing/2014/main" id="{26838780-8B62-4650-9B4B-CA4D92E40365}"/>
                  </a:ext>
                </a:extLst>
              </p:cNvPr>
              <p:cNvSpPr/>
              <p:nvPr/>
            </p:nvSpPr>
            <p:spPr bwMode="auto">
              <a:xfrm>
                <a:off x="6154738" y="2808288"/>
                <a:ext cx="238125" cy="66675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6" name="ïsḷïḋè">
                <a:extLst>
                  <a:ext uri="{FF2B5EF4-FFF2-40B4-BE49-F238E27FC236}">
                    <a16:creationId xmlns:a16="http://schemas.microsoft.com/office/drawing/2014/main" id="{E953F1B2-4403-440E-B542-9F62542D4887}"/>
                  </a:ext>
                </a:extLst>
              </p:cNvPr>
              <p:cNvSpPr/>
              <p:nvPr/>
            </p:nvSpPr>
            <p:spPr bwMode="auto">
              <a:xfrm>
                <a:off x="6154738" y="2808288"/>
                <a:ext cx="238125" cy="66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7" name="ïṩlídè">
                <a:extLst>
                  <a:ext uri="{FF2B5EF4-FFF2-40B4-BE49-F238E27FC236}">
                    <a16:creationId xmlns:a16="http://schemas.microsoft.com/office/drawing/2014/main" id="{989243CA-06A6-44A3-A5BF-D78430513763}"/>
                  </a:ext>
                </a:extLst>
              </p:cNvPr>
              <p:cNvSpPr/>
              <p:nvPr/>
            </p:nvSpPr>
            <p:spPr bwMode="auto">
              <a:xfrm>
                <a:off x="6669088" y="2752725"/>
                <a:ext cx="122238" cy="122238"/>
              </a:xfrm>
              <a:prstGeom prst="rect">
                <a:avLst/>
              </a:pr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8" name="işḻïḑé">
                <a:extLst>
                  <a:ext uri="{FF2B5EF4-FFF2-40B4-BE49-F238E27FC236}">
                    <a16:creationId xmlns:a16="http://schemas.microsoft.com/office/drawing/2014/main" id="{025AAE37-DF14-4C00-BE57-3EA5CFFEF449}"/>
                  </a:ext>
                </a:extLst>
              </p:cNvPr>
              <p:cNvSpPr/>
              <p:nvPr/>
            </p:nvSpPr>
            <p:spPr bwMode="auto">
              <a:xfrm>
                <a:off x="6840538" y="2808288"/>
                <a:ext cx="231775" cy="66675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9" name="ï$ḷiḋe">
                <a:extLst>
                  <a:ext uri="{FF2B5EF4-FFF2-40B4-BE49-F238E27FC236}">
                    <a16:creationId xmlns:a16="http://schemas.microsoft.com/office/drawing/2014/main" id="{CC167108-602B-4AAC-B2BD-94FD9CB009FE}"/>
                  </a:ext>
                </a:extLst>
              </p:cNvPr>
              <p:cNvSpPr/>
              <p:nvPr/>
            </p:nvSpPr>
            <p:spPr bwMode="auto">
              <a:xfrm>
                <a:off x="6840538" y="2808288"/>
                <a:ext cx="231775" cy="66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0" name="îṩļîḓê">
                <a:extLst>
                  <a:ext uri="{FF2B5EF4-FFF2-40B4-BE49-F238E27FC236}">
                    <a16:creationId xmlns:a16="http://schemas.microsoft.com/office/drawing/2014/main" id="{87FC4EBC-9DBD-401A-907C-7D426823BD8D}"/>
                  </a:ext>
                </a:extLst>
              </p:cNvPr>
              <p:cNvSpPr/>
              <p:nvPr/>
            </p:nvSpPr>
            <p:spPr bwMode="auto">
              <a:xfrm>
                <a:off x="5376863" y="1155700"/>
                <a:ext cx="2265363" cy="109538"/>
              </a:xfrm>
              <a:custGeom>
                <a:avLst/>
                <a:gdLst>
                  <a:gd name="T0" fmla="*/ 360 w 370"/>
                  <a:gd name="T1" fmla="*/ 18 h 18"/>
                  <a:gd name="T2" fmla="*/ 9 w 370"/>
                  <a:gd name="T3" fmla="*/ 18 h 18"/>
                  <a:gd name="T4" fmla="*/ 0 w 370"/>
                  <a:gd name="T5" fmla="*/ 9 h 18"/>
                  <a:gd name="T6" fmla="*/ 9 w 370"/>
                  <a:gd name="T7" fmla="*/ 0 h 18"/>
                  <a:gd name="T8" fmla="*/ 360 w 370"/>
                  <a:gd name="T9" fmla="*/ 0 h 18"/>
                  <a:gd name="T10" fmla="*/ 370 w 370"/>
                  <a:gd name="T11" fmla="*/ 9 h 18"/>
                  <a:gd name="T12" fmla="*/ 360 w 370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18">
                    <a:moveTo>
                      <a:pt x="360" y="18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366" y="0"/>
                      <a:pt x="370" y="4"/>
                      <a:pt x="370" y="9"/>
                    </a:cubicBezTo>
                    <a:cubicBezTo>
                      <a:pt x="370" y="14"/>
                      <a:pt x="366" y="18"/>
                      <a:pt x="360" y="18"/>
                    </a:cubicBezTo>
                    <a:close/>
                  </a:path>
                </a:pathLst>
              </a:cu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1" name="îṡḻîdé">
                <a:extLst>
                  <a:ext uri="{FF2B5EF4-FFF2-40B4-BE49-F238E27FC236}">
                    <a16:creationId xmlns:a16="http://schemas.microsoft.com/office/drawing/2014/main" id="{45AC29BB-5E38-4F18-B2CD-18AD7BAF2539}"/>
                  </a:ext>
                </a:extLst>
              </p:cNvPr>
              <p:cNvSpPr/>
              <p:nvPr/>
            </p:nvSpPr>
            <p:spPr bwMode="auto">
              <a:xfrm>
                <a:off x="5229225" y="2270125"/>
                <a:ext cx="882650" cy="763588"/>
              </a:xfrm>
              <a:custGeom>
                <a:avLst/>
                <a:gdLst>
                  <a:gd name="T0" fmla="*/ 17 w 144"/>
                  <a:gd name="T1" fmla="*/ 0 h 125"/>
                  <a:gd name="T2" fmla="*/ 70 w 144"/>
                  <a:gd name="T3" fmla="*/ 85 h 125"/>
                  <a:gd name="T4" fmla="*/ 144 w 144"/>
                  <a:gd name="T5" fmla="*/ 29 h 125"/>
                  <a:gd name="T6" fmla="*/ 143 w 144"/>
                  <a:gd name="T7" fmla="*/ 36 h 125"/>
                  <a:gd name="T8" fmla="*/ 67 w 144"/>
                  <a:gd name="T9" fmla="*/ 125 h 125"/>
                  <a:gd name="T10" fmla="*/ 0 w 144"/>
                  <a:gd name="T11" fmla="*/ 6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4" h="125">
                    <a:moveTo>
                      <a:pt x="17" y="0"/>
                    </a:moveTo>
                    <a:cubicBezTo>
                      <a:pt x="40" y="23"/>
                      <a:pt x="56" y="54"/>
                      <a:pt x="70" y="85"/>
                    </a:cubicBezTo>
                    <a:cubicBezTo>
                      <a:pt x="93" y="65"/>
                      <a:pt x="120" y="48"/>
                      <a:pt x="144" y="29"/>
                    </a:cubicBezTo>
                    <a:cubicBezTo>
                      <a:pt x="143" y="36"/>
                      <a:pt x="143" y="36"/>
                      <a:pt x="143" y="36"/>
                    </a:cubicBezTo>
                    <a:cubicBezTo>
                      <a:pt x="128" y="71"/>
                      <a:pt x="88" y="123"/>
                      <a:pt x="67" y="125"/>
                    </a:cubicBezTo>
                    <a:cubicBezTo>
                      <a:pt x="57" y="125"/>
                      <a:pt x="18" y="89"/>
                      <a:pt x="0" y="65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2" name="išḷïdè">
                <a:extLst>
                  <a:ext uri="{FF2B5EF4-FFF2-40B4-BE49-F238E27FC236}">
                    <a16:creationId xmlns:a16="http://schemas.microsoft.com/office/drawing/2014/main" id="{B1B4CBC6-3A11-468B-A2C7-4C02AE46309B}"/>
                  </a:ext>
                </a:extLst>
              </p:cNvPr>
              <p:cNvSpPr/>
              <p:nvPr/>
            </p:nvSpPr>
            <p:spPr bwMode="auto">
              <a:xfrm>
                <a:off x="5259388" y="5408613"/>
                <a:ext cx="288925" cy="146050"/>
              </a:xfrm>
              <a:custGeom>
                <a:avLst/>
                <a:gdLst>
                  <a:gd name="T0" fmla="*/ 5 w 47"/>
                  <a:gd name="T1" fmla="*/ 0 h 24"/>
                  <a:gd name="T2" fmla="*/ 15 w 47"/>
                  <a:gd name="T3" fmla="*/ 0 h 24"/>
                  <a:gd name="T4" fmla="*/ 41 w 47"/>
                  <a:gd name="T5" fmla="*/ 15 h 24"/>
                  <a:gd name="T6" fmla="*/ 45 w 47"/>
                  <a:gd name="T7" fmla="*/ 22 h 24"/>
                  <a:gd name="T8" fmla="*/ 37 w 47"/>
                  <a:gd name="T9" fmla="*/ 24 h 24"/>
                  <a:gd name="T10" fmla="*/ 9 w 47"/>
                  <a:gd name="T11" fmla="*/ 21 h 24"/>
                  <a:gd name="T12" fmla="*/ 1 w 47"/>
                  <a:gd name="T13" fmla="*/ 15 h 24"/>
                  <a:gd name="T14" fmla="*/ 5 w 47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4">
                    <a:moveTo>
                      <a:pt x="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5" y="5"/>
                      <a:pt x="33" y="10"/>
                      <a:pt x="41" y="15"/>
                    </a:cubicBezTo>
                    <a:cubicBezTo>
                      <a:pt x="43" y="16"/>
                      <a:pt x="47" y="19"/>
                      <a:pt x="45" y="22"/>
                    </a:cubicBezTo>
                    <a:cubicBezTo>
                      <a:pt x="43" y="23"/>
                      <a:pt x="40" y="24"/>
                      <a:pt x="37" y="24"/>
                    </a:cubicBezTo>
                    <a:cubicBezTo>
                      <a:pt x="28" y="24"/>
                      <a:pt x="18" y="24"/>
                      <a:pt x="9" y="21"/>
                    </a:cubicBezTo>
                    <a:cubicBezTo>
                      <a:pt x="6" y="20"/>
                      <a:pt x="2" y="18"/>
                      <a:pt x="1" y="15"/>
                    </a:cubicBezTo>
                    <a:cubicBezTo>
                      <a:pt x="0" y="10"/>
                      <a:pt x="5" y="8"/>
                      <a:pt x="5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3" name="íšļídè">
                <a:extLst>
                  <a:ext uri="{FF2B5EF4-FFF2-40B4-BE49-F238E27FC236}">
                    <a16:creationId xmlns:a16="http://schemas.microsoft.com/office/drawing/2014/main" id="{D74F484C-E4E6-4395-81A3-5377D3FE8CBC}"/>
                  </a:ext>
                </a:extLst>
              </p:cNvPr>
              <p:cNvSpPr/>
              <p:nvPr/>
            </p:nvSpPr>
            <p:spPr bwMode="auto">
              <a:xfrm>
                <a:off x="4524375" y="5457825"/>
                <a:ext cx="288925" cy="146050"/>
              </a:xfrm>
              <a:custGeom>
                <a:avLst/>
                <a:gdLst>
                  <a:gd name="T0" fmla="*/ 5 w 47"/>
                  <a:gd name="T1" fmla="*/ 0 h 24"/>
                  <a:gd name="T2" fmla="*/ 15 w 47"/>
                  <a:gd name="T3" fmla="*/ 0 h 24"/>
                  <a:gd name="T4" fmla="*/ 40 w 47"/>
                  <a:gd name="T5" fmla="*/ 15 h 24"/>
                  <a:gd name="T6" fmla="*/ 44 w 47"/>
                  <a:gd name="T7" fmla="*/ 22 h 24"/>
                  <a:gd name="T8" fmla="*/ 37 w 47"/>
                  <a:gd name="T9" fmla="*/ 24 h 24"/>
                  <a:gd name="T10" fmla="*/ 9 w 47"/>
                  <a:gd name="T11" fmla="*/ 20 h 24"/>
                  <a:gd name="T12" fmla="*/ 1 w 47"/>
                  <a:gd name="T13" fmla="*/ 14 h 24"/>
                  <a:gd name="T14" fmla="*/ 5 w 47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4">
                    <a:moveTo>
                      <a:pt x="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5" y="5"/>
                      <a:pt x="33" y="10"/>
                      <a:pt x="40" y="15"/>
                    </a:cubicBezTo>
                    <a:cubicBezTo>
                      <a:pt x="43" y="16"/>
                      <a:pt x="47" y="19"/>
                      <a:pt x="44" y="22"/>
                    </a:cubicBezTo>
                    <a:cubicBezTo>
                      <a:pt x="42" y="23"/>
                      <a:pt x="39" y="24"/>
                      <a:pt x="37" y="24"/>
                    </a:cubicBezTo>
                    <a:cubicBezTo>
                      <a:pt x="27" y="23"/>
                      <a:pt x="18" y="24"/>
                      <a:pt x="9" y="20"/>
                    </a:cubicBezTo>
                    <a:cubicBezTo>
                      <a:pt x="6" y="19"/>
                      <a:pt x="2" y="17"/>
                      <a:pt x="1" y="14"/>
                    </a:cubicBezTo>
                    <a:cubicBezTo>
                      <a:pt x="0" y="10"/>
                      <a:pt x="5" y="7"/>
                      <a:pt x="5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4" name="ïṥ1îḑê">
                <a:extLst>
                  <a:ext uri="{FF2B5EF4-FFF2-40B4-BE49-F238E27FC236}">
                    <a16:creationId xmlns:a16="http://schemas.microsoft.com/office/drawing/2014/main" id="{87536F33-574A-4A40-8D63-5B3DD0BDBAE1}"/>
                  </a:ext>
                </a:extLst>
              </p:cNvPr>
              <p:cNvSpPr/>
              <p:nvPr/>
            </p:nvSpPr>
            <p:spPr bwMode="auto">
              <a:xfrm>
                <a:off x="4862513" y="3346450"/>
                <a:ext cx="593725" cy="2111375"/>
              </a:xfrm>
              <a:custGeom>
                <a:avLst/>
                <a:gdLst>
                  <a:gd name="T0" fmla="*/ 79 w 97"/>
                  <a:gd name="T1" fmla="*/ 12 h 345"/>
                  <a:gd name="T2" fmla="*/ 95 w 97"/>
                  <a:gd name="T3" fmla="*/ 167 h 345"/>
                  <a:gd name="T4" fmla="*/ 84 w 97"/>
                  <a:gd name="T5" fmla="*/ 341 h 345"/>
                  <a:gd name="T6" fmla="*/ 69 w 97"/>
                  <a:gd name="T7" fmla="*/ 342 h 345"/>
                  <a:gd name="T8" fmla="*/ 49 w 97"/>
                  <a:gd name="T9" fmla="*/ 209 h 345"/>
                  <a:gd name="T10" fmla="*/ 51 w 97"/>
                  <a:gd name="T11" fmla="*/ 186 h 345"/>
                  <a:gd name="T12" fmla="*/ 10 w 97"/>
                  <a:gd name="T1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345">
                    <a:moveTo>
                      <a:pt x="79" y="12"/>
                    </a:moveTo>
                    <a:cubicBezTo>
                      <a:pt x="93" y="83"/>
                      <a:pt x="93" y="115"/>
                      <a:pt x="95" y="167"/>
                    </a:cubicBezTo>
                    <a:cubicBezTo>
                      <a:pt x="97" y="231"/>
                      <a:pt x="87" y="290"/>
                      <a:pt x="84" y="341"/>
                    </a:cubicBezTo>
                    <a:cubicBezTo>
                      <a:pt x="84" y="341"/>
                      <a:pt x="76" y="345"/>
                      <a:pt x="69" y="342"/>
                    </a:cubicBezTo>
                    <a:cubicBezTo>
                      <a:pt x="62" y="310"/>
                      <a:pt x="42" y="251"/>
                      <a:pt x="49" y="209"/>
                    </a:cubicBezTo>
                    <a:cubicBezTo>
                      <a:pt x="50" y="201"/>
                      <a:pt x="51" y="194"/>
                      <a:pt x="51" y="186"/>
                    </a:cubicBezTo>
                    <a:cubicBezTo>
                      <a:pt x="51" y="168"/>
                      <a:pt x="0" y="82"/>
                      <a:pt x="10" y="0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5" name="îṣḷîḋê">
                <a:extLst>
                  <a:ext uri="{FF2B5EF4-FFF2-40B4-BE49-F238E27FC236}">
                    <a16:creationId xmlns:a16="http://schemas.microsoft.com/office/drawing/2014/main" id="{6FB30534-89D3-4700-A84A-0FCEE8CB3A8C}"/>
                  </a:ext>
                </a:extLst>
              </p:cNvPr>
              <p:cNvSpPr/>
              <p:nvPr/>
            </p:nvSpPr>
            <p:spPr bwMode="auto">
              <a:xfrm>
                <a:off x="4464050" y="3273425"/>
                <a:ext cx="623888" cy="2227263"/>
              </a:xfrm>
              <a:custGeom>
                <a:avLst/>
                <a:gdLst>
                  <a:gd name="T0" fmla="*/ 98 w 102"/>
                  <a:gd name="T1" fmla="*/ 0 h 364"/>
                  <a:gd name="T2" fmla="*/ 72 w 102"/>
                  <a:gd name="T3" fmla="*/ 200 h 364"/>
                  <a:gd name="T4" fmla="*/ 29 w 102"/>
                  <a:gd name="T5" fmla="*/ 361 h 364"/>
                  <a:gd name="T6" fmla="*/ 14 w 102"/>
                  <a:gd name="T7" fmla="*/ 361 h 364"/>
                  <a:gd name="T8" fmla="*/ 18 w 102"/>
                  <a:gd name="T9" fmla="*/ 217 h 364"/>
                  <a:gd name="T10" fmla="*/ 24 w 102"/>
                  <a:gd name="T11" fmla="*/ 195 h 364"/>
                  <a:gd name="T12" fmla="*/ 4 w 102"/>
                  <a:gd name="T13" fmla="*/ 71 h 364"/>
                  <a:gd name="T14" fmla="*/ 29 w 102"/>
                  <a:gd name="T15" fmla="*/ 11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364">
                    <a:moveTo>
                      <a:pt x="98" y="0"/>
                    </a:moveTo>
                    <a:cubicBezTo>
                      <a:pt x="102" y="46"/>
                      <a:pt x="80" y="158"/>
                      <a:pt x="72" y="200"/>
                    </a:cubicBezTo>
                    <a:cubicBezTo>
                      <a:pt x="60" y="257"/>
                      <a:pt x="31" y="352"/>
                      <a:pt x="29" y="361"/>
                    </a:cubicBezTo>
                    <a:cubicBezTo>
                      <a:pt x="26" y="364"/>
                      <a:pt x="14" y="361"/>
                      <a:pt x="14" y="361"/>
                    </a:cubicBezTo>
                    <a:cubicBezTo>
                      <a:pt x="14" y="318"/>
                      <a:pt x="3" y="258"/>
                      <a:pt x="18" y="217"/>
                    </a:cubicBezTo>
                    <a:cubicBezTo>
                      <a:pt x="21" y="210"/>
                      <a:pt x="24" y="203"/>
                      <a:pt x="24" y="195"/>
                    </a:cubicBezTo>
                    <a:cubicBezTo>
                      <a:pt x="25" y="188"/>
                      <a:pt x="0" y="106"/>
                      <a:pt x="4" y="71"/>
                    </a:cubicBezTo>
                    <a:cubicBezTo>
                      <a:pt x="7" y="53"/>
                      <a:pt x="13" y="31"/>
                      <a:pt x="29" y="11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6" name="ï$ļíḑê">
                <a:extLst>
                  <a:ext uri="{FF2B5EF4-FFF2-40B4-BE49-F238E27FC236}">
                    <a16:creationId xmlns:a16="http://schemas.microsoft.com/office/drawing/2014/main" id="{A1C24CDE-A7E3-48EA-8917-C1FC5076BC66}"/>
                  </a:ext>
                </a:extLst>
              </p:cNvPr>
              <p:cNvSpPr/>
              <p:nvPr/>
            </p:nvSpPr>
            <p:spPr bwMode="auto">
              <a:xfrm>
                <a:off x="4579938" y="3498850"/>
                <a:ext cx="196850" cy="115888"/>
              </a:xfrm>
              <a:custGeom>
                <a:avLst/>
                <a:gdLst>
                  <a:gd name="T0" fmla="*/ 1 w 32"/>
                  <a:gd name="T1" fmla="*/ 14 h 19"/>
                  <a:gd name="T2" fmla="*/ 14 w 32"/>
                  <a:gd name="T3" fmla="*/ 17 h 19"/>
                  <a:gd name="T4" fmla="*/ 25 w 32"/>
                  <a:gd name="T5" fmla="*/ 17 h 19"/>
                  <a:gd name="T6" fmla="*/ 31 w 32"/>
                  <a:gd name="T7" fmla="*/ 2 h 19"/>
                  <a:gd name="T8" fmla="*/ 30 w 32"/>
                  <a:gd name="T9" fmla="*/ 1 h 19"/>
                  <a:gd name="T10" fmla="*/ 28 w 32"/>
                  <a:gd name="T11" fmla="*/ 9 h 19"/>
                  <a:gd name="T12" fmla="*/ 21 w 32"/>
                  <a:gd name="T13" fmla="*/ 15 h 19"/>
                  <a:gd name="T14" fmla="*/ 2 w 32"/>
                  <a:gd name="T15" fmla="*/ 12 h 19"/>
                  <a:gd name="T16" fmla="*/ 1 w 32"/>
                  <a:gd name="T17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19">
                    <a:moveTo>
                      <a:pt x="1" y="14"/>
                    </a:moveTo>
                    <a:cubicBezTo>
                      <a:pt x="5" y="16"/>
                      <a:pt x="10" y="16"/>
                      <a:pt x="14" y="17"/>
                    </a:cubicBezTo>
                    <a:cubicBezTo>
                      <a:pt x="17" y="17"/>
                      <a:pt x="22" y="19"/>
                      <a:pt x="25" y="17"/>
                    </a:cubicBezTo>
                    <a:cubicBezTo>
                      <a:pt x="30" y="15"/>
                      <a:pt x="32" y="6"/>
                      <a:pt x="31" y="2"/>
                    </a:cubicBezTo>
                    <a:cubicBezTo>
                      <a:pt x="31" y="1"/>
                      <a:pt x="30" y="0"/>
                      <a:pt x="30" y="1"/>
                    </a:cubicBezTo>
                    <a:cubicBezTo>
                      <a:pt x="29" y="4"/>
                      <a:pt x="28" y="6"/>
                      <a:pt x="28" y="9"/>
                    </a:cubicBezTo>
                    <a:cubicBezTo>
                      <a:pt x="26" y="13"/>
                      <a:pt x="25" y="15"/>
                      <a:pt x="21" y="15"/>
                    </a:cubicBezTo>
                    <a:cubicBezTo>
                      <a:pt x="14" y="15"/>
                      <a:pt x="8" y="14"/>
                      <a:pt x="2" y="12"/>
                    </a:cubicBezTo>
                    <a:cubicBezTo>
                      <a:pt x="1" y="12"/>
                      <a:pt x="0" y="14"/>
                      <a:pt x="1" y="14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7" name="íṥḷíḓé">
                <a:extLst>
                  <a:ext uri="{FF2B5EF4-FFF2-40B4-BE49-F238E27FC236}">
                    <a16:creationId xmlns:a16="http://schemas.microsoft.com/office/drawing/2014/main" id="{FDBC956D-7DBE-4118-AEA5-60E7F8D4BB0C}"/>
                  </a:ext>
                </a:extLst>
              </p:cNvPr>
              <p:cNvSpPr/>
              <p:nvPr/>
            </p:nvSpPr>
            <p:spPr bwMode="auto">
              <a:xfrm>
                <a:off x="4995863" y="3713163"/>
                <a:ext cx="49213" cy="269875"/>
              </a:xfrm>
              <a:custGeom>
                <a:avLst/>
                <a:gdLst>
                  <a:gd name="T0" fmla="*/ 7 w 8"/>
                  <a:gd name="T1" fmla="*/ 1 h 44"/>
                  <a:gd name="T2" fmla="*/ 3 w 8"/>
                  <a:gd name="T3" fmla="*/ 23 h 44"/>
                  <a:gd name="T4" fmla="*/ 1 w 8"/>
                  <a:gd name="T5" fmla="*/ 43 h 44"/>
                  <a:gd name="T6" fmla="*/ 3 w 8"/>
                  <a:gd name="T7" fmla="*/ 43 h 44"/>
                  <a:gd name="T8" fmla="*/ 6 w 8"/>
                  <a:gd name="T9" fmla="*/ 24 h 44"/>
                  <a:gd name="T10" fmla="*/ 8 w 8"/>
                  <a:gd name="T11" fmla="*/ 1 h 44"/>
                  <a:gd name="T12" fmla="*/ 7 w 8"/>
                  <a:gd name="T13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4">
                    <a:moveTo>
                      <a:pt x="7" y="1"/>
                    </a:moveTo>
                    <a:cubicBezTo>
                      <a:pt x="5" y="8"/>
                      <a:pt x="4" y="16"/>
                      <a:pt x="3" y="23"/>
                    </a:cubicBezTo>
                    <a:cubicBezTo>
                      <a:pt x="2" y="29"/>
                      <a:pt x="0" y="38"/>
                      <a:pt x="1" y="43"/>
                    </a:cubicBezTo>
                    <a:cubicBezTo>
                      <a:pt x="1" y="44"/>
                      <a:pt x="2" y="44"/>
                      <a:pt x="3" y="43"/>
                    </a:cubicBezTo>
                    <a:cubicBezTo>
                      <a:pt x="5" y="38"/>
                      <a:pt x="5" y="29"/>
                      <a:pt x="6" y="24"/>
                    </a:cubicBezTo>
                    <a:cubicBezTo>
                      <a:pt x="6" y="16"/>
                      <a:pt x="7" y="8"/>
                      <a:pt x="8" y="1"/>
                    </a:cubicBezTo>
                    <a:cubicBezTo>
                      <a:pt x="8" y="0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8" name="ïSlíďè">
                <a:extLst>
                  <a:ext uri="{FF2B5EF4-FFF2-40B4-BE49-F238E27FC236}">
                    <a16:creationId xmlns:a16="http://schemas.microsoft.com/office/drawing/2014/main" id="{867DEC57-1658-45BF-9AC8-EFC035307CDC}"/>
                  </a:ext>
                </a:extLst>
              </p:cNvPr>
              <p:cNvSpPr/>
              <p:nvPr/>
            </p:nvSpPr>
            <p:spPr bwMode="auto">
              <a:xfrm>
                <a:off x="4476750" y="2171700"/>
                <a:ext cx="923925" cy="1400175"/>
              </a:xfrm>
              <a:custGeom>
                <a:avLst/>
                <a:gdLst>
                  <a:gd name="T0" fmla="*/ 38 w 151"/>
                  <a:gd name="T1" fmla="*/ 12 h 229"/>
                  <a:gd name="T2" fmla="*/ 60 w 151"/>
                  <a:gd name="T3" fmla="*/ 1 h 229"/>
                  <a:gd name="T4" fmla="*/ 98 w 151"/>
                  <a:gd name="T5" fmla="*/ 2 h 229"/>
                  <a:gd name="T6" fmla="*/ 104 w 151"/>
                  <a:gd name="T7" fmla="*/ 2 h 229"/>
                  <a:gd name="T8" fmla="*/ 112 w 151"/>
                  <a:gd name="T9" fmla="*/ 5 h 229"/>
                  <a:gd name="T10" fmla="*/ 134 w 151"/>
                  <a:gd name="T11" fmla="*/ 20 h 229"/>
                  <a:gd name="T12" fmla="*/ 143 w 151"/>
                  <a:gd name="T13" fmla="*/ 45 h 229"/>
                  <a:gd name="T14" fmla="*/ 145 w 151"/>
                  <a:gd name="T15" fmla="*/ 75 h 229"/>
                  <a:gd name="T16" fmla="*/ 148 w 151"/>
                  <a:gd name="T17" fmla="*/ 134 h 229"/>
                  <a:gd name="T18" fmla="*/ 145 w 151"/>
                  <a:gd name="T19" fmla="*/ 191 h 229"/>
                  <a:gd name="T20" fmla="*/ 145 w 151"/>
                  <a:gd name="T21" fmla="*/ 195 h 229"/>
                  <a:gd name="T22" fmla="*/ 148 w 151"/>
                  <a:gd name="T23" fmla="*/ 202 h 229"/>
                  <a:gd name="T24" fmla="*/ 130 w 151"/>
                  <a:gd name="T25" fmla="*/ 222 h 229"/>
                  <a:gd name="T26" fmla="*/ 97 w 151"/>
                  <a:gd name="T27" fmla="*/ 226 h 229"/>
                  <a:gd name="T28" fmla="*/ 92 w 151"/>
                  <a:gd name="T29" fmla="*/ 225 h 229"/>
                  <a:gd name="T30" fmla="*/ 85 w 151"/>
                  <a:gd name="T31" fmla="*/ 226 h 229"/>
                  <a:gd name="T32" fmla="*/ 20 w 151"/>
                  <a:gd name="T33" fmla="*/ 218 h 229"/>
                  <a:gd name="T34" fmla="*/ 7 w 151"/>
                  <a:gd name="T35" fmla="*/ 216 h 229"/>
                  <a:gd name="T36" fmla="*/ 3 w 151"/>
                  <a:gd name="T37" fmla="*/ 205 h 229"/>
                  <a:gd name="T38" fmla="*/ 5 w 151"/>
                  <a:gd name="T39" fmla="*/ 202 h 229"/>
                  <a:gd name="T40" fmla="*/ 5 w 151"/>
                  <a:gd name="T41" fmla="*/ 197 h 229"/>
                  <a:gd name="T42" fmla="*/ 3 w 151"/>
                  <a:gd name="T43" fmla="*/ 164 h 229"/>
                  <a:gd name="T44" fmla="*/ 1 w 151"/>
                  <a:gd name="T45" fmla="*/ 103 h 229"/>
                  <a:gd name="T46" fmla="*/ 2 w 151"/>
                  <a:gd name="T47" fmla="*/ 72 h 229"/>
                  <a:gd name="T48" fmla="*/ 3 w 151"/>
                  <a:gd name="T49" fmla="*/ 43 h 229"/>
                  <a:gd name="T50" fmla="*/ 15 w 151"/>
                  <a:gd name="T51" fmla="*/ 25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1" h="229">
                    <a:moveTo>
                      <a:pt x="38" y="12"/>
                    </a:moveTo>
                    <a:cubicBezTo>
                      <a:pt x="46" y="4"/>
                      <a:pt x="48" y="3"/>
                      <a:pt x="60" y="1"/>
                    </a:cubicBezTo>
                    <a:cubicBezTo>
                      <a:pt x="68" y="0"/>
                      <a:pt x="89" y="3"/>
                      <a:pt x="98" y="2"/>
                    </a:cubicBezTo>
                    <a:cubicBezTo>
                      <a:pt x="100" y="1"/>
                      <a:pt x="102" y="1"/>
                      <a:pt x="104" y="2"/>
                    </a:cubicBezTo>
                    <a:cubicBezTo>
                      <a:pt x="107" y="2"/>
                      <a:pt x="110" y="4"/>
                      <a:pt x="112" y="5"/>
                    </a:cubicBezTo>
                    <a:cubicBezTo>
                      <a:pt x="120" y="10"/>
                      <a:pt x="127" y="15"/>
                      <a:pt x="134" y="20"/>
                    </a:cubicBezTo>
                    <a:cubicBezTo>
                      <a:pt x="142" y="25"/>
                      <a:pt x="142" y="36"/>
                      <a:pt x="143" y="45"/>
                    </a:cubicBezTo>
                    <a:cubicBezTo>
                      <a:pt x="144" y="55"/>
                      <a:pt x="145" y="65"/>
                      <a:pt x="145" y="75"/>
                    </a:cubicBezTo>
                    <a:cubicBezTo>
                      <a:pt x="147" y="95"/>
                      <a:pt x="148" y="115"/>
                      <a:pt x="148" y="134"/>
                    </a:cubicBezTo>
                    <a:cubicBezTo>
                      <a:pt x="148" y="153"/>
                      <a:pt x="147" y="172"/>
                      <a:pt x="145" y="191"/>
                    </a:cubicBezTo>
                    <a:cubicBezTo>
                      <a:pt x="145" y="192"/>
                      <a:pt x="145" y="194"/>
                      <a:pt x="145" y="195"/>
                    </a:cubicBezTo>
                    <a:cubicBezTo>
                      <a:pt x="146" y="197"/>
                      <a:pt x="148" y="199"/>
                      <a:pt x="148" y="202"/>
                    </a:cubicBezTo>
                    <a:cubicBezTo>
                      <a:pt x="151" y="213"/>
                      <a:pt x="138" y="219"/>
                      <a:pt x="130" y="222"/>
                    </a:cubicBezTo>
                    <a:cubicBezTo>
                      <a:pt x="120" y="226"/>
                      <a:pt x="108" y="228"/>
                      <a:pt x="97" y="226"/>
                    </a:cubicBezTo>
                    <a:cubicBezTo>
                      <a:pt x="95" y="226"/>
                      <a:pt x="94" y="225"/>
                      <a:pt x="92" y="225"/>
                    </a:cubicBezTo>
                    <a:cubicBezTo>
                      <a:pt x="89" y="225"/>
                      <a:pt x="87" y="226"/>
                      <a:pt x="85" y="226"/>
                    </a:cubicBezTo>
                    <a:cubicBezTo>
                      <a:pt x="63" y="229"/>
                      <a:pt x="42" y="219"/>
                      <a:pt x="20" y="218"/>
                    </a:cubicBezTo>
                    <a:cubicBezTo>
                      <a:pt x="15" y="218"/>
                      <a:pt x="11" y="218"/>
                      <a:pt x="7" y="216"/>
                    </a:cubicBezTo>
                    <a:cubicBezTo>
                      <a:pt x="3" y="214"/>
                      <a:pt x="0" y="208"/>
                      <a:pt x="3" y="205"/>
                    </a:cubicBezTo>
                    <a:cubicBezTo>
                      <a:pt x="3" y="204"/>
                      <a:pt x="4" y="203"/>
                      <a:pt x="5" y="202"/>
                    </a:cubicBezTo>
                    <a:cubicBezTo>
                      <a:pt x="6" y="201"/>
                      <a:pt x="6" y="199"/>
                      <a:pt x="5" y="197"/>
                    </a:cubicBezTo>
                    <a:cubicBezTo>
                      <a:pt x="5" y="186"/>
                      <a:pt x="4" y="175"/>
                      <a:pt x="3" y="164"/>
                    </a:cubicBezTo>
                    <a:cubicBezTo>
                      <a:pt x="2" y="144"/>
                      <a:pt x="0" y="123"/>
                      <a:pt x="1" y="103"/>
                    </a:cubicBezTo>
                    <a:cubicBezTo>
                      <a:pt x="1" y="93"/>
                      <a:pt x="1" y="82"/>
                      <a:pt x="2" y="72"/>
                    </a:cubicBezTo>
                    <a:cubicBezTo>
                      <a:pt x="3" y="63"/>
                      <a:pt x="3" y="53"/>
                      <a:pt x="3" y="43"/>
                    </a:cubicBezTo>
                    <a:cubicBezTo>
                      <a:pt x="3" y="35"/>
                      <a:pt x="9" y="31"/>
                      <a:pt x="15" y="25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9" name="îsľíďè">
                <a:extLst>
                  <a:ext uri="{FF2B5EF4-FFF2-40B4-BE49-F238E27FC236}">
                    <a16:creationId xmlns:a16="http://schemas.microsoft.com/office/drawing/2014/main" id="{4D237F15-B3EF-4A43-93D4-59515CE9E59D}"/>
                  </a:ext>
                </a:extLst>
              </p:cNvPr>
              <p:cNvSpPr/>
              <p:nvPr/>
            </p:nvSpPr>
            <p:spPr bwMode="auto">
              <a:xfrm>
                <a:off x="3765550" y="2336800"/>
                <a:ext cx="930275" cy="733425"/>
              </a:xfrm>
              <a:custGeom>
                <a:avLst/>
                <a:gdLst>
                  <a:gd name="T0" fmla="*/ 116 w 152"/>
                  <a:gd name="T1" fmla="*/ 0 h 120"/>
                  <a:gd name="T2" fmla="*/ 65 w 152"/>
                  <a:gd name="T3" fmla="*/ 76 h 120"/>
                  <a:gd name="T4" fmla="*/ 19 w 152"/>
                  <a:gd name="T5" fmla="*/ 49 h 120"/>
                  <a:gd name="T6" fmla="*/ 0 w 152"/>
                  <a:gd name="T7" fmla="*/ 50 h 120"/>
                  <a:gd name="T8" fmla="*/ 74 w 152"/>
                  <a:gd name="T9" fmla="*/ 120 h 120"/>
                  <a:gd name="T10" fmla="*/ 152 w 152"/>
                  <a:gd name="T11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2" h="120">
                    <a:moveTo>
                      <a:pt x="116" y="0"/>
                    </a:moveTo>
                    <a:cubicBezTo>
                      <a:pt x="116" y="0"/>
                      <a:pt x="85" y="45"/>
                      <a:pt x="65" y="76"/>
                    </a:cubicBezTo>
                    <a:cubicBezTo>
                      <a:pt x="40" y="59"/>
                      <a:pt x="19" y="49"/>
                      <a:pt x="19" y="49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24" y="79"/>
                      <a:pt x="49" y="112"/>
                      <a:pt x="74" y="120"/>
                    </a:cubicBezTo>
                    <a:cubicBezTo>
                      <a:pt x="83" y="120"/>
                      <a:pt x="127" y="80"/>
                      <a:pt x="152" y="52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>
                  <a:lnSpc>
                    <a:spcPct val="14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0" name="îSḻïďè">
                <a:extLst>
                  <a:ext uri="{FF2B5EF4-FFF2-40B4-BE49-F238E27FC236}">
                    <a16:creationId xmlns:a16="http://schemas.microsoft.com/office/drawing/2014/main" id="{7AEA1F17-D4F0-4FFC-A125-835EC42A51C9}"/>
                  </a:ext>
                </a:extLst>
              </p:cNvPr>
              <p:cNvSpPr/>
              <p:nvPr/>
            </p:nvSpPr>
            <p:spPr bwMode="auto">
              <a:xfrm>
                <a:off x="4260850" y="2165350"/>
                <a:ext cx="563563" cy="709613"/>
              </a:xfrm>
              <a:custGeom>
                <a:avLst/>
                <a:gdLst>
                  <a:gd name="T0" fmla="*/ 81 w 92"/>
                  <a:gd name="T1" fmla="*/ 78 h 116"/>
                  <a:gd name="T2" fmla="*/ 41 w 92"/>
                  <a:gd name="T3" fmla="*/ 116 h 116"/>
                  <a:gd name="T4" fmla="*/ 0 w 92"/>
                  <a:gd name="T5" fmla="*/ 77 h 116"/>
                  <a:gd name="T6" fmla="*/ 45 w 92"/>
                  <a:gd name="T7" fmla="*/ 18 h 116"/>
                  <a:gd name="T8" fmla="*/ 92 w 92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116">
                    <a:moveTo>
                      <a:pt x="81" y="78"/>
                    </a:moveTo>
                    <a:cubicBezTo>
                      <a:pt x="71" y="80"/>
                      <a:pt x="58" y="101"/>
                      <a:pt x="41" y="116"/>
                    </a:cubicBezTo>
                    <a:cubicBezTo>
                      <a:pt x="18" y="114"/>
                      <a:pt x="4" y="87"/>
                      <a:pt x="0" y="77"/>
                    </a:cubicBezTo>
                    <a:cubicBezTo>
                      <a:pt x="5" y="68"/>
                      <a:pt x="31" y="27"/>
                      <a:pt x="45" y="18"/>
                    </a:cubicBezTo>
                    <a:cubicBezTo>
                      <a:pt x="63" y="5"/>
                      <a:pt x="73" y="4"/>
                      <a:pt x="92" y="0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1" name="ïṡļiďê">
                <a:extLst>
                  <a:ext uri="{FF2B5EF4-FFF2-40B4-BE49-F238E27FC236}">
                    <a16:creationId xmlns:a16="http://schemas.microsoft.com/office/drawing/2014/main" id="{87CB4E77-6F9F-4AE4-A140-20D5F5A25B75}"/>
                  </a:ext>
                </a:extLst>
              </p:cNvPr>
              <p:cNvSpPr/>
              <p:nvPr/>
            </p:nvSpPr>
            <p:spPr bwMode="auto">
              <a:xfrm>
                <a:off x="5027613" y="2165350"/>
                <a:ext cx="544513" cy="636588"/>
              </a:xfrm>
              <a:custGeom>
                <a:avLst/>
                <a:gdLst>
                  <a:gd name="T0" fmla="*/ 0 w 89"/>
                  <a:gd name="T1" fmla="*/ 0 h 104"/>
                  <a:gd name="T2" fmla="*/ 55 w 89"/>
                  <a:gd name="T3" fmla="*/ 15 h 104"/>
                  <a:gd name="T4" fmla="*/ 89 w 89"/>
                  <a:gd name="T5" fmla="*/ 74 h 104"/>
                  <a:gd name="T6" fmla="*/ 49 w 89"/>
                  <a:gd name="T7" fmla="*/ 104 h 104"/>
                  <a:gd name="T8" fmla="*/ 28 w 89"/>
                  <a:gd name="T9" fmla="*/ 67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04">
                    <a:moveTo>
                      <a:pt x="0" y="0"/>
                    </a:moveTo>
                    <a:cubicBezTo>
                      <a:pt x="9" y="1"/>
                      <a:pt x="48" y="9"/>
                      <a:pt x="55" y="15"/>
                    </a:cubicBezTo>
                    <a:cubicBezTo>
                      <a:pt x="67" y="26"/>
                      <a:pt x="78" y="44"/>
                      <a:pt x="89" y="74"/>
                    </a:cubicBezTo>
                    <a:cubicBezTo>
                      <a:pt x="89" y="74"/>
                      <a:pt x="77" y="99"/>
                      <a:pt x="49" y="104"/>
                    </a:cubicBezTo>
                    <a:cubicBezTo>
                      <a:pt x="44" y="99"/>
                      <a:pt x="38" y="83"/>
                      <a:pt x="28" y="67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2" name="îšlïďé">
                <a:extLst>
                  <a:ext uri="{FF2B5EF4-FFF2-40B4-BE49-F238E27FC236}">
                    <a16:creationId xmlns:a16="http://schemas.microsoft.com/office/drawing/2014/main" id="{9DFDF15E-AFAC-49E7-B391-0CCCE9E67917}"/>
                  </a:ext>
                </a:extLst>
              </p:cNvPr>
              <p:cNvSpPr/>
              <p:nvPr/>
            </p:nvSpPr>
            <p:spPr bwMode="auto">
              <a:xfrm>
                <a:off x="4824413" y="1957388"/>
                <a:ext cx="263525" cy="306388"/>
              </a:xfrm>
              <a:custGeom>
                <a:avLst/>
                <a:gdLst>
                  <a:gd name="T0" fmla="*/ 5 w 43"/>
                  <a:gd name="T1" fmla="*/ 0 h 50"/>
                  <a:gd name="T2" fmla="*/ 0 w 43"/>
                  <a:gd name="T3" fmla="*/ 34 h 50"/>
                  <a:gd name="T4" fmla="*/ 11 w 43"/>
                  <a:gd name="T5" fmla="*/ 46 h 50"/>
                  <a:gd name="T6" fmla="*/ 41 w 43"/>
                  <a:gd name="T7" fmla="*/ 39 h 50"/>
                  <a:gd name="T8" fmla="*/ 40 w 43"/>
                  <a:gd name="T9" fmla="*/ 27 h 50"/>
                  <a:gd name="T10" fmla="*/ 35 w 43"/>
                  <a:gd name="T11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0">
                    <a:moveTo>
                      <a:pt x="5" y="0"/>
                    </a:moveTo>
                    <a:cubicBezTo>
                      <a:pt x="3" y="13"/>
                      <a:pt x="2" y="21"/>
                      <a:pt x="0" y="34"/>
                    </a:cubicBezTo>
                    <a:cubicBezTo>
                      <a:pt x="0" y="38"/>
                      <a:pt x="9" y="45"/>
                      <a:pt x="11" y="46"/>
                    </a:cubicBezTo>
                    <a:cubicBezTo>
                      <a:pt x="21" y="50"/>
                      <a:pt x="34" y="49"/>
                      <a:pt x="41" y="39"/>
                    </a:cubicBezTo>
                    <a:cubicBezTo>
                      <a:pt x="43" y="36"/>
                      <a:pt x="41" y="31"/>
                      <a:pt x="40" y="27"/>
                    </a:cubicBezTo>
                    <a:cubicBezTo>
                      <a:pt x="38" y="21"/>
                      <a:pt x="37" y="15"/>
                      <a:pt x="35" y="8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3" name="íṩḻíḓè">
                <a:extLst>
                  <a:ext uri="{FF2B5EF4-FFF2-40B4-BE49-F238E27FC236}">
                    <a16:creationId xmlns:a16="http://schemas.microsoft.com/office/drawing/2014/main" id="{1F3A9CF1-2979-43FF-B6EB-C07C90090C0B}"/>
                  </a:ext>
                </a:extLst>
              </p:cNvPr>
              <p:cNvSpPr/>
              <p:nvPr/>
            </p:nvSpPr>
            <p:spPr bwMode="auto">
              <a:xfrm>
                <a:off x="5094288" y="1743075"/>
                <a:ext cx="92075" cy="250825"/>
              </a:xfrm>
              <a:custGeom>
                <a:avLst/>
                <a:gdLst>
                  <a:gd name="T0" fmla="*/ 3 w 15"/>
                  <a:gd name="T1" fmla="*/ 0 h 41"/>
                  <a:gd name="T2" fmla="*/ 12 w 15"/>
                  <a:gd name="T3" fmla="*/ 10 h 41"/>
                  <a:gd name="T4" fmla="*/ 12 w 15"/>
                  <a:gd name="T5" fmla="*/ 17 h 41"/>
                  <a:gd name="T6" fmla="*/ 12 w 15"/>
                  <a:gd name="T7" fmla="*/ 19 h 41"/>
                  <a:gd name="T8" fmla="*/ 14 w 15"/>
                  <a:gd name="T9" fmla="*/ 21 h 41"/>
                  <a:gd name="T10" fmla="*/ 15 w 15"/>
                  <a:gd name="T11" fmla="*/ 28 h 41"/>
                  <a:gd name="T12" fmla="*/ 14 w 15"/>
                  <a:gd name="T13" fmla="*/ 35 h 41"/>
                  <a:gd name="T14" fmla="*/ 9 w 15"/>
                  <a:gd name="T15" fmla="*/ 40 h 41"/>
                  <a:gd name="T16" fmla="*/ 6 w 15"/>
                  <a:gd name="T17" fmla="*/ 40 h 41"/>
                  <a:gd name="T18" fmla="*/ 4 w 15"/>
                  <a:gd name="T19" fmla="*/ 39 h 41"/>
                  <a:gd name="T20" fmla="*/ 0 w 15"/>
                  <a:gd name="T21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41">
                    <a:moveTo>
                      <a:pt x="3" y="0"/>
                    </a:moveTo>
                    <a:cubicBezTo>
                      <a:pt x="7" y="2"/>
                      <a:pt x="11" y="5"/>
                      <a:pt x="12" y="10"/>
                    </a:cubicBezTo>
                    <a:cubicBezTo>
                      <a:pt x="12" y="13"/>
                      <a:pt x="12" y="15"/>
                      <a:pt x="12" y="17"/>
                    </a:cubicBezTo>
                    <a:cubicBezTo>
                      <a:pt x="12" y="18"/>
                      <a:pt x="12" y="19"/>
                      <a:pt x="12" y="19"/>
                    </a:cubicBezTo>
                    <a:cubicBezTo>
                      <a:pt x="13" y="20"/>
                      <a:pt x="13" y="21"/>
                      <a:pt x="14" y="21"/>
                    </a:cubicBezTo>
                    <a:cubicBezTo>
                      <a:pt x="15" y="23"/>
                      <a:pt x="15" y="25"/>
                      <a:pt x="15" y="28"/>
                    </a:cubicBezTo>
                    <a:cubicBezTo>
                      <a:pt x="15" y="30"/>
                      <a:pt x="15" y="32"/>
                      <a:pt x="14" y="35"/>
                    </a:cubicBezTo>
                    <a:cubicBezTo>
                      <a:pt x="13" y="37"/>
                      <a:pt x="11" y="39"/>
                      <a:pt x="9" y="40"/>
                    </a:cubicBezTo>
                    <a:cubicBezTo>
                      <a:pt x="8" y="40"/>
                      <a:pt x="7" y="41"/>
                      <a:pt x="6" y="40"/>
                    </a:cubicBezTo>
                    <a:cubicBezTo>
                      <a:pt x="5" y="40"/>
                      <a:pt x="5" y="39"/>
                      <a:pt x="4" y="39"/>
                    </a:cubicBezTo>
                    <a:cubicBezTo>
                      <a:pt x="3" y="37"/>
                      <a:pt x="1" y="35"/>
                      <a:pt x="0" y="32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4" name="îśḷíde">
                <a:extLst>
                  <a:ext uri="{FF2B5EF4-FFF2-40B4-BE49-F238E27FC236}">
                    <a16:creationId xmlns:a16="http://schemas.microsoft.com/office/drawing/2014/main" id="{7F438D5A-11CA-447F-9815-EA56B0442365}"/>
                  </a:ext>
                </a:extLst>
              </p:cNvPr>
              <p:cNvSpPr/>
              <p:nvPr/>
            </p:nvSpPr>
            <p:spPr bwMode="auto">
              <a:xfrm>
                <a:off x="4781550" y="1693863"/>
                <a:ext cx="374650" cy="447675"/>
              </a:xfrm>
              <a:custGeom>
                <a:avLst/>
                <a:gdLst>
                  <a:gd name="T0" fmla="*/ 60 w 61"/>
                  <a:gd name="T1" fmla="*/ 44 h 73"/>
                  <a:gd name="T2" fmla="*/ 59 w 61"/>
                  <a:gd name="T3" fmla="*/ 22 h 73"/>
                  <a:gd name="T4" fmla="*/ 44 w 61"/>
                  <a:gd name="T5" fmla="*/ 3 h 73"/>
                  <a:gd name="T6" fmla="*/ 15 w 61"/>
                  <a:gd name="T7" fmla="*/ 7 h 73"/>
                  <a:gd name="T8" fmla="*/ 8 w 61"/>
                  <a:gd name="T9" fmla="*/ 49 h 73"/>
                  <a:gd name="T10" fmla="*/ 27 w 61"/>
                  <a:gd name="T11" fmla="*/ 70 h 73"/>
                  <a:gd name="T12" fmla="*/ 58 w 61"/>
                  <a:gd name="T13" fmla="*/ 66 h 73"/>
                  <a:gd name="T14" fmla="*/ 60 w 61"/>
                  <a:gd name="T15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73">
                    <a:moveTo>
                      <a:pt x="60" y="44"/>
                    </a:moveTo>
                    <a:cubicBezTo>
                      <a:pt x="59" y="36"/>
                      <a:pt x="60" y="29"/>
                      <a:pt x="59" y="22"/>
                    </a:cubicBezTo>
                    <a:cubicBezTo>
                      <a:pt x="57" y="13"/>
                      <a:pt x="53" y="5"/>
                      <a:pt x="44" y="3"/>
                    </a:cubicBezTo>
                    <a:cubicBezTo>
                      <a:pt x="34" y="0"/>
                      <a:pt x="23" y="1"/>
                      <a:pt x="15" y="7"/>
                    </a:cubicBezTo>
                    <a:cubicBezTo>
                      <a:pt x="1" y="16"/>
                      <a:pt x="0" y="36"/>
                      <a:pt x="8" y="49"/>
                    </a:cubicBezTo>
                    <a:cubicBezTo>
                      <a:pt x="17" y="63"/>
                      <a:pt x="22" y="68"/>
                      <a:pt x="27" y="70"/>
                    </a:cubicBezTo>
                    <a:cubicBezTo>
                      <a:pt x="34" y="73"/>
                      <a:pt x="54" y="70"/>
                      <a:pt x="58" y="66"/>
                    </a:cubicBezTo>
                    <a:cubicBezTo>
                      <a:pt x="60" y="62"/>
                      <a:pt x="61" y="48"/>
                      <a:pt x="60" y="44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5" name="íṡľíḓé">
                <a:extLst>
                  <a:ext uri="{FF2B5EF4-FFF2-40B4-BE49-F238E27FC236}">
                    <a16:creationId xmlns:a16="http://schemas.microsoft.com/office/drawing/2014/main" id="{671B59DB-0AE9-45AF-8B97-D85FA2070F9B}"/>
                  </a:ext>
                </a:extLst>
              </p:cNvPr>
              <p:cNvSpPr/>
              <p:nvPr/>
            </p:nvSpPr>
            <p:spPr bwMode="auto">
              <a:xfrm>
                <a:off x="4745038" y="1627188"/>
                <a:ext cx="447675" cy="396875"/>
              </a:xfrm>
              <a:custGeom>
                <a:avLst/>
                <a:gdLst>
                  <a:gd name="T0" fmla="*/ 71 w 73"/>
                  <a:gd name="T1" fmla="*/ 2 h 65"/>
                  <a:gd name="T2" fmla="*/ 71 w 73"/>
                  <a:gd name="T3" fmla="*/ 1 h 65"/>
                  <a:gd name="T4" fmla="*/ 70 w 73"/>
                  <a:gd name="T5" fmla="*/ 1 h 65"/>
                  <a:gd name="T6" fmla="*/ 39 w 73"/>
                  <a:gd name="T7" fmla="*/ 1 h 65"/>
                  <a:gd name="T8" fmla="*/ 25 w 73"/>
                  <a:gd name="T9" fmla="*/ 1 h 65"/>
                  <a:gd name="T10" fmla="*/ 21 w 73"/>
                  <a:gd name="T11" fmla="*/ 2 h 65"/>
                  <a:gd name="T12" fmla="*/ 16 w 73"/>
                  <a:gd name="T13" fmla="*/ 9 h 65"/>
                  <a:gd name="T14" fmla="*/ 3 w 73"/>
                  <a:gd name="T15" fmla="*/ 15 h 65"/>
                  <a:gd name="T16" fmla="*/ 1 w 73"/>
                  <a:gd name="T17" fmla="*/ 28 h 65"/>
                  <a:gd name="T18" fmla="*/ 2 w 73"/>
                  <a:gd name="T19" fmla="*/ 55 h 65"/>
                  <a:gd name="T20" fmla="*/ 4 w 73"/>
                  <a:gd name="T21" fmla="*/ 61 h 65"/>
                  <a:gd name="T22" fmla="*/ 16 w 73"/>
                  <a:gd name="T23" fmla="*/ 65 h 65"/>
                  <a:gd name="T24" fmla="*/ 17 w 73"/>
                  <a:gd name="T25" fmla="*/ 65 h 65"/>
                  <a:gd name="T26" fmla="*/ 18 w 73"/>
                  <a:gd name="T27" fmla="*/ 64 h 65"/>
                  <a:gd name="T28" fmla="*/ 18 w 73"/>
                  <a:gd name="T29" fmla="*/ 55 h 65"/>
                  <a:gd name="T30" fmla="*/ 19 w 73"/>
                  <a:gd name="T31" fmla="*/ 51 h 65"/>
                  <a:gd name="T32" fmla="*/ 22 w 73"/>
                  <a:gd name="T33" fmla="*/ 49 h 65"/>
                  <a:gd name="T34" fmla="*/ 24 w 73"/>
                  <a:gd name="T35" fmla="*/ 49 h 65"/>
                  <a:gd name="T36" fmla="*/ 25 w 73"/>
                  <a:gd name="T37" fmla="*/ 48 h 65"/>
                  <a:gd name="T38" fmla="*/ 26 w 73"/>
                  <a:gd name="T39" fmla="*/ 31 h 65"/>
                  <a:gd name="T40" fmla="*/ 38 w 73"/>
                  <a:gd name="T41" fmla="*/ 33 h 65"/>
                  <a:gd name="T42" fmla="*/ 51 w 73"/>
                  <a:gd name="T43" fmla="*/ 31 h 65"/>
                  <a:gd name="T44" fmla="*/ 66 w 73"/>
                  <a:gd name="T45" fmla="*/ 27 h 65"/>
                  <a:gd name="T46" fmla="*/ 72 w 73"/>
                  <a:gd name="T47" fmla="*/ 14 h 65"/>
                  <a:gd name="T48" fmla="*/ 71 w 73"/>
                  <a:gd name="T49" fmla="*/ 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" h="65">
                    <a:moveTo>
                      <a:pt x="71" y="2"/>
                    </a:moveTo>
                    <a:cubicBezTo>
                      <a:pt x="71" y="2"/>
                      <a:pt x="71" y="2"/>
                      <a:pt x="71" y="1"/>
                    </a:cubicBezTo>
                    <a:cubicBezTo>
                      <a:pt x="71" y="1"/>
                      <a:pt x="70" y="1"/>
                      <a:pt x="70" y="1"/>
                    </a:cubicBezTo>
                    <a:cubicBezTo>
                      <a:pt x="60" y="1"/>
                      <a:pt x="49" y="2"/>
                      <a:pt x="39" y="1"/>
                    </a:cubicBezTo>
                    <a:cubicBezTo>
                      <a:pt x="35" y="1"/>
                      <a:pt x="30" y="0"/>
                      <a:pt x="25" y="1"/>
                    </a:cubicBezTo>
                    <a:cubicBezTo>
                      <a:pt x="24" y="1"/>
                      <a:pt x="22" y="1"/>
                      <a:pt x="21" y="2"/>
                    </a:cubicBezTo>
                    <a:cubicBezTo>
                      <a:pt x="18" y="4"/>
                      <a:pt x="17" y="7"/>
                      <a:pt x="16" y="9"/>
                    </a:cubicBezTo>
                    <a:cubicBezTo>
                      <a:pt x="11" y="8"/>
                      <a:pt x="6" y="11"/>
                      <a:pt x="3" y="15"/>
                    </a:cubicBezTo>
                    <a:cubicBezTo>
                      <a:pt x="1" y="19"/>
                      <a:pt x="1" y="24"/>
                      <a:pt x="1" y="28"/>
                    </a:cubicBezTo>
                    <a:cubicBezTo>
                      <a:pt x="1" y="37"/>
                      <a:pt x="0" y="46"/>
                      <a:pt x="2" y="55"/>
                    </a:cubicBezTo>
                    <a:cubicBezTo>
                      <a:pt x="2" y="57"/>
                      <a:pt x="3" y="59"/>
                      <a:pt x="4" y="61"/>
                    </a:cubicBezTo>
                    <a:cubicBezTo>
                      <a:pt x="7" y="65"/>
                      <a:pt x="12" y="65"/>
                      <a:pt x="16" y="6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8" y="65"/>
                      <a:pt x="18" y="64"/>
                      <a:pt x="18" y="64"/>
                    </a:cubicBezTo>
                    <a:cubicBezTo>
                      <a:pt x="18" y="61"/>
                      <a:pt x="18" y="58"/>
                      <a:pt x="18" y="55"/>
                    </a:cubicBezTo>
                    <a:cubicBezTo>
                      <a:pt x="18" y="54"/>
                      <a:pt x="18" y="53"/>
                      <a:pt x="19" y="51"/>
                    </a:cubicBezTo>
                    <a:cubicBezTo>
                      <a:pt x="19" y="50"/>
                      <a:pt x="20" y="49"/>
                      <a:pt x="22" y="49"/>
                    </a:cubicBezTo>
                    <a:cubicBezTo>
                      <a:pt x="23" y="49"/>
                      <a:pt x="23" y="49"/>
                      <a:pt x="24" y="49"/>
                    </a:cubicBezTo>
                    <a:cubicBezTo>
                      <a:pt x="25" y="49"/>
                      <a:pt x="25" y="48"/>
                      <a:pt x="25" y="48"/>
                    </a:cubicBezTo>
                    <a:cubicBezTo>
                      <a:pt x="28" y="41"/>
                      <a:pt x="26" y="31"/>
                      <a:pt x="26" y="31"/>
                    </a:cubicBezTo>
                    <a:cubicBezTo>
                      <a:pt x="30" y="32"/>
                      <a:pt x="34" y="33"/>
                      <a:pt x="38" y="33"/>
                    </a:cubicBezTo>
                    <a:cubicBezTo>
                      <a:pt x="43" y="32"/>
                      <a:pt x="47" y="32"/>
                      <a:pt x="51" y="31"/>
                    </a:cubicBezTo>
                    <a:cubicBezTo>
                      <a:pt x="56" y="30"/>
                      <a:pt x="62" y="30"/>
                      <a:pt x="66" y="27"/>
                    </a:cubicBezTo>
                    <a:cubicBezTo>
                      <a:pt x="71" y="24"/>
                      <a:pt x="72" y="19"/>
                      <a:pt x="72" y="14"/>
                    </a:cubicBezTo>
                    <a:cubicBezTo>
                      <a:pt x="72" y="10"/>
                      <a:pt x="73" y="6"/>
                      <a:pt x="71" y="2"/>
                    </a:cubicBezTo>
                    <a:close/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6" name="ïṩļíḑè">
                <a:extLst>
                  <a:ext uri="{FF2B5EF4-FFF2-40B4-BE49-F238E27FC236}">
                    <a16:creationId xmlns:a16="http://schemas.microsoft.com/office/drawing/2014/main" id="{6CED7952-8D6C-44C0-9451-98CCF13BF1F5}"/>
                  </a:ext>
                </a:extLst>
              </p:cNvPr>
              <p:cNvSpPr/>
              <p:nvPr/>
            </p:nvSpPr>
            <p:spPr bwMode="auto">
              <a:xfrm>
                <a:off x="5087938" y="1871663"/>
                <a:ext cx="42863" cy="49213"/>
              </a:xfrm>
              <a:custGeom>
                <a:avLst/>
                <a:gdLst>
                  <a:gd name="T0" fmla="*/ 4 w 7"/>
                  <a:gd name="T1" fmla="*/ 1 h 8"/>
                  <a:gd name="T2" fmla="*/ 0 w 7"/>
                  <a:gd name="T3" fmla="*/ 3 h 8"/>
                  <a:gd name="T4" fmla="*/ 3 w 7"/>
                  <a:gd name="T5" fmla="*/ 8 h 8"/>
                  <a:gd name="T6" fmla="*/ 4 w 7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4" y="1"/>
                    </a:moveTo>
                    <a:cubicBezTo>
                      <a:pt x="3" y="0"/>
                      <a:pt x="1" y="0"/>
                      <a:pt x="0" y="3"/>
                    </a:cubicBezTo>
                    <a:cubicBezTo>
                      <a:pt x="0" y="4"/>
                      <a:pt x="0" y="8"/>
                      <a:pt x="3" y="8"/>
                    </a:cubicBezTo>
                    <a:cubicBezTo>
                      <a:pt x="7" y="8"/>
                      <a:pt x="6" y="3"/>
                      <a:pt x="4" y="1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7" name="ïş1íḑe">
                <a:extLst>
                  <a:ext uri="{FF2B5EF4-FFF2-40B4-BE49-F238E27FC236}">
                    <a16:creationId xmlns:a16="http://schemas.microsoft.com/office/drawing/2014/main" id="{A6186350-BA7A-4DDC-A49F-73AD8512B4AB}"/>
                  </a:ext>
                </a:extLst>
              </p:cNvPr>
              <p:cNvSpPr/>
              <p:nvPr/>
            </p:nvSpPr>
            <p:spPr bwMode="auto">
              <a:xfrm>
                <a:off x="5106988" y="1884363"/>
                <a:ext cx="17463" cy="23813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1 h 4"/>
                  <a:gd name="T4" fmla="*/ 1 w 3"/>
                  <a:gd name="T5" fmla="*/ 4 h 4"/>
                  <a:gd name="T6" fmla="*/ 1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2" y="1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8" name="iŝ1ïďè">
                <a:extLst>
                  <a:ext uri="{FF2B5EF4-FFF2-40B4-BE49-F238E27FC236}">
                    <a16:creationId xmlns:a16="http://schemas.microsoft.com/office/drawing/2014/main" id="{75B8F8D0-9AA9-4622-B0F8-AC838F7ADC72}"/>
                  </a:ext>
                </a:extLst>
              </p:cNvPr>
              <p:cNvSpPr/>
              <p:nvPr/>
            </p:nvSpPr>
            <p:spPr bwMode="auto">
              <a:xfrm>
                <a:off x="4941888" y="1890713"/>
                <a:ext cx="49213" cy="53975"/>
              </a:xfrm>
              <a:custGeom>
                <a:avLst/>
                <a:gdLst>
                  <a:gd name="T0" fmla="*/ 4 w 8"/>
                  <a:gd name="T1" fmla="*/ 2 h 9"/>
                  <a:gd name="T2" fmla="*/ 1 w 8"/>
                  <a:gd name="T3" fmla="*/ 3 h 9"/>
                  <a:gd name="T4" fmla="*/ 3 w 8"/>
                  <a:gd name="T5" fmla="*/ 9 h 9"/>
                  <a:gd name="T6" fmla="*/ 4 w 8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4" y="2"/>
                    </a:moveTo>
                    <a:cubicBezTo>
                      <a:pt x="3" y="0"/>
                      <a:pt x="1" y="0"/>
                      <a:pt x="1" y="3"/>
                    </a:cubicBezTo>
                    <a:cubicBezTo>
                      <a:pt x="0" y="6"/>
                      <a:pt x="0" y="9"/>
                      <a:pt x="3" y="9"/>
                    </a:cubicBezTo>
                    <a:cubicBezTo>
                      <a:pt x="8" y="9"/>
                      <a:pt x="6" y="4"/>
                      <a:pt x="4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9" name="í$ľíḋé">
                <a:extLst>
                  <a:ext uri="{FF2B5EF4-FFF2-40B4-BE49-F238E27FC236}">
                    <a16:creationId xmlns:a16="http://schemas.microsoft.com/office/drawing/2014/main" id="{CA89D22D-E904-44B7-942B-DFDD8B952F3E}"/>
                  </a:ext>
                </a:extLst>
              </p:cNvPr>
              <p:cNvSpPr/>
              <p:nvPr/>
            </p:nvSpPr>
            <p:spPr bwMode="auto">
              <a:xfrm>
                <a:off x="4959350" y="1908175"/>
                <a:ext cx="19050" cy="25400"/>
              </a:xfrm>
              <a:custGeom>
                <a:avLst/>
                <a:gdLst>
                  <a:gd name="T0" fmla="*/ 2 w 3"/>
                  <a:gd name="T1" fmla="*/ 0 h 4"/>
                  <a:gd name="T2" fmla="*/ 0 w 3"/>
                  <a:gd name="T3" fmla="*/ 1 h 4"/>
                  <a:gd name="T4" fmla="*/ 1 w 3"/>
                  <a:gd name="T5" fmla="*/ 4 h 4"/>
                  <a:gd name="T6" fmla="*/ 2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0" name="îṡlíḑé">
                <a:extLst>
                  <a:ext uri="{FF2B5EF4-FFF2-40B4-BE49-F238E27FC236}">
                    <a16:creationId xmlns:a16="http://schemas.microsoft.com/office/drawing/2014/main" id="{79262142-F730-4210-BC75-642FBF3682EF}"/>
                  </a:ext>
                </a:extLst>
              </p:cNvPr>
              <p:cNvSpPr/>
              <p:nvPr/>
            </p:nvSpPr>
            <p:spPr bwMode="auto">
              <a:xfrm>
                <a:off x="4905375" y="1847850"/>
                <a:ext cx="60325" cy="17463"/>
              </a:xfrm>
              <a:custGeom>
                <a:avLst/>
                <a:gdLst>
                  <a:gd name="T0" fmla="*/ 1 w 10"/>
                  <a:gd name="T1" fmla="*/ 2 h 3"/>
                  <a:gd name="T2" fmla="*/ 6 w 10"/>
                  <a:gd name="T3" fmla="*/ 2 h 3"/>
                  <a:gd name="T4" fmla="*/ 9 w 10"/>
                  <a:gd name="T5" fmla="*/ 3 h 3"/>
                  <a:gd name="T6" fmla="*/ 9 w 10"/>
                  <a:gd name="T7" fmla="*/ 1 h 3"/>
                  <a:gd name="T8" fmla="*/ 1 w 10"/>
                  <a:gd name="T9" fmla="*/ 0 h 3"/>
                  <a:gd name="T10" fmla="*/ 1 w 10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3">
                    <a:moveTo>
                      <a:pt x="1" y="2"/>
                    </a:moveTo>
                    <a:cubicBezTo>
                      <a:pt x="3" y="2"/>
                      <a:pt x="4" y="2"/>
                      <a:pt x="6" y="2"/>
                    </a:cubicBezTo>
                    <a:cubicBezTo>
                      <a:pt x="7" y="2"/>
                      <a:pt x="8" y="3"/>
                      <a:pt x="9" y="3"/>
                    </a:cubicBezTo>
                    <a:cubicBezTo>
                      <a:pt x="10" y="3"/>
                      <a:pt x="10" y="2"/>
                      <a:pt x="9" y="1"/>
                    </a:cubicBezTo>
                    <a:cubicBezTo>
                      <a:pt x="7" y="0"/>
                      <a:pt x="4" y="0"/>
                      <a:pt x="1" y="0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1" name="îś1îďè">
                <a:extLst>
                  <a:ext uri="{FF2B5EF4-FFF2-40B4-BE49-F238E27FC236}">
                    <a16:creationId xmlns:a16="http://schemas.microsoft.com/office/drawing/2014/main" id="{9AC53AF9-AD55-4596-8E74-531FE7401A83}"/>
                  </a:ext>
                </a:extLst>
              </p:cNvPr>
              <p:cNvSpPr/>
              <p:nvPr/>
            </p:nvSpPr>
            <p:spPr bwMode="auto">
              <a:xfrm>
                <a:off x="5076825" y="1809750"/>
                <a:ext cx="47625" cy="42863"/>
              </a:xfrm>
              <a:custGeom>
                <a:avLst/>
                <a:gdLst>
                  <a:gd name="T0" fmla="*/ 7 w 8"/>
                  <a:gd name="T1" fmla="*/ 2 h 7"/>
                  <a:gd name="T2" fmla="*/ 0 w 8"/>
                  <a:gd name="T3" fmla="*/ 6 h 7"/>
                  <a:gd name="T4" fmla="*/ 1 w 8"/>
                  <a:gd name="T5" fmla="*/ 7 h 7"/>
                  <a:gd name="T6" fmla="*/ 7 w 8"/>
                  <a:gd name="T7" fmla="*/ 3 h 7"/>
                  <a:gd name="T8" fmla="*/ 7 w 8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7" y="2"/>
                    </a:moveTo>
                    <a:cubicBezTo>
                      <a:pt x="4" y="0"/>
                      <a:pt x="1" y="3"/>
                      <a:pt x="0" y="6"/>
                    </a:cubicBezTo>
                    <a:cubicBezTo>
                      <a:pt x="0" y="7"/>
                      <a:pt x="1" y="7"/>
                      <a:pt x="1" y="7"/>
                    </a:cubicBezTo>
                    <a:cubicBezTo>
                      <a:pt x="3" y="6"/>
                      <a:pt x="4" y="3"/>
                      <a:pt x="7" y="3"/>
                    </a:cubicBezTo>
                    <a:cubicBezTo>
                      <a:pt x="8" y="3"/>
                      <a:pt x="8" y="2"/>
                      <a:pt x="7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2" name="ïsḻíḍé">
                <a:extLst>
                  <a:ext uri="{FF2B5EF4-FFF2-40B4-BE49-F238E27FC236}">
                    <a16:creationId xmlns:a16="http://schemas.microsoft.com/office/drawing/2014/main" id="{FC660BC7-3CC8-4910-B3CE-E665651BCBDD}"/>
                  </a:ext>
                </a:extLst>
              </p:cNvPr>
              <p:cNvSpPr/>
              <p:nvPr/>
            </p:nvSpPr>
            <p:spPr bwMode="auto">
              <a:xfrm>
                <a:off x="5038725" y="1933575"/>
                <a:ext cx="49213" cy="60325"/>
              </a:xfrm>
              <a:custGeom>
                <a:avLst/>
                <a:gdLst>
                  <a:gd name="T0" fmla="*/ 4 w 8"/>
                  <a:gd name="T1" fmla="*/ 0 h 10"/>
                  <a:gd name="T2" fmla="*/ 6 w 8"/>
                  <a:gd name="T3" fmla="*/ 2 h 10"/>
                  <a:gd name="T4" fmla="*/ 7 w 8"/>
                  <a:gd name="T5" fmla="*/ 4 h 10"/>
                  <a:gd name="T6" fmla="*/ 8 w 8"/>
                  <a:gd name="T7" fmla="*/ 7 h 10"/>
                  <a:gd name="T8" fmla="*/ 7 w 8"/>
                  <a:gd name="T9" fmla="*/ 9 h 10"/>
                  <a:gd name="T10" fmla="*/ 5 w 8"/>
                  <a:gd name="T11" fmla="*/ 9 h 10"/>
                  <a:gd name="T12" fmla="*/ 2 w 8"/>
                  <a:gd name="T13" fmla="*/ 9 h 10"/>
                  <a:gd name="T14" fmla="*/ 0 w 8"/>
                  <a:gd name="T15" fmla="*/ 9 h 10"/>
                  <a:gd name="T16" fmla="*/ 2 w 8"/>
                  <a:gd name="T17" fmla="*/ 8 h 10"/>
                  <a:gd name="T18" fmla="*/ 5 w 8"/>
                  <a:gd name="T19" fmla="*/ 8 h 10"/>
                  <a:gd name="T20" fmla="*/ 6 w 8"/>
                  <a:gd name="T21" fmla="*/ 7 h 10"/>
                  <a:gd name="T22" fmla="*/ 6 w 8"/>
                  <a:gd name="T23" fmla="*/ 7 h 10"/>
                  <a:gd name="T24" fmla="*/ 6 w 8"/>
                  <a:gd name="T25" fmla="*/ 5 h 10"/>
                  <a:gd name="T26" fmla="*/ 5 w 8"/>
                  <a:gd name="T27" fmla="*/ 2 h 10"/>
                  <a:gd name="T28" fmla="*/ 4 w 8"/>
                  <a:gd name="T2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cubicBezTo>
                      <a:pt x="4" y="0"/>
                      <a:pt x="5" y="1"/>
                      <a:pt x="6" y="2"/>
                    </a:cubicBezTo>
                    <a:cubicBezTo>
                      <a:pt x="6" y="3"/>
                      <a:pt x="7" y="3"/>
                      <a:pt x="7" y="4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8" y="8"/>
                      <a:pt x="7" y="9"/>
                      <a:pt x="7" y="9"/>
                    </a:cubicBezTo>
                    <a:cubicBezTo>
                      <a:pt x="6" y="9"/>
                      <a:pt x="5" y="9"/>
                      <a:pt x="5" y="9"/>
                    </a:cubicBezTo>
                    <a:cubicBezTo>
                      <a:pt x="4" y="10"/>
                      <a:pt x="3" y="10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9"/>
                      <a:pt x="1" y="9"/>
                      <a:pt x="2" y="8"/>
                    </a:cubicBezTo>
                    <a:cubicBezTo>
                      <a:pt x="3" y="8"/>
                      <a:pt x="4" y="8"/>
                      <a:pt x="5" y="8"/>
                    </a:cubicBezTo>
                    <a:cubicBezTo>
                      <a:pt x="5" y="8"/>
                      <a:pt x="5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6"/>
                      <a:pt x="6" y="6"/>
                      <a:pt x="6" y="5"/>
                    </a:cubicBezTo>
                    <a:cubicBezTo>
                      <a:pt x="6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3" name="íṩļîḋè">
                <a:extLst>
                  <a:ext uri="{FF2B5EF4-FFF2-40B4-BE49-F238E27FC236}">
                    <a16:creationId xmlns:a16="http://schemas.microsoft.com/office/drawing/2014/main" id="{B22D596E-2603-4298-A9A3-C1CFAFF20EB2}"/>
                  </a:ext>
                </a:extLst>
              </p:cNvPr>
              <p:cNvSpPr/>
              <p:nvPr/>
            </p:nvSpPr>
            <p:spPr bwMode="auto">
              <a:xfrm>
                <a:off x="4819650" y="1920875"/>
                <a:ext cx="85725" cy="103188"/>
              </a:xfrm>
              <a:custGeom>
                <a:avLst/>
                <a:gdLst>
                  <a:gd name="T0" fmla="*/ 9 w 14"/>
                  <a:gd name="T1" fmla="*/ 2 h 17"/>
                  <a:gd name="T2" fmla="*/ 7 w 14"/>
                  <a:gd name="T3" fmla="*/ 0 h 17"/>
                  <a:gd name="T4" fmla="*/ 3 w 14"/>
                  <a:gd name="T5" fmla="*/ 0 h 17"/>
                  <a:gd name="T6" fmla="*/ 2 w 14"/>
                  <a:gd name="T7" fmla="*/ 2 h 17"/>
                  <a:gd name="T8" fmla="*/ 1 w 14"/>
                  <a:gd name="T9" fmla="*/ 11 h 17"/>
                  <a:gd name="T10" fmla="*/ 7 w 14"/>
                  <a:gd name="T11" fmla="*/ 16 h 17"/>
                  <a:gd name="T12" fmla="*/ 14 w 14"/>
                  <a:gd name="T1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7">
                    <a:moveTo>
                      <a:pt x="9" y="2"/>
                    </a:moveTo>
                    <a:cubicBezTo>
                      <a:pt x="9" y="1"/>
                      <a:pt x="8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1" y="5"/>
                      <a:pt x="0" y="8"/>
                      <a:pt x="1" y="11"/>
                    </a:cubicBezTo>
                    <a:cubicBezTo>
                      <a:pt x="2" y="13"/>
                      <a:pt x="5" y="15"/>
                      <a:pt x="7" y="16"/>
                    </a:cubicBezTo>
                    <a:cubicBezTo>
                      <a:pt x="10" y="17"/>
                      <a:pt x="13" y="15"/>
                      <a:pt x="14" y="13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4" name="iṩľïďé">
                <a:extLst>
                  <a:ext uri="{FF2B5EF4-FFF2-40B4-BE49-F238E27FC236}">
                    <a16:creationId xmlns:a16="http://schemas.microsoft.com/office/drawing/2014/main" id="{4CC3137B-1754-4B30-8FA3-32B04DFC411B}"/>
                  </a:ext>
                </a:extLst>
              </p:cNvPr>
              <p:cNvSpPr/>
              <p:nvPr/>
            </p:nvSpPr>
            <p:spPr bwMode="auto">
              <a:xfrm>
                <a:off x="4813300" y="2103438"/>
                <a:ext cx="214313" cy="233363"/>
              </a:xfrm>
              <a:custGeom>
                <a:avLst/>
                <a:gdLst>
                  <a:gd name="T0" fmla="*/ 4 w 35"/>
                  <a:gd name="T1" fmla="*/ 0 h 38"/>
                  <a:gd name="T2" fmla="*/ 35 w 35"/>
                  <a:gd name="T3" fmla="*/ 22 h 38"/>
                  <a:gd name="T4" fmla="*/ 25 w 35"/>
                  <a:gd name="T5" fmla="*/ 38 h 38"/>
                  <a:gd name="T6" fmla="*/ 0 w 35"/>
                  <a:gd name="T7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38">
                    <a:moveTo>
                      <a:pt x="4" y="0"/>
                    </a:moveTo>
                    <a:cubicBezTo>
                      <a:pt x="12" y="7"/>
                      <a:pt x="25" y="19"/>
                      <a:pt x="35" y="22"/>
                    </a:cubicBezTo>
                    <a:cubicBezTo>
                      <a:pt x="29" y="24"/>
                      <a:pt x="25" y="33"/>
                      <a:pt x="25" y="38"/>
                    </a:cubicBezTo>
                    <a:cubicBezTo>
                      <a:pt x="16" y="33"/>
                      <a:pt x="6" y="20"/>
                      <a:pt x="0" y="1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5" name="iṥlïḑe">
                <a:extLst>
                  <a:ext uri="{FF2B5EF4-FFF2-40B4-BE49-F238E27FC236}">
                    <a16:creationId xmlns:a16="http://schemas.microsoft.com/office/drawing/2014/main" id="{14CC0C08-653F-44A2-86D2-D731A89EE769}"/>
                  </a:ext>
                </a:extLst>
              </p:cNvPr>
              <p:cNvSpPr/>
              <p:nvPr/>
            </p:nvSpPr>
            <p:spPr bwMode="auto">
              <a:xfrm>
                <a:off x="5027613" y="2135188"/>
                <a:ext cx="79375" cy="171450"/>
              </a:xfrm>
              <a:custGeom>
                <a:avLst/>
                <a:gdLst>
                  <a:gd name="T0" fmla="*/ 7 w 13"/>
                  <a:gd name="T1" fmla="*/ 0 h 28"/>
                  <a:gd name="T2" fmla="*/ 0 w 13"/>
                  <a:gd name="T3" fmla="*/ 17 h 28"/>
                  <a:gd name="T4" fmla="*/ 10 w 13"/>
                  <a:gd name="T5" fmla="*/ 28 h 28"/>
                  <a:gd name="T6" fmla="*/ 11 w 13"/>
                  <a:gd name="T7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8">
                    <a:moveTo>
                      <a:pt x="7" y="0"/>
                    </a:moveTo>
                    <a:cubicBezTo>
                      <a:pt x="7" y="5"/>
                      <a:pt x="3" y="13"/>
                      <a:pt x="0" y="17"/>
                    </a:cubicBezTo>
                    <a:cubicBezTo>
                      <a:pt x="7" y="17"/>
                      <a:pt x="11" y="27"/>
                      <a:pt x="10" y="28"/>
                    </a:cubicBezTo>
                    <a:cubicBezTo>
                      <a:pt x="10" y="28"/>
                      <a:pt x="13" y="16"/>
                      <a:pt x="11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6" name="iṩlîḓè">
                <a:extLst>
                  <a:ext uri="{FF2B5EF4-FFF2-40B4-BE49-F238E27FC236}">
                    <a16:creationId xmlns:a16="http://schemas.microsoft.com/office/drawing/2014/main" id="{8F48B335-32FA-4A69-8DA1-393453F7FDCA}"/>
                  </a:ext>
                </a:extLst>
              </p:cNvPr>
              <p:cNvSpPr/>
              <p:nvPr/>
            </p:nvSpPr>
            <p:spPr bwMode="auto">
              <a:xfrm>
                <a:off x="5038725" y="2274888"/>
                <a:ext cx="61913" cy="1273175"/>
              </a:xfrm>
              <a:custGeom>
                <a:avLst/>
                <a:gdLst>
                  <a:gd name="T0" fmla="*/ 0 w 10"/>
                  <a:gd name="T1" fmla="*/ 0 h 208"/>
                  <a:gd name="T2" fmla="*/ 6 w 10"/>
                  <a:gd name="T3" fmla="*/ 109 h 208"/>
                  <a:gd name="T4" fmla="*/ 7 w 10"/>
                  <a:gd name="T5" fmla="*/ 161 h 208"/>
                  <a:gd name="T6" fmla="*/ 2 w 10"/>
                  <a:gd name="T7" fmla="*/ 207 h 208"/>
                  <a:gd name="T8" fmla="*/ 3 w 10"/>
                  <a:gd name="T9" fmla="*/ 208 h 208"/>
                  <a:gd name="T10" fmla="*/ 9 w 10"/>
                  <a:gd name="T11" fmla="*/ 171 h 208"/>
                  <a:gd name="T12" fmla="*/ 8 w 10"/>
                  <a:gd name="T13" fmla="*/ 116 h 208"/>
                  <a:gd name="T14" fmla="*/ 0 w 10"/>
                  <a:gd name="T1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08">
                    <a:moveTo>
                      <a:pt x="0" y="0"/>
                    </a:moveTo>
                    <a:cubicBezTo>
                      <a:pt x="2" y="36"/>
                      <a:pt x="4" y="73"/>
                      <a:pt x="6" y="109"/>
                    </a:cubicBezTo>
                    <a:cubicBezTo>
                      <a:pt x="6" y="126"/>
                      <a:pt x="7" y="144"/>
                      <a:pt x="7" y="161"/>
                    </a:cubicBezTo>
                    <a:cubicBezTo>
                      <a:pt x="8" y="175"/>
                      <a:pt x="10" y="194"/>
                      <a:pt x="2" y="207"/>
                    </a:cubicBezTo>
                    <a:cubicBezTo>
                      <a:pt x="2" y="208"/>
                      <a:pt x="3" y="208"/>
                      <a:pt x="3" y="208"/>
                    </a:cubicBezTo>
                    <a:cubicBezTo>
                      <a:pt x="10" y="198"/>
                      <a:pt x="9" y="183"/>
                      <a:pt x="9" y="171"/>
                    </a:cubicBezTo>
                    <a:cubicBezTo>
                      <a:pt x="9" y="153"/>
                      <a:pt x="8" y="134"/>
                      <a:pt x="8" y="116"/>
                    </a:cubicBezTo>
                    <a:cubicBezTo>
                      <a:pt x="6" y="77"/>
                      <a:pt x="3" y="38"/>
                      <a:pt x="0" y="0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7" name="ïṥḻîďê">
                <a:extLst>
                  <a:ext uri="{FF2B5EF4-FFF2-40B4-BE49-F238E27FC236}">
                    <a16:creationId xmlns:a16="http://schemas.microsoft.com/office/drawing/2014/main" id="{F05FDAF4-81D1-4C9A-AB24-4C67519FE5A7}"/>
                  </a:ext>
                </a:extLst>
              </p:cNvPr>
              <p:cNvSpPr/>
              <p:nvPr/>
            </p:nvSpPr>
            <p:spPr bwMode="auto">
              <a:xfrm>
                <a:off x="4995863" y="2312988"/>
                <a:ext cx="38100" cy="23813"/>
              </a:xfrm>
              <a:custGeom>
                <a:avLst/>
                <a:gdLst>
                  <a:gd name="T0" fmla="*/ 3 w 6"/>
                  <a:gd name="T1" fmla="*/ 4 h 4"/>
                  <a:gd name="T2" fmla="*/ 3 w 6"/>
                  <a:gd name="T3" fmla="*/ 0 h 4"/>
                  <a:gd name="T4" fmla="*/ 3 w 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3" y="4"/>
                    </a:moveTo>
                    <a:cubicBezTo>
                      <a:pt x="6" y="4"/>
                      <a:pt x="6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8" name="íşḷîďé">
                <a:extLst>
                  <a:ext uri="{FF2B5EF4-FFF2-40B4-BE49-F238E27FC236}">
                    <a16:creationId xmlns:a16="http://schemas.microsoft.com/office/drawing/2014/main" id="{DA534415-E424-4761-B33C-E0E7597983E4}"/>
                  </a:ext>
                </a:extLst>
              </p:cNvPr>
              <p:cNvSpPr/>
              <p:nvPr/>
            </p:nvSpPr>
            <p:spPr bwMode="auto">
              <a:xfrm>
                <a:off x="5008563" y="2532063"/>
                <a:ext cx="30163" cy="25400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9" name="ïSlïḍe">
                <a:extLst>
                  <a:ext uri="{FF2B5EF4-FFF2-40B4-BE49-F238E27FC236}">
                    <a16:creationId xmlns:a16="http://schemas.microsoft.com/office/drawing/2014/main" id="{2D8B2062-8C25-41C2-803F-0B0D10E53F32}"/>
                  </a:ext>
                </a:extLst>
              </p:cNvPr>
              <p:cNvSpPr/>
              <p:nvPr/>
            </p:nvSpPr>
            <p:spPr bwMode="auto">
              <a:xfrm>
                <a:off x="5014913" y="2746375"/>
                <a:ext cx="36513" cy="30163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0" name="iṥľîḑè">
                <a:extLst>
                  <a:ext uri="{FF2B5EF4-FFF2-40B4-BE49-F238E27FC236}">
                    <a16:creationId xmlns:a16="http://schemas.microsoft.com/office/drawing/2014/main" id="{17541134-D683-42BE-9D19-1604A0C87428}"/>
                  </a:ext>
                </a:extLst>
              </p:cNvPr>
              <p:cNvSpPr/>
              <p:nvPr/>
            </p:nvSpPr>
            <p:spPr bwMode="auto">
              <a:xfrm>
                <a:off x="5027613" y="2967038"/>
                <a:ext cx="36513" cy="30163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1" name="işľïḍe">
                <a:extLst>
                  <a:ext uri="{FF2B5EF4-FFF2-40B4-BE49-F238E27FC236}">
                    <a16:creationId xmlns:a16="http://schemas.microsoft.com/office/drawing/2014/main" id="{AA145DB2-3CD7-44A3-B06B-D8CFDDDBE13E}"/>
                  </a:ext>
                </a:extLst>
              </p:cNvPr>
              <p:cNvSpPr/>
              <p:nvPr/>
            </p:nvSpPr>
            <p:spPr bwMode="auto">
              <a:xfrm>
                <a:off x="5038725" y="3187700"/>
                <a:ext cx="31750" cy="23813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2" name="íšļíḓé">
                <a:extLst>
                  <a:ext uri="{FF2B5EF4-FFF2-40B4-BE49-F238E27FC236}">
                    <a16:creationId xmlns:a16="http://schemas.microsoft.com/office/drawing/2014/main" id="{47D2A95A-2410-444C-9AF4-BE5C7A3BD101}"/>
                  </a:ext>
                </a:extLst>
              </p:cNvPr>
              <p:cNvSpPr/>
              <p:nvPr/>
            </p:nvSpPr>
            <p:spPr bwMode="auto">
              <a:xfrm>
                <a:off x="5038725" y="3406775"/>
                <a:ext cx="31750" cy="25400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3" name="îṡľîḑe">
                <a:extLst>
                  <a:ext uri="{FF2B5EF4-FFF2-40B4-BE49-F238E27FC236}">
                    <a16:creationId xmlns:a16="http://schemas.microsoft.com/office/drawing/2014/main" id="{06B081CE-376B-4BE7-9F45-ACAA27CC2E72}"/>
                  </a:ext>
                </a:extLst>
              </p:cNvPr>
              <p:cNvSpPr/>
              <p:nvPr/>
            </p:nvSpPr>
            <p:spPr bwMode="auto">
              <a:xfrm>
                <a:off x="4500563" y="2617788"/>
                <a:ext cx="214313" cy="250825"/>
              </a:xfrm>
              <a:custGeom>
                <a:avLst/>
                <a:gdLst>
                  <a:gd name="T0" fmla="*/ 34 w 35"/>
                  <a:gd name="T1" fmla="*/ 1 h 41"/>
                  <a:gd name="T2" fmla="*/ 1 w 35"/>
                  <a:gd name="T3" fmla="*/ 39 h 41"/>
                  <a:gd name="T4" fmla="*/ 1 w 35"/>
                  <a:gd name="T5" fmla="*/ 40 h 41"/>
                  <a:gd name="T6" fmla="*/ 23 w 35"/>
                  <a:gd name="T7" fmla="*/ 17 h 41"/>
                  <a:gd name="T8" fmla="*/ 35 w 35"/>
                  <a:gd name="T9" fmla="*/ 1 h 41"/>
                  <a:gd name="T10" fmla="*/ 34 w 35"/>
                  <a:gd name="T11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1">
                    <a:moveTo>
                      <a:pt x="34" y="1"/>
                    </a:moveTo>
                    <a:cubicBezTo>
                      <a:pt x="23" y="14"/>
                      <a:pt x="11" y="26"/>
                      <a:pt x="1" y="39"/>
                    </a:cubicBezTo>
                    <a:cubicBezTo>
                      <a:pt x="0" y="40"/>
                      <a:pt x="1" y="41"/>
                      <a:pt x="1" y="40"/>
                    </a:cubicBezTo>
                    <a:cubicBezTo>
                      <a:pt x="10" y="34"/>
                      <a:pt x="17" y="25"/>
                      <a:pt x="23" y="17"/>
                    </a:cubicBezTo>
                    <a:cubicBezTo>
                      <a:pt x="27" y="12"/>
                      <a:pt x="31" y="7"/>
                      <a:pt x="35" y="1"/>
                    </a:cubicBezTo>
                    <a:cubicBezTo>
                      <a:pt x="35" y="1"/>
                      <a:pt x="34" y="0"/>
                      <a:pt x="34" y="1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4" name="ïṩļîďé">
                <a:extLst>
                  <a:ext uri="{FF2B5EF4-FFF2-40B4-BE49-F238E27FC236}">
                    <a16:creationId xmlns:a16="http://schemas.microsoft.com/office/drawing/2014/main" id="{55E9E0DF-0A50-47CD-92F8-46E13BC53E87}"/>
                  </a:ext>
                </a:extLst>
              </p:cNvPr>
              <p:cNvSpPr/>
              <p:nvPr/>
            </p:nvSpPr>
            <p:spPr bwMode="auto">
              <a:xfrm>
                <a:off x="5327650" y="2459038"/>
                <a:ext cx="42863" cy="274638"/>
              </a:xfrm>
              <a:custGeom>
                <a:avLst/>
                <a:gdLst>
                  <a:gd name="T0" fmla="*/ 0 w 7"/>
                  <a:gd name="T1" fmla="*/ 1 h 45"/>
                  <a:gd name="T2" fmla="*/ 6 w 7"/>
                  <a:gd name="T3" fmla="*/ 45 h 45"/>
                  <a:gd name="T4" fmla="*/ 7 w 7"/>
                  <a:gd name="T5" fmla="*/ 45 h 45"/>
                  <a:gd name="T6" fmla="*/ 0 w 7"/>
                  <a:gd name="T7" fmla="*/ 0 h 45"/>
                  <a:gd name="T8" fmla="*/ 0 w 7"/>
                  <a:gd name="T9" fmla="*/ 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5">
                    <a:moveTo>
                      <a:pt x="0" y="1"/>
                    </a:moveTo>
                    <a:cubicBezTo>
                      <a:pt x="2" y="15"/>
                      <a:pt x="5" y="30"/>
                      <a:pt x="6" y="45"/>
                    </a:cubicBezTo>
                    <a:cubicBezTo>
                      <a:pt x="6" y="45"/>
                      <a:pt x="7" y="45"/>
                      <a:pt x="7" y="45"/>
                    </a:cubicBezTo>
                    <a:cubicBezTo>
                      <a:pt x="7" y="30"/>
                      <a:pt x="5" y="14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5" name="ïś1iḍè">
                <a:extLst>
                  <a:ext uri="{FF2B5EF4-FFF2-40B4-BE49-F238E27FC236}">
                    <a16:creationId xmlns:a16="http://schemas.microsoft.com/office/drawing/2014/main" id="{B0B727CA-FD01-4F11-86DB-463D0ADB1F1E}"/>
                  </a:ext>
                </a:extLst>
              </p:cNvPr>
              <p:cNvSpPr/>
              <p:nvPr/>
            </p:nvSpPr>
            <p:spPr bwMode="auto">
              <a:xfrm>
                <a:off x="4995863" y="2019300"/>
                <a:ext cx="111125" cy="47625"/>
              </a:xfrm>
              <a:custGeom>
                <a:avLst/>
                <a:gdLst>
                  <a:gd name="T0" fmla="*/ 0 w 18"/>
                  <a:gd name="T1" fmla="*/ 2 h 8"/>
                  <a:gd name="T2" fmla="*/ 11 w 18"/>
                  <a:gd name="T3" fmla="*/ 7 h 8"/>
                  <a:gd name="T4" fmla="*/ 18 w 18"/>
                  <a:gd name="T5" fmla="*/ 0 h 8"/>
                  <a:gd name="T6" fmla="*/ 0 w 18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8">
                    <a:moveTo>
                      <a:pt x="0" y="2"/>
                    </a:moveTo>
                    <a:cubicBezTo>
                      <a:pt x="1" y="7"/>
                      <a:pt x="8" y="8"/>
                      <a:pt x="11" y="7"/>
                    </a:cubicBezTo>
                    <a:cubicBezTo>
                      <a:pt x="13" y="7"/>
                      <a:pt x="18" y="4"/>
                      <a:pt x="18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6" name="ïṩ1îḍe">
                <a:extLst>
                  <a:ext uri="{FF2B5EF4-FFF2-40B4-BE49-F238E27FC236}">
                    <a16:creationId xmlns:a16="http://schemas.microsoft.com/office/drawing/2014/main" id="{0817700A-E831-44DD-9E80-4F0F25895130}"/>
                  </a:ext>
                </a:extLst>
              </p:cNvPr>
              <p:cNvSpPr/>
              <p:nvPr/>
            </p:nvSpPr>
            <p:spPr bwMode="auto">
              <a:xfrm>
                <a:off x="4170363" y="2801938"/>
                <a:ext cx="90488" cy="73025"/>
              </a:xfrm>
              <a:custGeom>
                <a:avLst/>
                <a:gdLst>
                  <a:gd name="T0" fmla="*/ 0 w 15"/>
                  <a:gd name="T1" fmla="*/ 0 h 12"/>
                  <a:gd name="T2" fmla="*/ 7 w 15"/>
                  <a:gd name="T3" fmla="*/ 6 h 12"/>
                  <a:gd name="T4" fmla="*/ 14 w 15"/>
                  <a:gd name="T5" fmla="*/ 12 h 12"/>
                  <a:gd name="T6" fmla="*/ 15 w 15"/>
                  <a:gd name="T7" fmla="*/ 12 h 12"/>
                  <a:gd name="T8" fmla="*/ 10 w 15"/>
                  <a:gd name="T9" fmla="*/ 6 h 12"/>
                  <a:gd name="T10" fmla="*/ 0 w 15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2">
                    <a:moveTo>
                      <a:pt x="0" y="0"/>
                    </a:moveTo>
                    <a:cubicBezTo>
                      <a:pt x="2" y="2"/>
                      <a:pt x="5" y="4"/>
                      <a:pt x="7" y="6"/>
                    </a:cubicBezTo>
                    <a:cubicBezTo>
                      <a:pt x="10" y="8"/>
                      <a:pt x="11" y="10"/>
                      <a:pt x="14" y="12"/>
                    </a:cubicBezTo>
                    <a:cubicBezTo>
                      <a:pt x="14" y="12"/>
                      <a:pt x="15" y="12"/>
                      <a:pt x="15" y="12"/>
                    </a:cubicBezTo>
                    <a:cubicBezTo>
                      <a:pt x="15" y="9"/>
                      <a:pt x="12" y="7"/>
                      <a:pt x="10" y="6"/>
                    </a:cubicBezTo>
                    <a:cubicBezTo>
                      <a:pt x="7" y="4"/>
                      <a:pt x="3" y="2"/>
                      <a:pt x="0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7" name="íṣļîḋe">
                <a:extLst>
                  <a:ext uri="{FF2B5EF4-FFF2-40B4-BE49-F238E27FC236}">
                    <a16:creationId xmlns:a16="http://schemas.microsoft.com/office/drawing/2014/main" id="{5C9A1ED6-5E39-428D-9F7C-BCB07E8738F7}"/>
                  </a:ext>
                </a:extLst>
              </p:cNvPr>
              <p:cNvSpPr/>
              <p:nvPr/>
            </p:nvSpPr>
            <p:spPr bwMode="auto">
              <a:xfrm>
                <a:off x="3587750" y="2439988"/>
                <a:ext cx="336550" cy="250825"/>
              </a:xfrm>
              <a:custGeom>
                <a:avLst/>
                <a:gdLst>
                  <a:gd name="T0" fmla="*/ 35 w 55"/>
                  <a:gd name="T1" fmla="*/ 41 h 41"/>
                  <a:gd name="T2" fmla="*/ 26 w 55"/>
                  <a:gd name="T3" fmla="*/ 30 h 41"/>
                  <a:gd name="T4" fmla="*/ 18 w 55"/>
                  <a:gd name="T5" fmla="*/ 25 h 41"/>
                  <a:gd name="T6" fmla="*/ 8 w 55"/>
                  <a:gd name="T7" fmla="*/ 20 h 41"/>
                  <a:gd name="T8" fmla="*/ 2 w 55"/>
                  <a:gd name="T9" fmla="*/ 12 h 41"/>
                  <a:gd name="T10" fmla="*/ 1 w 55"/>
                  <a:gd name="T11" fmla="*/ 2 h 41"/>
                  <a:gd name="T12" fmla="*/ 16 w 55"/>
                  <a:gd name="T13" fmla="*/ 10 h 41"/>
                  <a:gd name="T14" fmla="*/ 27 w 55"/>
                  <a:gd name="T15" fmla="*/ 11 h 41"/>
                  <a:gd name="T16" fmla="*/ 20 w 55"/>
                  <a:gd name="T17" fmla="*/ 6 h 41"/>
                  <a:gd name="T18" fmla="*/ 24 w 55"/>
                  <a:gd name="T19" fmla="*/ 6 h 41"/>
                  <a:gd name="T20" fmla="*/ 40 w 55"/>
                  <a:gd name="T21" fmla="*/ 15 h 41"/>
                  <a:gd name="T22" fmla="*/ 41 w 55"/>
                  <a:gd name="T23" fmla="*/ 22 h 41"/>
                  <a:gd name="T24" fmla="*/ 55 w 55"/>
                  <a:gd name="T25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5" h="41">
                    <a:moveTo>
                      <a:pt x="35" y="41"/>
                    </a:moveTo>
                    <a:cubicBezTo>
                      <a:pt x="32" y="37"/>
                      <a:pt x="30" y="33"/>
                      <a:pt x="26" y="30"/>
                    </a:cubicBezTo>
                    <a:cubicBezTo>
                      <a:pt x="24" y="28"/>
                      <a:pt x="21" y="26"/>
                      <a:pt x="18" y="25"/>
                    </a:cubicBezTo>
                    <a:cubicBezTo>
                      <a:pt x="15" y="23"/>
                      <a:pt x="12" y="22"/>
                      <a:pt x="8" y="20"/>
                    </a:cubicBezTo>
                    <a:cubicBezTo>
                      <a:pt x="5" y="18"/>
                      <a:pt x="3" y="16"/>
                      <a:pt x="2" y="12"/>
                    </a:cubicBezTo>
                    <a:cubicBezTo>
                      <a:pt x="1" y="7"/>
                      <a:pt x="0" y="4"/>
                      <a:pt x="1" y="2"/>
                    </a:cubicBezTo>
                    <a:cubicBezTo>
                      <a:pt x="6" y="0"/>
                      <a:pt x="15" y="9"/>
                      <a:pt x="16" y="10"/>
                    </a:cubicBezTo>
                    <a:cubicBezTo>
                      <a:pt x="17" y="10"/>
                      <a:pt x="23" y="12"/>
                      <a:pt x="27" y="11"/>
                    </a:cubicBezTo>
                    <a:cubicBezTo>
                      <a:pt x="27" y="10"/>
                      <a:pt x="21" y="10"/>
                      <a:pt x="20" y="6"/>
                    </a:cubicBezTo>
                    <a:cubicBezTo>
                      <a:pt x="20" y="5"/>
                      <a:pt x="23" y="5"/>
                      <a:pt x="24" y="6"/>
                    </a:cubicBezTo>
                    <a:cubicBezTo>
                      <a:pt x="30" y="7"/>
                      <a:pt x="37" y="8"/>
                      <a:pt x="40" y="15"/>
                    </a:cubicBezTo>
                    <a:cubicBezTo>
                      <a:pt x="40" y="17"/>
                      <a:pt x="40" y="20"/>
                      <a:pt x="41" y="22"/>
                    </a:cubicBezTo>
                    <a:cubicBezTo>
                      <a:pt x="42" y="28"/>
                      <a:pt x="50" y="32"/>
                      <a:pt x="55" y="35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8" name="iŝľîḋe">
                <a:extLst>
                  <a:ext uri="{FF2B5EF4-FFF2-40B4-BE49-F238E27FC236}">
                    <a16:creationId xmlns:a16="http://schemas.microsoft.com/office/drawing/2014/main" id="{8E863955-77CF-4B80-A00F-E9A579043AA8}"/>
                  </a:ext>
                </a:extLst>
              </p:cNvPr>
              <p:cNvSpPr/>
              <p:nvPr/>
            </p:nvSpPr>
            <p:spPr bwMode="auto">
              <a:xfrm>
                <a:off x="5602288" y="2782888"/>
                <a:ext cx="61913" cy="85725"/>
              </a:xfrm>
              <a:custGeom>
                <a:avLst/>
                <a:gdLst>
                  <a:gd name="T0" fmla="*/ 9 w 10"/>
                  <a:gd name="T1" fmla="*/ 1 h 14"/>
                  <a:gd name="T2" fmla="*/ 0 w 10"/>
                  <a:gd name="T3" fmla="*/ 13 h 14"/>
                  <a:gd name="T4" fmla="*/ 1 w 10"/>
                  <a:gd name="T5" fmla="*/ 14 h 14"/>
                  <a:gd name="T6" fmla="*/ 4 w 10"/>
                  <a:gd name="T7" fmla="*/ 7 h 14"/>
                  <a:gd name="T8" fmla="*/ 9 w 10"/>
                  <a:gd name="T9" fmla="*/ 1 h 14"/>
                  <a:gd name="T10" fmla="*/ 9 w 10"/>
                  <a:gd name="T11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4">
                    <a:moveTo>
                      <a:pt x="9" y="1"/>
                    </a:moveTo>
                    <a:cubicBezTo>
                      <a:pt x="5" y="4"/>
                      <a:pt x="1" y="8"/>
                      <a:pt x="0" y="13"/>
                    </a:cubicBezTo>
                    <a:cubicBezTo>
                      <a:pt x="0" y="14"/>
                      <a:pt x="0" y="14"/>
                      <a:pt x="1" y="14"/>
                    </a:cubicBezTo>
                    <a:cubicBezTo>
                      <a:pt x="2" y="12"/>
                      <a:pt x="3" y="9"/>
                      <a:pt x="4" y="7"/>
                    </a:cubicBezTo>
                    <a:cubicBezTo>
                      <a:pt x="6" y="5"/>
                      <a:pt x="8" y="3"/>
                      <a:pt x="9" y="1"/>
                    </a:cubicBezTo>
                    <a:cubicBezTo>
                      <a:pt x="10" y="1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9" name="îṣḻíḓe">
                <a:extLst>
                  <a:ext uri="{FF2B5EF4-FFF2-40B4-BE49-F238E27FC236}">
                    <a16:creationId xmlns:a16="http://schemas.microsoft.com/office/drawing/2014/main" id="{F7FA6C75-FBF4-4857-A6CA-2C7FCB34804A}"/>
                  </a:ext>
                </a:extLst>
              </p:cNvPr>
              <p:cNvSpPr/>
              <p:nvPr/>
            </p:nvSpPr>
            <p:spPr bwMode="auto">
              <a:xfrm>
                <a:off x="5951538" y="2343150"/>
                <a:ext cx="338138" cy="280988"/>
              </a:xfrm>
              <a:custGeom>
                <a:avLst/>
                <a:gdLst>
                  <a:gd name="T0" fmla="*/ 13 w 55"/>
                  <a:gd name="T1" fmla="*/ 46 h 46"/>
                  <a:gd name="T2" fmla="*/ 24 w 55"/>
                  <a:gd name="T3" fmla="*/ 31 h 46"/>
                  <a:gd name="T4" fmla="*/ 37 w 55"/>
                  <a:gd name="T5" fmla="*/ 25 h 46"/>
                  <a:gd name="T6" fmla="*/ 47 w 55"/>
                  <a:gd name="T7" fmla="*/ 20 h 46"/>
                  <a:gd name="T8" fmla="*/ 54 w 55"/>
                  <a:gd name="T9" fmla="*/ 12 h 46"/>
                  <a:gd name="T10" fmla="*/ 54 w 55"/>
                  <a:gd name="T11" fmla="*/ 2 h 46"/>
                  <a:gd name="T12" fmla="*/ 40 w 55"/>
                  <a:gd name="T13" fmla="*/ 10 h 46"/>
                  <a:gd name="T14" fmla="*/ 29 w 55"/>
                  <a:gd name="T15" fmla="*/ 11 h 46"/>
                  <a:gd name="T16" fmla="*/ 35 w 55"/>
                  <a:gd name="T17" fmla="*/ 6 h 46"/>
                  <a:gd name="T18" fmla="*/ 32 w 55"/>
                  <a:gd name="T19" fmla="*/ 5 h 46"/>
                  <a:gd name="T20" fmla="*/ 16 w 55"/>
                  <a:gd name="T21" fmla="*/ 15 h 46"/>
                  <a:gd name="T22" fmla="*/ 14 w 55"/>
                  <a:gd name="T23" fmla="*/ 22 h 46"/>
                  <a:gd name="T24" fmla="*/ 0 w 55"/>
                  <a:gd name="T25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5" h="46">
                    <a:moveTo>
                      <a:pt x="13" y="46"/>
                    </a:moveTo>
                    <a:cubicBezTo>
                      <a:pt x="16" y="43"/>
                      <a:pt x="21" y="34"/>
                      <a:pt x="24" y="31"/>
                    </a:cubicBezTo>
                    <a:cubicBezTo>
                      <a:pt x="26" y="29"/>
                      <a:pt x="35" y="26"/>
                      <a:pt x="37" y="25"/>
                    </a:cubicBezTo>
                    <a:cubicBezTo>
                      <a:pt x="41" y="23"/>
                      <a:pt x="44" y="22"/>
                      <a:pt x="47" y="20"/>
                    </a:cubicBezTo>
                    <a:cubicBezTo>
                      <a:pt x="51" y="18"/>
                      <a:pt x="52" y="16"/>
                      <a:pt x="54" y="12"/>
                    </a:cubicBezTo>
                    <a:cubicBezTo>
                      <a:pt x="55" y="7"/>
                      <a:pt x="55" y="4"/>
                      <a:pt x="54" y="2"/>
                    </a:cubicBezTo>
                    <a:cubicBezTo>
                      <a:pt x="50" y="0"/>
                      <a:pt x="41" y="9"/>
                      <a:pt x="40" y="10"/>
                    </a:cubicBezTo>
                    <a:cubicBezTo>
                      <a:pt x="39" y="10"/>
                      <a:pt x="33" y="12"/>
                      <a:pt x="29" y="11"/>
                    </a:cubicBezTo>
                    <a:cubicBezTo>
                      <a:pt x="28" y="10"/>
                      <a:pt x="35" y="9"/>
                      <a:pt x="35" y="6"/>
                    </a:cubicBezTo>
                    <a:cubicBezTo>
                      <a:pt x="36" y="5"/>
                      <a:pt x="33" y="5"/>
                      <a:pt x="32" y="5"/>
                    </a:cubicBezTo>
                    <a:cubicBezTo>
                      <a:pt x="25" y="7"/>
                      <a:pt x="18" y="8"/>
                      <a:pt x="16" y="15"/>
                    </a:cubicBezTo>
                    <a:cubicBezTo>
                      <a:pt x="16" y="17"/>
                      <a:pt x="14" y="20"/>
                      <a:pt x="14" y="22"/>
                    </a:cubicBezTo>
                    <a:cubicBezTo>
                      <a:pt x="12" y="28"/>
                      <a:pt x="5" y="33"/>
                      <a:pt x="0" y="36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0" name="ïṣ1ïďe">
                <a:extLst>
                  <a:ext uri="{FF2B5EF4-FFF2-40B4-BE49-F238E27FC236}">
                    <a16:creationId xmlns:a16="http://schemas.microsoft.com/office/drawing/2014/main" id="{A492470B-AEA8-42C8-9C44-9B6D891EB724}"/>
                  </a:ext>
                </a:extLst>
              </p:cNvPr>
              <p:cNvSpPr/>
              <p:nvPr/>
            </p:nvSpPr>
            <p:spPr bwMode="auto">
              <a:xfrm>
                <a:off x="5156200" y="2532063"/>
                <a:ext cx="146050" cy="31750"/>
              </a:xfrm>
              <a:custGeom>
                <a:avLst/>
                <a:gdLst>
                  <a:gd name="T0" fmla="*/ 0 w 24"/>
                  <a:gd name="T1" fmla="*/ 2 h 5"/>
                  <a:gd name="T2" fmla="*/ 23 w 24"/>
                  <a:gd name="T3" fmla="*/ 0 h 5"/>
                  <a:gd name="T4" fmla="*/ 24 w 24"/>
                  <a:gd name="T5" fmla="*/ 4 h 5"/>
                  <a:gd name="T6" fmla="*/ 0 w 24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5">
                    <a:moveTo>
                      <a:pt x="0" y="2"/>
                    </a:moveTo>
                    <a:cubicBezTo>
                      <a:pt x="7" y="2"/>
                      <a:pt x="16" y="1"/>
                      <a:pt x="23" y="0"/>
                    </a:cubicBezTo>
                    <a:cubicBezTo>
                      <a:pt x="23" y="1"/>
                      <a:pt x="23" y="2"/>
                      <a:pt x="24" y="4"/>
                    </a:cubicBezTo>
                    <a:cubicBezTo>
                      <a:pt x="16" y="4"/>
                      <a:pt x="8" y="5"/>
                      <a:pt x="0" y="5"/>
                    </a:cubicBezTo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1" name="ï$ļíḋè">
                <a:extLst>
                  <a:ext uri="{FF2B5EF4-FFF2-40B4-BE49-F238E27FC236}">
                    <a16:creationId xmlns:a16="http://schemas.microsoft.com/office/drawing/2014/main" id="{B294F735-0A43-4AD8-9148-44BA81E29892}"/>
                  </a:ext>
                </a:extLst>
              </p:cNvPr>
              <p:cNvSpPr/>
              <p:nvPr/>
            </p:nvSpPr>
            <p:spPr bwMode="auto">
              <a:xfrm>
                <a:off x="7477125" y="3927475"/>
                <a:ext cx="361950" cy="1573213"/>
              </a:xfrm>
              <a:custGeom>
                <a:avLst/>
                <a:gdLst>
                  <a:gd name="T0" fmla="*/ 49 w 59"/>
                  <a:gd name="T1" fmla="*/ 88 h 257"/>
                  <a:gd name="T2" fmla="*/ 59 w 59"/>
                  <a:gd name="T3" fmla="*/ 6 h 257"/>
                  <a:gd name="T4" fmla="*/ 0 w 59"/>
                  <a:gd name="T5" fmla="*/ 0 h 257"/>
                  <a:gd name="T6" fmla="*/ 4 w 59"/>
                  <a:gd name="T7" fmla="*/ 75 h 257"/>
                  <a:gd name="T8" fmla="*/ 30 w 59"/>
                  <a:gd name="T9" fmla="*/ 228 h 257"/>
                  <a:gd name="T10" fmla="*/ 30 w 59"/>
                  <a:gd name="T11" fmla="*/ 228 h 257"/>
                  <a:gd name="T12" fmla="*/ 29 w 59"/>
                  <a:gd name="T13" fmla="*/ 235 h 257"/>
                  <a:gd name="T14" fmla="*/ 19 w 59"/>
                  <a:gd name="T15" fmla="*/ 245 h 257"/>
                  <a:gd name="T16" fmla="*/ 8 w 59"/>
                  <a:gd name="T17" fmla="*/ 257 h 257"/>
                  <a:gd name="T18" fmla="*/ 40 w 59"/>
                  <a:gd name="T19" fmla="*/ 249 h 257"/>
                  <a:gd name="T20" fmla="*/ 47 w 59"/>
                  <a:gd name="T21" fmla="*/ 246 h 257"/>
                  <a:gd name="T22" fmla="*/ 47 w 59"/>
                  <a:gd name="T23" fmla="*/ 239 h 257"/>
                  <a:gd name="T24" fmla="*/ 43 w 59"/>
                  <a:gd name="T25" fmla="*/ 234 h 257"/>
                  <a:gd name="T26" fmla="*/ 44 w 59"/>
                  <a:gd name="T27" fmla="*/ 214 h 257"/>
                  <a:gd name="T28" fmla="*/ 47 w 59"/>
                  <a:gd name="T29" fmla="*/ 191 h 257"/>
                  <a:gd name="T30" fmla="*/ 52 w 59"/>
                  <a:gd name="T31" fmla="*/ 158 h 257"/>
                  <a:gd name="T32" fmla="*/ 52 w 59"/>
                  <a:gd name="T33" fmla="*/ 155 h 257"/>
                  <a:gd name="T34" fmla="*/ 49 w 59"/>
                  <a:gd name="T35" fmla="*/ 88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257">
                    <a:moveTo>
                      <a:pt x="49" y="88"/>
                    </a:moveTo>
                    <a:cubicBezTo>
                      <a:pt x="50" y="73"/>
                      <a:pt x="57" y="36"/>
                      <a:pt x="59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7"/>
                      <a:pt x="3" y="46"/>
                      <a:pt x="4" y="75"/>
                    </a:cubicBezTo>
                    <a:cubicBezTo>
                      <a:pt x="8" y="129"/>
                      <a:pt x="22" y="174"/>
                      <a:pt x="30" y="228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31"/>
                      <a:pt x="30" y="234"/>
                      <a:pt x="29" y="235"/>
                    </a:cubicBezTo>
                    <a:cubicBezTo>
                      <a:pt x="27" y="239"/>
                      <a:pt x="23" y="242"/>
                      <a:pt x="19" y="245"/>
                    </a:cubicBezTo>
                    <a:cubicBezTo>
                      <a:pt x="14" y="248"/>
                      <a:pt x="11" y="252"/>
                      <a:pt x="8" y="257"/>
                    </a:cubicBezTo>
                    <a:cubicBezTo>
                      <a:pt x="20" y="255"/>
                      <a:pt x="28" y="252"/>
                      <a:pt x="40" y="249"/>
                    </a:cubicBezTo>
                    <a:cubicBezTo>
                      <a:pt x="43" y="248"/>
                      <a:pt x="45" y="248"/>
                      <a:pt x="47" y="246"/>
                    </a:cubicBezTo>
                    <a:cubicBezTo>
                      <a:pt x="49" y="244"/>
                      <a:pt x="49" y="243"/>
                      <a:pt x="47" y="239"/>
                    </a:cubicBezTo>
                    <a:cubicBezTo>
                      <a:pt x="46" y="237"/>
                      <a:pt x="44" y="236"/>
                      <a:pt x="43" y="234"/>
                    </a:cubicBezTo>
                    <a:cubicBezTo>
                      <a:pt x="41" y="229"/>
                      <a:pt x="43" y="220"/>
                      <a:pt x="44" y="214"/>
                    </a:cubicBezTo>
                    <a:cubicBezTo>
                      <a:pt x="45" y="206"/>
                      <a:pt x="46" y="199"/>
                      <a:pt x="47" y="191"/>
                    </a:cubicBezTo>
                    <a:cubicBezTo>
                      <a:pt x="49" y="175"/>
                      <a:pt x="51" y="174"/>
                      <a:pt x="52" y="158"/>
                    </a:cubicBezTo>
                    <a:cubicBezTo>
                      <a:pt x="52" y="157"/>
                      <a:pt x="52" y="156"/>
                      <a:pt x="52" y="155"/>
                    </a:cubicBezTo>
                    <a:cubicBezTo>
                      <a:pt x="53" y="129"/>
                      <a:pt x="47" y="114"/>
                      <a:pt x="49" y="88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2" name="îSḻídê">
                <a:extLst>
                  <a:ext uri="{FF2B5EF4-FFF2-40B4-BE49-F238E27FC236}">
                    <a16:creationId xmlns:a16="http://schemas.microsoft.com/office/drawing/2014/main" id="{D4046D1D-E3C9-4F4A-8D10-D3FC91DD8F8C}"/>
                  </a:ext>
                </a:extLst>
              </p:cNvPr>
              <p:cNvSpPr/>
              <p:nvPr/>
            </p:nvSpPr>
            <p:spPr bwMode="auto">
              <a:xfrm>
                <a:off x="7496175" y="5389563"/>
                <a:ext cx="287338" cy="122238"/>
              </a:xfrm>
              <a:custGeom>
                <a:avLst/>
                <a:gdLst>
                  <a:gd name="T0" fmla="*/ 20 w 47"/>
                  <a:gd name="T1" fmla="*/ 2 h 20"/>
                  <a:gd name="T2" fmla="*/ 5 w 47"/>
                  <a:gd name="T3" fmla="*/ 11 h 20"/>
                  <a:gd name="T4" fmla="*/ 1 w 47"/>
                  <a:gd name="T5" fmla="*/ 14 h 20"/>
                  <a:gd name="T6" fmla="*/ 1 w 47"/>
                  <a:gd name="T7" fmla="*/ 18 h 20"/>
                  <a:gd name="T8" fmla="*/ 5 w 47"/>
                  <a:gd name="T9" fmla="*/ 20 h 20"/>
                  <a:gd name="T10" fmla="*/ 8 w 47"/>
                  <a:gd name="T11" fmla="*/ 20 h 20"/>
                  <a:gd name="T12" fmla="*/ 14 w 47"/>
                  <a:gd name="T13" fmla="*/ 19 h 20"/>
                  <a:gd name="T14" fmla="*/ 31 w 47"/>
                  <a:gd name="T15" fmla="*/ 16 h 20"/>
                  <a:gd name="T16" fmla="*/ 45 w 47"/>
                  <a:gd name="T17" fmla="*/ 12 h 20"/>
                  <a:gd name="T18" fmla="*/ 46 w 47"/>
                  <a:gd name="T19" fmla="*/ 10 h 20"/>
                  <a:gd name="T20" fmla="*/ 47 w 47"/>
                  <a:gd name="T21" fmla="*/ 9 h 20"/>
                  <a:gd name="T22" fmla="*/ 44 w 47"/>
                  <a:gd name="T23" fmla="*/ 0 h 20"/>
                  <a:gd name="T24" fmla="*/ 42 w 47"/>
                  <a:gd name="T25" fmla="*/ 2 h 20"/>
                  <a:gd name="T26" fmla="*/ 37 w 47"/>
                  <a:gd name="T27" fmla="*/ 4 h 20"/>
                  <a:gd name="T28" fmla="*/ 27 w 47"/>
                  <a:gd name="T29" fmla="*/ 5 h 20"/>
                  <a:gd name="T30" fmla="*/ 23 w 47"/>
                  <a:gd name="T31" fmla="*/ 5 h 20"/>
                  <a:gd name="T32" fmla="*/ 21 w 47"/>
                  <a:gd name="T33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20">
                    <a:moveTo>
                      <a:pt x="20" y="2"/>
                    </a:moveTo>
                    <a:cubicBezTo>
                      <a:pt x="15" y="6"/>
                      <a:pt x="10" y="9"/>
                      <a:pt x="5" y="11"/>
                    </a:cubicBezTo>
                    <a:cubicBezTo>
                      <a:pt x="4" y="12"/>
                      <a:pt x="2" y="13"/>
                      <a:pt x="1" y="14"/>
                    </a:cubicBezTo>
                    <a:cubicBezTo>
                      <a:pt x="0" y="15"/>
                      <a:pt x="0" y="17"/>
                      <a:pt x="1" y="18"/>
                    </a:cubicBezTo>
                    <a:cubicBezTo>
                      <a:pt x="2" y="19"/>
                      <a:pt x="3" y="19"/>
                      <a:pt x="5" y="20"/>
                    </a:cubicBezTo>
                    <a:cubicBezTo>
                      <a:pt x="6" y="20"/>
                      <a:pt x="7" y="20"/>
                      <a:pt x="8" y="20"/>
                    </a:cubicBezTo>
                    <a:cubicBezTo>
                      <a:pt x="10" y="20"/>
                      <a:pt x="12" y="19"/>
                      <a:pt x="14" y="19"/>
                    </a:cubicBezTo>
                    <a:cubicBezTo>
                      <a:pt x="20" y="18"/>
                      <a:pt x="25" y="17"/>
                      <a:pt x="31" y="16"/>
                    </a:cubicBezTo>
                    <a:cubicBezTo>
                      <a:pt x="36" y="15"/>
                      <a:pt x="41" y="14"/>
                      <a:pt x="45" y="12"/>
                    </a:cubicBezTo>
                    <a:cubicBezTo>
                      <a:pt x="45" y="11"/>
                      <a:pt x="46" y="11"/>
                      <a:pt x="46" y="10"/>
                    </a:cubicBezTo>
                    <a:cubicBezTo>
                      <a:pt x="47" y="10"/>
                      <a:pt x="47" y="9"/>
                      <a:pt x="47" y="9"/>
                    </a:cubicBezTo>
                    <a:cubicBezTo>
                      <a:pt x="47" y="7"/>
                      <a:pt x="46" y="1"/>
                      <a:pt x="44" y="0"/>
                    </a:cubicBezTo>
                    <a:cubicBezTo>
                      <a:pt x="44" y="0"/>
                      <a:pt x="42" y="1"/>
                      <a:pt x="42" y="2"/>
                    </a:cubicBezTo>
                    <a:cubicBezTo>
                      <a:pt x="40" y="3"/>
                      <a:pt x="38" y="3"/>
                      <a:pt x="37" y="4"/>
                    </a:cubicBezTo>
                    <a:cubicBezTo>
                      <a:pt x="34" y="4"/>
                      <a:pt x="30" y="5"/>
                      <a:pt x="27" y="5"/>
                    </a:cubicBezTo>
                    <a:cubicBezTo>
                      <a:pt x="26" y="5"/>
                      <a:pt x="25" y="5"/>
                      <a:pt x="23" y="5"/>
                    </a:cubicBezTo>
                    <a:cubicBezTo>
                      <a:pt x="23" y="4"/>
                      <a:pt x="22" y="4"/>
                      <a:pt x="21" y="3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3" name="íSlîḍè">
                <a:extLst>
                  <a:ext uri="{FF2B5EF4-FFF2-40B4-BE49-F238E27FC236}">
                    <a16:creationId xmlns:a16="http://schemas.microsoft.com/office/drawing/2014/main" id="{8F71BCA2-12C8-4742-AD0B-3F9DDE6368DD}"/>
                  </a:ext>
                </a:extLst>
              </p:cNvPr>
              <p:cNvSpPr/>
              <p:nvPr/>
            </p:nvSpPr>
            <p:spPr bwMode="auto">
              <a:xfrm>
                <a:off x="7789863" y="3946525"/>
                <a:ext cx="403225" cy="1584325"/>
              </a:xfrm>
              <a:custGeom>
                <a:avLst/>
                <a:gdLst>
                  <a:gd name="T0" fmla="*/ 47 w 66"/>
                  <a:gd name="T1" fmla="*/ 90 h 259"/>
                  <a:gd name="T2" fmla="*/ 66 w 66"/>
                  <a:gd name="T3" fmla="*/ 12 h 259"/>
                  <a:gd name="T4" fmla="*/ 0 w 66"/>
                  <a:gd name="T5" fmla="*/ 0 h 259"/>
                  <a:gd name="T6" fmla="*/ 5 w 66"/>
                  <a:gd name="T7" fmla="*/ 77 h 259"/>
                  <a:gd name="T8" fmla="*/ 31 w 66"/>
                  <a:gd name="T9" fmla="*/ 231 h 259"/>
                  <a:gd name="T10" fmla="*/ 32 w 66"/>
                  <a:gd name="T11" fmla="*/ 231 h 259"/>
                  <a:gd name="T12" fmla="*/ 31 w 66"/>
                  <a:gd name="T13" fmla="*/ 237 h 259"/>
                  <a:gd name="T14" fmla="*/ 20 w 66"/>
                  <a:gd name="T15" fmla="*/ 247 h 259"/>
                  <a:gd name="T16" fmla="*/ 10 w 66"/>
                  <a:gd name="T17" fmla="*/ 259 h 259"/>
                  <a:gd name="T18" fmla="*/ 41 w 66"/>
                  <a:gd name="T19" fmla="*/ 251 h 259"/>
                  <a:gd name="T20" fmla="*/ 48 w 66"/>
                  <a:gd name="T21" fmla="*/ 248 h 259"/>
                  <a:gd name="T22" fmla="*/ 48 w 66"/>
                  <a:gd name="T23" fmla="*/ 241 h 259"/>
                  <a:gd name="T24" fmla="*/ 45 w 66"/>
                  <a:gd name="T25" fmla="*/ 236 h 259"/>
                  <a:gd name="T26" fmla="*/ 46 w 66"/>
                  <a:gd name="T27" fmla="*/ 217 h 259"/>
                  <a:gd name="T28" fmla="*/ 48 w 66"/>
                  <a:gd name="T29" fmla="*/ 193 h 259"/>
                  <a:gd name="T30" fmla="*/ 53 w 66"/>
                  <a:gd name="T31" fmla="*/ 161 h 259"/>
                  <a:gd name="T32" fmla="*/ 53 w 66"/>
                  <a:gd name="T33" fmla="*/ 158 h 259"/>
                  <a:gd name="T34" fmla="*/ 47 w 66"/>
                  <a:gd name="T35" fmla="*/ 9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259">
                    <a:moveTo>
                      <a:pt x="47" y="90"/>
                    </a:moveTo>
                    <a:cubicBezTo>
                      <a:pt x="48" y="75"/>
                      <a:pt x="63" y="41"/>
                      <a:pt x="66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8"/>
                      <a:pt x="4" y="49"/>
                      <a:pt x="5" y="77"/>
                    </a:cubicBezTo>
                    <a:cubicBezTo>
                      <a:pt x="7" y="131"/>
                      <a:pt x="24" y="177"/>
                      <a:pt x="31" y="231"/>
                    </a:cubicBezTo>
                    <a:cubicBezTo>
                      <a:pt x="32" y="231"/>
                      <a:pt x="32" y="231"/>
                      <a:pt x="32" y="231"/>
                    </a:cubicBezTo>
                    <a:cubicBezTo>
                      <a:pt x="32" y="234"/>
                      <a:pt x="31" y="236"/>
                      <a:pt x="31" y="237"/>
                    </a:cubicBezTo>
                    <a:cubicBezTo>
                      <a:pt x="29" y="242"/>
                      <a:pt x="24" y="244"/>
                      <a:pt x="20" y="247"/>
                    </a:cubicBezTo>
                    <a:cubicBezTo>
                      <a:pt x="16" y="251"/>
                      <a:pt x="12" y="255"/>
                      <a:pt x="10" y="259"/>
                    </a:cubicBezTo>
                    <a:cubicBezTo>
                      <a:pt x="22" y="257"/>
                      <a:pt x="30" y="255"/>
                      <a:pt x="41" y="251"/>
                    </a:cubicBezTo>
                    <a:cubicBezTo>
                      <a:pt x="44" y="251"/>
                      <a:pt x="46" y="250"/>
                      <a:pt x="48" y="248"/>
                    </a:cubicBezTo>
                    <a:cubicBezTo>
                      <a:pt x="50" y="246"/>
                      <a:pt x="50" y="246"/>
                      <a:pt x="48" y="241"/>
                    </a:cubicBezTo>
                    <a:cubicBezTo>
                      <a:pt x="47" y="240"/>
                      <a:pt x="45" y="238"/>
                      <a:pt x="45" y="236"/>
                    </a:cubicBezTo>
                    <a:cubicBezTo>
                      <a:pt x="42" y="231"/>
                      <a:pt x="45" y="222"/>
                      <a:pt x="46" y="217"/>
                    </a:cubicBezTo>
                    <a:cubicBezTo>
                      <a:pt x="47" y="209"/>
                      <a:pt x="48" y="201"/>
                      <a:pt x="48" y="193"/>
                    </a:cubicBezTo>
                    <a:cubicBezTo>
                      <a:pt x="50" y="177"/>
                      <a:pt x="52" y="177"/>
                      <a:pt x="53" y="161"/>
                    </a:cubicBezTo>
                    <a:cubicBezTo>
                      <a:pt x="53" y="160"/>
                      <a:pt x="53" y="159"/>
                      <a:pt x="53" y="158"/>
                    </a:cubicBezTo>
                    <a:cubicBezTo>
                      <a:pt x="54" y="132"/>
                      <a:pt x="45" y="116"/>
                      <a:pt x="47" y="90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4" name="iś1iḑé">
                <a:extLst>
                  <a:ext uri="{FF2B5EF4-FFF2-40B4-BE49-F238E27FC236}">
                    <a16:creationId xmlns:a16="http://schemas.microsoft.com/office/drawing/2014/main" id="{12C0807E-6E6F-4952-AC7A-4CE1F5C9C30E}"/>
                  </a:ext>
                </a:extLst>
              </p:cNvPr>
              <p:cNvSpPr/>
              <p:nvPr/>
            </p:nvSpPr>
            <p:spPr bwMode="auto">
              <a:xfrm>
                <a:off x="7813675" y="5419725"/>
                <a:ext cx="287338" cy="122238"/>
              </a:xfrm>
              <a:custGeom>
                <a:avLst/>
                <a:gdLst>
                  <a:gd name="T0" fmla="*/ 20 w 47"/>
                  <a:gd name="T1" fmla="*/ 3 h 20"/>
                  <a:gd name="T2" fmla="*/ 6 w 47"/>
                  <a:gd name="T3" fmla="*/ 12 h 20"/>
                  <a:gd name="T4" fmla="*/ 2 w 47"/>
                  <a:gd name="T5" fmla="*/ 14 h 20"/>
                  <a:gd name="T6" fmla="*/ 1 w 47"/>
                  <a:gd name="T7" fmla="*/ 18 h 20"/>
                  <a:gd name="T8" fmla="*/ 5 w 47"/>
                  <a:gd name="T9" fmla="*/ 20 h 20"/>
                  <a:gd name="T10" fmla="*/ 9 w 47"/>
                  <a:gd name="T11" fmla="*/ 20 h 20"/>
                  <a:gd name="T12" fmla="*/ 14 w 47"/>
                  <a:gd name="T13" fmla="*/ 19 h 20"/>
                  <a:gd name="T14" fmla="*/ 32 w 47"/>
                  <a:gd name="T15" fmla="*/ 16 h 20"/>
                  <a:gd name="T16" fmla="*/ 45 w 47"/>
                  <a:gd name="T17" fmla="*/ 12 h 20"/>
                  <a:gd name="T18" fmla="*/ 47 w 47"/>
                  <a:gd name="T19" fmla="*/ 11 h 20"/>
                  <a:gd name="T20" fmla="*/ 47 w 47"/>
                  <a:gd name="T21" fmla="*/ 9 h 20"/>
                  <a:gd name="T22" fmla="*/ 45 w 47"/>
                  <a:gd name="T23" fmla="*/ 0 h 20"/>
                  <a:gd name="T24" fmla="*/ 42 w 47"/>
                  <a:gd name="T25" fmla="*/ 2 h 20"/>
                  <a:gd name="T26" fmla="*/ 37 w 47"/>
                  <a:gd name="T27" fmla="*/ 4 h 20"/>
                  <a:gd name="T28" fmla="*/ 27 w 47"/>
                  <a:gd name="T29" fmla="*/ 6 h 20"/>
                  <a:gd name="T30" fmla="*/ 24 w 47"/>
                  <a:gd name="T31" fmla="*/ 5 h 20"/>
                  <a:gd name="T32" fmla="*/ 22 w 47"/>
                  <a:gd name="T33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20">
                    <a:moveTo>
                      <a:pt x="20" y="3"/>
                    </a:moveTo>
                    <a:cubicBezTo>
                      <a:pt x="16" y="6"/>
                      <a:pt x="11" y="9"/>
                      <a:pt x="6" y="12"/>
                    </a:cubicBezTo>
                    <a:cubicBezTo>
                      <a:pt x="4" y="12"/>
                      <a:pt x="3" y="13"/>
                      <a:pt x="2" y="14"/>
                    </a:cubicBezTo>
                    <a:cubicBezTo>
                      <a:pt x="1" y="15"/>
                      <a:pt x="0" y="17"/>
                      <a:pt x="1" y="18"/>
                    </a:cubicBezTo>
                    <a:cubicBezTo>
                      <a:pt x="2" y="20"/>
                      <a:pt x="4" y="20"/>
                      <a:pt x="5" y="20"/>
                    </a:cubicBezTo>
                    <a:cubicBezTo>
                      <a:pt x="7" y="20"/>
                      <a:pt x="8" y="20"/>
                      <a:pt x="9" y="20"/>
                    </a:cubicBezTo>
                    <a:cubicBezTo>
                      <a:pt x="11" y="20"/>
                      <a:pt x="12" y="20"/>
                      <a:pt x="14" y="19"/>
                    </a:cubicBezTo>
                    <a:cubicBezTo>
                      <a:pt x="20" y="18"/>
                      <a:pt x="26" y="17"/>
                      <a:pt x="32" y="16"/>
                    </a:cubicBezTo>
                    <a:cubicBezTo>
                      <a:pt x="36" y="15"/>
                      <a:pt x="41" y="14"/>
                      <a:pt x="45" y="12"/>
                    </a:cubicBezTo>
                    <a:cubicBezTo>
                      <a:pt x="46" y="12"/>
                      <a:pt x="46" y="11"/>
                      <a:pt x="47" y="11"/>
                    </a:cubicBezTo>
                    <a:cubicBezTo>
                      <a:pt x="47" y="10"/>
                      <a:pt x="47" y="10"/>
                      <a:pt x="47" y="9"/>
                    </a:cubicBezTo>
                    <a:cubicBezTo>
                      <a:pt x="47" y="7"/>
                      <a:pt x="46" y="2"/>
                      <a:pt x="45" y="0"/>
                    </a:cubicBezTo>
                    <a:cubicBezTo>
                      <a:pt x="44" y="0"/>
                      <a:pt x="43" y="2"/>
                      <a:pt x="42" y="2"/>
                    </a:cubicBezTo>
                    <a:cubicBezTo>
                      <a:pt x="41" y="3"/>
                      <a:pt x="39" y="4"/>
                      <a:pt x="37" y="4"/>
                    </a:cubicBezTo>
                    <a:cubicBezTo>
                      <a:pt x="34" y="5"/>
                      <a:pt x="31" y="6"/>
                      <a:pt x="27" y="6"/>
                    </a:cubicBezTo>
                    <a:cubicBezTo>
                      <a:pt x="26" y="6"/>
                      <a:pt x="25" y="6"/>
                      <a:pt x="24" y="5"/>
                    </a:cubicBezTo>
                    <a:cubicBezTo>
                      <a:pt x="23" y="5"/>
                      <a:pt x="22" y="4"/>
                      <a:pt x="22" y="4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5" name="íṣḷiḓê">
                <a:extLst>
                  <a:ext uri="{FF2B5EF4-FFF2-40B4-BE49-F238E27FC236}">
                    <a16:creationId xmlns:a16="http://schemas.microsoft.com/office/drawing/2014/main" id="{8A2BEAA3-FCAA-40EE-AB9E-26B336C2EB7F}"/>
                  </a:ext>
                </a:extLst>
              </p:cNvPr>
              <p:cNvSpPr/>
              <p:nvPr/>
            </p:nvSpPr>
            <p:spPr bwMode="auto">
              <a:xfrm>
                <a:off x="7421563" y="3278188"/>
                <a:ext cx="814388" cy="1052513"/>
              </a:xfrm>
              <a:custGeom>
                <a:avLst/>
                <a:gdLst>
                  <a:gd name="T0" fmla="*/ 106 w 133"/>
                  <a:gd name="T1" fmla="*/ 0 h 172"/>
                  <a:gd name="T2" fmla="*/ 132 w 133"/>
                  <a:gd name="T3" fmla="*/ 72 h 172"/>
                  <a:gd name="T4" fmla="*/ 122 w 133"/>
                  <a:gd name="T5" fmla="*/ 154 h 172"/>
                  <a:gd name="T6" fmla="*/ 11 w 133"/>
                  <a:gd name="T7" fmla="*/ 155 h 172"/>
                  <a:gd name="T8" fmla="*/ 24 w 133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72">
                    <a:moveTo>
                      <a:pt x="106" y="0"/>
                    </a:moveTo>
                    <a:cubicBezTo>
                      <a:pt x="126" y="26"/>
                      <a:pt x="131" y="42"/>
                      <a:pt x="132" y="72"/>
                    </a:cubicBezTo>
                    <a:cubicBezTo>
                      <a:pt x="133" y="101"/>
                      <a:pt x="124" y="121"/>
                      <a:pt x="122" y="154"/>
                    </a:cubicBezTo>
                    <a:cubicBezTo>
                      <a:pt x="64" y="172"/>
                      <a:pt x="11" y="155"/>
                      <a:pt x="11" y="155"/>
                    </a:cubicBezTo>
                    <a:cubicBezTo>
                      <a:pt x="4" y="96"/>
                      <a:pt x="0" y="51"/>
                      <a:pt x="24" y="0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6" name="iṩḷîḓê">
                <a:extLst>
                  <a:ext uri="{FF2B5EF4-FFF2-40B4-BE49-F238E27FC236}">
                    <a16:creationId xmlns:a16="http://schemas.microsoft.com/office/drawing/2014/main" id="{A2C12AB6-8FC6-4A3F-8FCB-22AC02D8B2FC}"/>
                  </a:ext>
                </a:extLst>
              </p:cNvPr>
              <p:cNvSpPr/>
              <p:nvPr/>
            </p:nvSpPr>
            <p:spPr bwMode="auto">
              <a:xfrm>
                <a:off x="7385050" y="3395663"/>
                <a:ext cx="619125" cy="446088"/>
              </a:xfrm>
              <a:custGeom>
                <a:avLst/>
                <a:gdLst>
                  <a:gd name="T0" fmla="*/ 4 w 101"/>
                  <a:gd name="T1" fmla="*/ 65 h 73"/>
                  <a:gd name="T2" fmla="*/ 91 w 101"/>
                  <a:gd name="T3" fmla="*/ 73 h 73"/>
                  <a:gd name="T4" fmla="*/ 96 w 101"/>
                  <a:gd name="T5" fmla="*/ 69 h 73"/>
                  <a:gd name="T6" fmla="*/ 101 w 101"/>
                  <a:gd name="T7" fmla="*/ 12 h 73"/>
                  <a:gd name="T8" fmla="*/ 97 w 101"/>
                  <a:gd name="T9" fmla="*/ 8 h 73"/>
                  <a:gd name="T10" fmla="*/ 10 w 101"/>
                  <a:gd name="T11" fmla="*/ 0 h 73"/>
                  <a:gd name="T12" fmla="*/ 6 w 101"/>
                  <a:gd name="T13" fmla="*/ 4 h 73"/>
                  <a:gd name="T14" fmla="*/ 1 w 101"/>
                  <a:gd name="T15" fmla="*/ 61 h 73"/>
                  <a:gd name="T16" fmla="*/ 4 w 101"/>
                  <a:gd name="T17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73">
                    <a:moveTo>
                      <a:pt x="4" y="65"/>
                    </a:moveTo>
                    <a:cubicBezTo>
                      <a:pt x="91" y="73"/>
                      <a:pt x="91" y="73"/>
                      <a:pt x="91" y="73"/>
                    </a:cubicBezTo>
                    <a:cubicBezTo>
                      <a:pt x="94" y="73"/>
                      <a:pt x="96" y="71"/>
                      <a:pt x="96" y="69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1" y="10"/>
                      <a:pt x="99" y="9"/>
                      <a:pt x="97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2"/>
                      <a:pt x="6" y="4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0" y="63"/>
                      <a:pt x="2" y="65"/>
                      <a:pt x="4" y="65"/>
                    </a:cubicBezTo>
                    <a:close/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7" name="îŝľide">
                <a:extLst>
                  <a:ext uri="{FF2B5EF4-FFF2-40B4-BE49-F238E27FC236}">
                    <a16:creationId xmlns:a16="http://schemas.microsoft.com/office/drawing/2014/main" id="{E3653959-18D1-4A23-9259-A508406B9760}"/>
                  </a:ext>
                </a:extLst>
              </p:cNvPr>
              <p:cNvSpPr/>
              <p:nvPr/>
            </p:nvSpPr>
            <p:spPr bwMode="auto">
              <a:xfrm>
                <a:off x="7421563" y="3425825"/>
                <a:ext cx="546100" cy="392113"/>
              </a:xfrm>
              <a:custGeom>
                <a:avLst/>
                <a:gdLst>
                  <a:gd name="T0" fmla="*/ 0 w 344"/>
                  <a:gd name="T1" fmla="*/ 216 h 247"/>
                  <a:gd name="T2" fmla="*/ 324 w 344"/>
                  <a:gd name="T3" fmla="*/ 247 h 247"/>
                  <a:gd name="T4" fmla="*/ 344 w 344"/>
                  <a:gd name="T5" fmla="*/ 27 h 247"/>
                  <a:gd name="T6" fmla="*/ 20 w 344"/>
                  <a:gd name="T7" fmla="*/ 0 h 247"/>
                  <a:gd name="T8" fmla="*/ 0 w 344"/>
                  <a:gd name="T9" fmla="*/ 216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4" h="247">
                    <a:moveTo>
                      <a:pt x="0" y="216"/>
                    </a:moveTo>
                    <a:lnTo>
                      <a:pt x="324" y="247"/>
                    </a:lnTo>
                    <a:lnTo>
                      <a:pt x="344" y="27"/>
                    </a:lnTo>
                    <a:lnTo>
                      <a:pt x="20" y="0"/>
                    </a:lnTo>
                    <a:lnTo>
                      <a:pt x="0" y="216"/>
                    </a:lnTo>
                    <a:close/>
                  </a:path>
                </a:pathLst>
              </a:custGeom>
              <a:solidFill>
                <a:srgbClr val="E5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8" name="isļïďé">
                <a:extLst>
                  <a:ext uri="{FF2B5EF4-FFF2-40B4-BE49-F238E27FC236}">
                    <a16:creationId xmlns:a16="http://schemas.microsoft.com/office/drawing/2014/main" id="{B9D9A111-1280-49EC-9CE4-706B3681EA5A}"/>
                  </a:ext>
                </a:extLst>
              </p:cNvPr>
              <p:cNvSpPr/>
              <p:nvPr/>
            </p:nvSpPr>
            <p:spPr bwMode="auto">
              <a:xfrm>
                <a:off x="7464425" y="3449638"/>
                <a:ext cx="49213" cy="306388"/>
              </a:xfrm>
              <a:custGeom>
                <a:avLst/>
                <a:gdLst>
                  <a:gd name="T0" fmla="*/ 5 w 8"/>
                  <a:gd name="T1" fmla="*/ 1 h 50"/>
                  <a:gd name="T2" fmla="*/ 0 w 8"/>
                  <a:gd name="T3" fmla="*/ 49 h 50"/>
                  <a:gd name="T4" fmla="*/ 1 w 8"/>
                  <a:gd name="T5" fmla="*/ 50 h 50"/>
                  <a:gd name="T6" fmla="*/ 3 w 8"/>
                  <a:gd name="T7" fmla="*/ 49 h 50"/>
                  <a:gd name="T8" fmla="*/ 8 w 8"/>
                  <a:gd name="T9" fmla="*/ 1 h 50"/>
                  <a:gd name="T10" fmla="*/ 7 w 8"/>
                  <a:gd name="T11" fmla="*/ 0 h 50"/>
                  <a:gd name="T12" fmla="*/ 5 w 8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1" y="50"/>
                      <a:pt x="1" y="50"/>
                    </a:cubicBezTo>
                    <a:cubicBezTo>
                      <a:pt x="2" y="50"/>
                      <a:pt x="3" y="49"/>
                      <a:pt x="3" y="49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6" y="0"/>
                      <a:pt x="5" y="0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9" name="ïś1îḓé">
                <a:extLst>
                  <a:ext uri="{FF2B5EF4-FFF2-40B4-BE49-F238E27FC236}">
                    <a16:creationId xmlns:a16="http://schemas.microsoft.com/office/drawing/2014/main" id="{D4F7C8AB-28F6-45FC-959E-57E5504D20C2}"/>
                  </a:ext>
                </a:extLst>
              </p:cNvPr>
              <p:cNvSpPr/>
              <p:nvPr/>
            </p:nvSpPr>
            <p:spPr bwMode="auto">
              <a:xfrm>
                <a:off x="7513638" y="3449638"/>
                <a:ext cx="42863" cy="312738"/>
              </a:xfrm>
              <a:custGeom>
                <a:avLst/>
                <a:gdLst>
                  <a:gd name="T0" fmla="*/ 5 w 7"/>
                  <a:gd name="T1" fmla="*/ 1 h 51"/>
                  <a:gd name="T2" fmla="*/ 0 w 7"/>
                  <a:gd name="T3" fmla="*/ 49 h 51"/>
                  <a:gd name="T4" fmla="*/ 1 w 7"/>
                  <a:gd name="T5" fmla="*/ 51 h 51"/>
                  <a:gd name="T6" fmla="*/ 2 w 7"/>
                  <a:gd name="T7" fmla="*/ 50 h 51"/>
                  <a:gd name="T8" fmla="*/ 7 w 7"/>
                  <a:gd name="T9" fmla="*/ 2 h 51"/>
                  <a:gd name="T10" fmla="*/ 6 w 7"/>
                  <a:gd name="T11" fmla="*/ 0 h 51"/>
                  <a:gd name="T12" fmla="*/ 5 w 7"/>
                  <a:gd name="T13" fmla="*/ 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1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0"/>
                      <a:pt x="1" y="51"/>
                    </a:cubicBezTo>
                    <a:cubicBezTo>
                      <a:pt x="2" y="51"/>
                      <a:pt x="2" y="50"/>
                      <a:pt x="2" y="5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0" name="ïşḷïdé">
                <a:extLst>
                  <a:ext uri="{FF2B5EF4-FFF2-40B4-BE49-F238E27FC236}">
                    <a16:creationId xmlns:a16="http://schemas.microsoft.com/office/drawing/2014/main" id="{EBDB10C2-EF13-4CE4-A715-0C0C323A7B65}"/>
                  </a:ext>
                </a:extLst>
              </p:cNvPr>
              <p:cNvSpPr/>
              <p:nvPr/>
            </p:nvSpPr>
            <p:spPr bwMode="auto">
              <a:xfrm>
                <a:off x="7586663" y="3455988"/>
                <a:ext cx="42863" cy="306388"/>
              </a:xfrm>
              <a:custGeom>
                <a:avLst/>
                <a:gdLst>
                  <a:gd name="T0" fmla="*/ 5 w 7"/>
                  <a:gd name="T1" fmla="*/ 1 h 50"/>
                  <a:gd name="T2" fmla="*/ 0 w 7"/>
                  <a:gd name="T3" fmla="*/ 49 h 50"/>
                  <a:gd name="T4" fmla="*/ 1 w 7"/>
                  <a:gd name="T5" fmla="*/ 50 h 50"/>
                  <a:gd name="T6" fmla="*/ 2 w 7"/>
                  <a:gd name="T7" fmla="*/ 49 h 50"/>
                  <a:gd name="T8" fmla="*/ 7 w 7"/>
                  <a:gd name="T9" fmla="*/ 1 h 50"/>
                  <a:gd name="T10" fmla="*/ 6 w 7"/>
                  <a:gd name="T11" fmla="*/ 0 h 50"/>
                  <a:gd name="T12" fmla="*/ 5 w 7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1" y="50"/>
                      <a:pt x="2" y="50"/>
                      <a:pt x="2" y="4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1" name="îṥliḍé">
                <a:extLst>
                  <a:ext uri="{FF2B5EF4-FFF2-40B4-BE49-F238E27FC236}">
                    <a16:creationId xmlns:a16="http://schemas.microsoft.com/office/drawing/2014/main" id="{20D63101-1080-499E-8075-6C8B30C27B05}"/>
                  </a:ext>
                </a:extLst>
              </p:cNvPr>
              <p:cNvSpPr/>
              <p:nvPr/>
            </p:nvSpPr>
            <p:spPr bwMode="auto">
              <a:xfrm>
                <a:off x="7654925" y="3462338"/>
                <a:ext cx="42863" cy="306388"/>
              </a:xfrm>
              <a:custGeom>
                <a:avLst/>
                <a:gdLst>
                  <a:gd name="T0" fmla="*/ 5 w 7"/>
                  <a:gd name="T1" fmla="*/ 1 h 50"/>
                  <a:gd name="T2" fmla="*/ 0 w 7"/>
                  <a:gd name="T3" fmla="*/ 49 h 50"/>
                  <a:gd name="T4" fmla="*/ 1 w 7"/>
                  <a:gd name="T5" fmla="*/ 50 h 50"/>
                  <a:gd name="T6" fmla="*/ 2 w 7"/>
                  <a:gd name="T7" fmla="*/ 49 h 50"/>
                  <a:gd name="T8" fmla="*/ 7 w 7"/>
                  <a:gd name="T9" fmla="*/ 1 h 50"/>
                  <a:gd name="T10" fmla="*/ 6 w 7"/>
                  <a:gd name="T11" fmla="*/ 0 h 50"/>
                  <a:gd name="T12" fmla="*/ 5 w 7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2" y="50"/>
                      <a:pt x="2" y="50"/>
                      <a:pt x="2" y="4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2" name="íšlíďé">
                <a:extLst>
                  <a:ext uri="{FF2B5EF4-FFF2-40B4-BE49-F238E27FC236}">
                    <a16:creationId xmlns:a16="http://schemas.microsoft.com/office/drawing/2014/main" id="{AB5EC85C-327E-421E-B4C9-117C688B3435}"/>
                  </a:ext>
                </a:extLst>
              </p:cNvPr>
              <p:cNvSpPr/>
              <p:nvPr/>
            </p:nvSpPr>
            <p:spPr bwMode="auto">
              <a:xfrm>
                <a:off x="7727950" y="3468688"/>
                <a:ext cx="36513" cy="306388"/>
              </a:xfrm>
              <a:custGeom>
                <a:avLst/>
                <a:gdLst>
                  <a:gd name="T0" fmla="*/ 4 w 6"/>
                  <a:gd name="T1" fmla="*/ 1 h 50"/>
                  <a:gd name="T2" fmla="*/ 0 w 6"/>
                  <a:gd name="T3" fmla="*/ 49 h 50"/>
                  <a:gd name="T4" fmla="*/ 1 w 6"/>
                  <a:gd name="T5" fmla="*/ 50 h 50"/>
                  <a:gd name="T6" fmla="*/ 3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0"/>
                      <a:pt x="1" y="50"/>
                    </a:cubicBezTo>
                    <a:cubicBezTo>
                      <a:pt x="2" y="50"/>
                      <a:pt x="2" y="50"/>
                      <a:pt x="3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3" name="ïslïďè">
                <a:extLst>
                  <a:ext uri="{FF2B5EF4-FFF2-40B4-BE49-F238E27FC236}">
                    <a16:creationId xmlns:a16="http://schemas.microsoft.com/office/drawing/2014/main" id="{92BB9846-B2C4-49C7-8708-E73224080015}"/>
                  </a:ext>
                </a:extLst>
              </p:cNvPr>
              <p:cNvSpPr/>
              <p:nvPr/>
            </p:nvSpPr>
            <p:spPr bwMode="auto">
              <a:xfrm>
                <a:off x="7800975" y="3475038"/>
                <a:ext cx="38100" cy="304800"/>
              </a:xfrm>
              <a:custGeom>
                <a:avLst/>
                <a:gdLst>
                  <a:gd name="T0" fmla="*/ 4 w 6"/>
                  <a:gd name="T1" fmla="*/ 1 h 50"/>
                  <a:gd name="T2" fmla="*/ 0 w 6"/>
                  <a:gd name="T3" fmla="*/ 49 h 50"/>
                  <a:gd name="T4" fmla="*/ 1 w 6"/>
                  <a:gd name="T5" fmla="*/ 50 h 50"/>
                  <a:gd name="T6" fmla="*/ 2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1" y="50"/>
                      <a:pt x="2" y="50"/>
                      <a:pt x="2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4" name="iśḷïḋé">
                <a:extLst>
                  <a:ext uri="{FF2B5EF4-FFF2-40B4-BE49-F238E27FC236}">
                    <a16:creationId xmlns:a16="http://schemas.microsoft.com/office/drawing/2014/main" id="{4BDDA403-7F39-4D61-99CD-011A100D8423}"/>
                  </a:ext>
                </a:extLst>
              </p:cNvPr>
              <p:cNvSpPr/>
              <p:nvPr/>
            </p:nvSpPr>
            <p:spPr bwMode="auto">
              <a:xfrm>
                <a:off x="7869238" y="3481388"/>
                <a:ext cx="36513" cy="304800"/>
              </a:xfrm>
              <a:custGeom>
                <a:avLst/>
                <a:gdLst>
                  <a:gd name="T0" fmla="*/ 4 w 6"/>
                  <a:gd name="T1" fmla="*/ 1 h 50"/>
                  <a:gd name="T2" fmla="*/ 1 w 6"/>
                  <a:gd name="T3" fmla="*/ 49 h 50"/>
                  <a:gd name="T4" fmla="*/ 1 w 6"/>
                  <a:gd name="T5" fmla="*/ 50 h 50"/>
                  <a:gd name="T6" fmla="*/ 3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1" y="49"/>
                      <a:pt x="1" y="49"/>
                      <a:pt x="1" y="49"/>
                    </a:cubicBezTo>
                    <a:cubicBezTo>
                      <a:pt x="0" y="50"/>
                      <a:pt x="1" y="50"/>
                      <a:pt x="1" y="50"/>
                    </a:cubicBezTo>
                    <a:cubicBezTo>
                      <a:pt x="2" y="50"/>
                      <a:pt x="3" y="50"/>
                      <a:pt x="3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5" name="ïśḷiḑê">
                <a:extLst>
                  <a:ext uri="{FF2B5EF4-FFF2-40B4-BE49-F238E27FC236}">
                    <a16:creationId xmlns:a16="http://schemas.microsoft.com/office/drawing/2014/main" id="{027B5FA9-6D26-4D61-8857-813F3C4D4651}"/>
                  </a:ext>
                </a:extLst>
              </p:cNvPr>
              <p:cNvSpPr/>
              <p:nvPr/>
            </p:nvSpPr>
            <p:spPr bwMode="auto">
              <a:xfrm>
                <a:off x="7391400" y="3524250"/>
                <a:ext cx="55563" cy="165100"/>
              </a:xfrm>
              <a:custGeom>
                <a:avLst/>
                <a:gdLst>
                  <a:gd name="T0" fmla="*/ 8 w 35"/>
                  <a:gd name="T1" fmla="*/ 0 h 104"/>
                  <a:gd name="T2" fmla="*/ 35 w 35"/>
                  <a:gd name="T3" fmla="*/ 0 h 104"/>
                  <a:gd name="T4" fmla="*/ 27 w 35"/>
                  <a:gd name="T5" fmla="*/ 104 h 104"/>
                  <a:gd name="T6" fmla="*/ 0 w 35"/>
                  <a:gd name="T7" fmla="*/ 100 h 104"/>
                  <a:gd name="T8" fmla="*/ 8 w 35"/>
                  <a:gd name="T9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4">
                    <a:moveTo>
                      <a:pt x="8" y="0"/>
                    </a:moveTo>
                    <a:lnTo>
                      <a:pt x="35" y="0"/>
                    </a:lnTo>
                    <a:lnTo>
                      <a:pt x="27" y="104"/>
                    </a:lnTo>
                    <a:lnTo>
                      <a:pt x="0" y="10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6" name="íŝļîḍè">
                <a:extLst>
                  <a:ext uri="{FF2B5EF4-FFF2-40B4-BE49-F238E27FC236}">
                    <a16:creationId xmlns:a16="http://schemas.microsoft.com/office/drawing/2014/main" id="{2BFDF888-17A1-4E68-B3F4-D4B7720CE216}"/>
                  </a:ext>
                </a:extLst>
              </p:cNvPr>
              <p:cNvSpPr/>
              <p:nvPr/>
            </p:nvSpPr>
            <p:spPr bwMode="auto">
              <a:xfrm>
                <a:off x="7312025" y="3560763"/>
                <a:ext cx="98425" cy="85725"/>
              </a:xfrm>
              <a:custGeom>
                <a:avLst/>
                <a:gdLst>
                  <a:gd name="T0" fmla="*/ 0 w 16"/>
                  <a:gd name="T1" fmla="*/ 6 h 14"/>
                  <a:gd name="T2" fmla="*/ 7 w 16"/>
                  <a:gd name="T3" fmla="*/ 13 h 14"/>
                  <a:gd name="T4" fmla="*/ 15 w 16"/>
                  <a:gd name="T5" fmla="*/ 14 h 14"/>
                  <a:gd name="T6" fmla="*/ 16 w 16"/>
                  <a:gd name="T7" fmla="*/ 1 h 14"/>
                  <a:gd name="T8" fmla="*/ 8 w 16"/>
                  <a:gd name="T9" fmla="*/ 0 h 14"/>
                  <a:gd name="T10" fmla="*/ 0 w 16"/>
                  <a:gd name="T11" fmla="*/ 6 h 14"/>
                  <a:gd name="T12" fmla="*/ 11 w 16"/>
                  <a:gd name="T13" fmla="*/ 7 h 14"/>
                  <a:gd name="T14" fmla="*/ 7 w 16"/>
                  <a:gd name="T15" fmla="*/ 10 h 14"/>
                  <a:gd name="T16" fmla="*/ 3 w 16"/>
                  <a:gd name="T17" fmla="*/ 6 h 14"/>
                  <a:gd name="T18" fmla="*/ 8 w 16"/>
                  <a:gd name="T19" fmla="*/ 3 h 14"/>
                  <a:gd name="T20" fmla="*/ 11 w 16"/>
                  <a:gd name="T21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14">
                    <a:moveTo>
                      <a:pt x="0" y="6"/>
                    </a:moveTo>
                    <a:cubicBezTo>
                      <a:pt x="0" y="9"/>
                      <a:pt x="3" y="13"/>
                      <a:pt x="7" y="13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0" y="0"/>
                      <a:pt x="8" y="0"/>
                    </a:cubicBezTo>
                    <a:cubicBezTo>
                      <a:pt x="4" y="0"/>
                      <a:pt x="1" y="2"/>
                      <a:pt x="0" y="6"/>
                    </a:cubicBezTo>
                    <a:close/>
                    <a:moveTo>
                      <a:pt x="11" y="7"/>
                    </a:moveTo>
                    <a:cubicBezTo>
                      <a:pt x="11" y="9"/>
                      <a:pt x="9" y="10"/>
                      <a:pt x="7" y="10"/>
                    </a:cubicBezTo>
                    <a:cubicBezTo>
                      <a:pt x="5" y="10"/>
                      <a:pt x="3" y="8"/>
                      <a:pt x="3" y="6"/>
                    </a:cubicBezTo>
                    <a:cubicBezTo>
                      <a:pt x="4" y="4"/>
                      <a:pt x="6" y="3"/>
                      <a:pt x="8" y="3"/>
                    </a:cubicBezTo>
                    <a:cubicBezTo>
                      <a:pt x="10" y="3"/>
                      <a:pt x="11" y="5"/>
                      <a:pt x="11" y="7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7" name="ïsḷïḓe">
                <a:extLst>
                  <a:ext uri="{FF2B5EF4-FFF2-40B4-BE49-F238E27FC236}">
                    <a16:creationId xmlns:a16="http://schemas.microsoft.com/office/drawing/2014/main" id="{C5C9D3A0-8C1C-472D-BDEC-1BBFC2295B67}"/>
                  </a:ext>
                </a:extLst>
              </p:cNvPr>
              <p:cNvSpPr/>
              <p:nvPr/>
            </p:nvSpPr>
            <p:spPr bwMode="auto">
              <a:xfrm>
                <a:off x="7800975" y="3571875"/>
                <a:ext cx="123825" cy="312738"/>
              </a:xfrm>
              <a:custGeom>
                <a:avLst/>
                <a:gdLst>
                  <a:gd name="T0" fmla="*/ 10 w 20"/>
                  <a:gd name="T1" fmla="*/ 3 h 51"/>
                  <a:gd name="T2" fmla="*/ 1 w 20"/>
                  <a:gd name="T3" fmla="*/ 27 h 51"/>
                  <a:gd name="T4" fmla="*/ 3 w 20"/>
                  <a:gd name="T5" fmla="*/ 43 h 51"/>
                  <a:gd name="T6" fmla="*/ 6 w 20"/>
                  <a:gd name="T7" fmla="*/ 46 h 51"/>
                  <a:gd name="T8" fmla="*/ 9 w 20"/>
                  <a:gd name="T9" fmla="*/ 50 h 51"/>
                  <a:gd name="T10" fmla="*/ 10 w 20"/>
                  <a:gd name="T11" fmla="*/ 51 h 51"/>
                  <a:gd name="T12" fmla="*/ 12 w 20"/>
                  <a:gd name="T13" fmla="*/ 50 h 51"/>
                  <a:gd name="T14" fmla="*/ 13 w 20"/>
                  <a:gd name="T15" fmla="*/ 47 h 51"/>
                  <a:gd name="T16" fmla="*/ 14 w 20"/>
                  <a:gd name="T17" fmla="*/ 37 h 51"/>
                  <a:gd name="T18" fmla="*/ 16 w 20"/>
                  <a:gd name="T19" fmla="*/ 30 h 51"/>
                  <a:gd name="T20" fmla="*/ 18 w 20"/>
                  <a:gd name="T21" fmla="*/ 27 h 51"/>
                  <a:gd name="T22" fmla="*/ 19 w 20"/>
                  <a:gd name="T23" fmla="*/ 17 h 51"/>
                  <a:gd name="T24" fmla="*/ 17 w 20"/>
                  <a:gd name="T25" fmla="*/ 10 h 51"/>
                  <a:gd name="T26" fmla="*/ 20 w 20"/>
                  <a:gd name="T2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51">
                    <a:moveTo>
                      <a:pt x="10" y="3"/>
                    </a:moveTo>
                    <a:cubicBezTo>
                      <a:pt x="6" y="11"/>
                      <a:pt x="2" y="18"/>
                      <a:pt x="1" y="27"/>
                    </a:cubicBezTo>
                    <a:cubicBezTo>
                      <a:pt x="0" y="32"/>
                      <a:pt x="1" y="38"/>
                      <a:pt x="3" y="43"/>
                    </a:cubicBezTo>
                    <a:cubicBezTo>
                      <a:pt x="4" y="45"/>
                      <a:pt x="5" y="43"/>
                      <a:pt x="6" y="46"/>
                    </a:cubicBezTo>
                    <a:cubicBezTo>
                      <a:pt x="7" y="47"/>
                      <a:pt x="8" y="48"/>
                      <a:pt x="9" y="50"/>
                    </a:cubicBezTo>
                    <a:cubicBezTo>
                      <a:pt x="9" y="50"/>
                      <a:pt x="10" y="51"/>
                      <a:pt x="10" y="51"/>
                    </a:cubicBezTo>
                    <a:cubicBezTo>
                      <a:pt x="11" y="51"/>
                      <a:pt x="12" y="51"/>
                      <a:pt x="12" y="50"/>
                    </a:cubicBezTo>
                    <a:cubicBezTo>
                      <a:pt x="13" y="49"/>
                      <a:pt x="13" y="48"/>
                      <a:pt x="13" y="47"/>
                    </a:cubicBezTo>
                    <a:cubicBezTo>
                      <a:pt x="13" y="43"/>
                      <a:pt x="13" y="42"/>
                      <a:pt x="14" y="37"/>
                    </a:cubicBezTo>
                    <a:cubicBezTo>
                      <a:pt x="14" y="35"/>
                      <a:pt x="15" y="32"/>
                      <a:pt x="16" y="30"/>
                    </a:cubicBezTo>
                    <a:cubicBezTo>
                      <a:pt x="17" y="29"/>
                      <a:pt x="17" y="28"/>
                      <a:pt x="18" y="27"/>
                    </a:cubicBezTo>
                    <a:cubicBezTo>
                      <a:pt x="20" y="24"/>
                      <a:pt x="20" y="20"/>
                      <a:pt x="19" y="17"/>
                    </a:cubicBezTo>
                    <a:cubicBezTo>
                      <a:pt x="18" y="15"/>
                      <a:pt x="17" y="12"/>
                      <a:pt x="17" y="10"/>
                    </a:cubicBezTo>
                    <a:cubicBezTo>
                      <a:pt x="18" y="7"/>
                      <a:pt x="20" y="4"/>
                      <a:pt x="20" y="0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8" name="íṥlíḓé">
                <a:extLst>
                  <a:ext uri="{FF2B5EF4-FFF2-40B4-BE49-F238E27FC236}">
                    <a16:creationId xmlns:a16="http://schemas.microsoft.com/office/drawing/2014/main" id="{D139A2D6-6AFC-497C-BD03-AC6E14894BDC}"/>
                  </a:ext>
                </a:extLst>
              </p:cNvPr>
              <p:cNvSpPr/>
              <p:nvPr/>
            </p:nvSpPr>
            <p:spPr bwMode="auto">
              <a:xfrm>
                <a:off x="7496175" y="3541713"/>
                <a:ext cx="115888" cy="280988"/>
              </a:xfrm>
              <a:custGeom>
                <a:avLst/>
                <a:gdLst>
                  <a:gd name="T0" fmla="*/ 2 w 19"/>
                  <a:gd name="T1" fmla="*/ 5 h 46"/>
                  <a:gd name="T2" fmla="*/ 10 w 19"/>
                  <a:gd name="T3" fmla="*/ 44 h 46"/>
                  <a:gd name="T4" fmla="*/ 13 w 19"/>
                  <a:gd name="T5" fmla="*/ 45 h 46"/>
                  <a:gd name="T6" fmla="*/ 14 w 19"/>
                  <a:gd name="T7" fmla="*/ 45 h 46"/>
                  <a:gd name="T8" fmla="*/ 14 w 19"/>
                  <a:gd name="T9" fmla="*/ 32 h 46"/>
                  <a:gd name="T10" fmla="*/ 13 w 19"/>
                  <a:gd name="T11" fmla="*/ 20 h 46"/>
                  <a:gd name="T12" fmla="*/ 15 w 19"/>
                  <a:gd name="T13" fmla="*/ 28 h 46"/>
                  <a:gd name="T14" fmla="*/ 17 w 19"/>
                  <a:gd name="T15" fmla="*/ 27 h 46"/>
                  <a:gd name="T16" fmla="*/ 18 w 19"/>
                  <a:gd name="T17" fmla="*/ 25 h 46"/>
                  <a:gd name="T18" fmla="*/ 18 w 19"/>
                  <a:gd name="T19" fmla="*/ 18 h 46"/>
                  <a:gd name="T20" fmla="*/ 18 w 19"/>
                  <a:gd name="T21" fmla="*/ 13 h 46"/>
                  <a:gd name="T22" fmla="*/ 14 w 19"/>
                  <a:gd name="T23" fmla="*/ 6 h 46"/>
                  <a:gd name="T24" fmla="*/ 12 w 19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46">
                    <a:moveTo>
                      <a:pt x="2" y="5"/>
                    </a:moveTo>
                    <a:cubicBezTo>
                      <a:pt x="0" y="19"/>
                      <a:pt x="3" y="33"/>
                      <a:pt x="10" y="44"/>
                    </a:cubicBezTo>
                    <a:cubicBezTo>
                      <a:pt x="11" y="45"/>
                      <a:pt x="12" y="46"/>
                      <a:pt x="13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6" y="41"/>
                      <a:pt x="15" y="37"/>
                      <a:pt x="14" y="32"/>
                    </a:cubicBezTo>
                    <a:cubicBezTo>
                      <a:pt x="14" y="28"/>
                      <a:pt x="13" y="24"/>
                      <a:pt x="13" y="20"/>
                    </a:cubicBezTo>
                    <a:cubicBezTo>
                      <a:pt x="14" y="22"/>
                      <a:pt x="15" y="25"/>
                      <a:pt x="15" y="28"/>
                    </a:cubicBezTo>
                    <a:cubicBezTo>
                      <a:pt x="16" y="28"/>
                      <a:pt x="17" y="28"/>
                      <a:pt x="17" y="27"/>
                    </a:cubicBezTo>
                    <a:cubicBezTo>
                      <a:pt x="18" y="26"/>
                      <a:pt x="18" y="25"/>
                      <a:pt x="18" y="25"/>
                    </a:cubicBezTo>
                    <a:cubicBezTo>
                      <a:pt x="18" y="22"/>
                      <a:pt x="18" y="20"/>
                      <a:pt x="18" y="18"/>
                    </a:cubicBezTo>
                    <a:cubicBezTo>
                      <a:pt x="18" y="16"/>
                      <a:pt x="19" y="15"/>
                      <a:pt x="18" y="13"/>
                    </a:cubicBezTo>
                    <a:cubicBezTo>
                      <a:pt x="17" y="10"/>
                      <a:pt x="15" y="8"/>
                      <a:pt x="14" y="6"/>
                    </a:cubicBezTo>
                    <a:cubicBezTo>
                      <a:pt x="13" y="4"/>
                      <a:pt x="12" y="2"/>
                      <a:pt x="12" y="0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9" name="ís1íḑê">
                <a:extLst>
                  <a:ext uri="{FF2B5EF4-FFF2-40B4-BE49-F238E27FC236}">
                    <a16:creationId xmlns:a16="http://schemas.microsoft.com/office/drawing/2014/main" id="{ABAC53F4-EB19-4193-AB7A-D6C01B3A34E8}"/>
                  </a:ext>
                </a:extLst>
              </p:cNvPr>
              <p:cNvSpPr/>
              <p:nvPr/>
            </p:nvSpPr>
            <p:spPr bwMode="auto">
              <a:xfrm>
                <a:off x="7372350" y="2397125"/>
                <a:ext cx="434975" cy="1217613"/>
              </a:xfrm>
              <a:custGeom>
                <a:avLst/>
                <a:gdLst>
                  <a:gd name="T0" fmla="*/ 71 w 71"/>
                  <a:gd name="T1" fmla="*/ 0 h 199"/>
                  <a:gd name="T2" fmla="*/ 31 w 71"/>
                  <a:gd name="T3" fmla="*/ 16 h 199"/>
                  <a:gd name="T4" fmla="*/ 3 w 71"/>
                  <a:gd name="T5" fmla="*/ 88 h 199"/>
                  <a:gd name="T6" fmla="*/ 8 w 71"/>
                  <a:gd name="T7" fmla="*/ 147 h 199"/>
                  <a:gd name="T8" fmla="*/ 20 w 71"/>
                  <a:gd name="T9" fmla="*/ 193 h 199"/>
                  <a:gd name="T10" fmla="*/ 35 w 71"/>
                  <a:gd name="T11" fmla="*/ 191 h 199"/>
                  <a:gd name="T12" fmla="*/ 58 w 71"/>
                  <a:gd name="T13" fmla="*/ 24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199">
                    <a:moveTo>
                      <a:pt x="71" y="0"/>
                    </a:moveTo>
                    <a:cubicBezTo>
                      <a:pt x="57" y="1"/>
                      <a:pt x="41" y="7"/>
                      <a:pt x="31" y="16"/>
                    </a:cubicBezTo>
                    <a:cubicBezTo>
                      <a:pt x="10" y="35"/>
                      <a:pt x="7" y="63"/>
                      <a:pt x="3" y="88"/>
                    </a:cubicBezTo>
                    <a:cubicBezTo>
                      <a:pt x="0" y="107"/>
                      <a:pt x="4" y="128"/>
                      <a:pt x="8" y="147"/>
                    </a:cubicBezTo>
                    <a:cubicBezTo>
                      <a:pt x="11" y="157"/>
                      <a:pt x="17" y="183"/>
                      <a:pt x="20" y="193"/>
                    </a:cubicBezTo>
                    <a:cubicBezTo>
                      <a:pt x="22" y="196"/>
                      <a:pt x="31" y="199"/>
                      <a:pt x="35" y="191"/>
                    </a:cubicBezTo>
                    <a:cubicBezTo>
                      <a:pt x="35" y="139"/>
                      <a:pt x="43" y="74"/>
                      <a:pt x="58" y="24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0" name="ïṥlïḋe">
                <a:extLst>
                  <a:ext uri="{FF2B5EF4-FFF2-40B4-BE49-F238E27FC236}">
                    <a16:creationId xmlns:a16="http://schemas.microsoft.com/office/drawing/2014/main" id="{8FA77F79-36CD-4270-B19A-AD32C13EDEAF}"/>
                  </a:ext>
                </a:extLst>
              </p:cNvPr>
              <p:cNvSpPr/>
              <p:nvPr/>
            </p:nvSpPr>
            <p:spPr bwMode="auto">
              <a:xfrm>
                <a:off x="7843838" y="2386013"/>
                <a:ext cx="385763" cy="1266825"/>
              </a:xfrm>
              <a:custGeom>
                <a:avLst/>
                <a:gdLst>
                  <a:gd name="T0" fmla="*/ 26 w 63"/>
                  <a:gd name="T1" fmla="*/ 45 h 207"/>
                  <a:gd name="T2" fmla="*/ 18 w 63"/>
                  <a:gd name="T3" fmla="*/ 125 h 207"/>
                  <a:gd name="T4" fmla="*/ 0 w 63"/>
                  <a:gd name="T5" fmla="*/ 202 h 207"/>
                  <a:gd name="T6" fmla="*/ 12 w 63"/>
                  <a:gd name="T7" fmla="*/ 207 h 207"/>
                  <a:gd name="T8" fmla="*/ 39 w 63"/>
                  <a:gd name="T9" fmla="*/ 167 h 207"/>
                  <a:gd name="T10" fmla="*/ 62 w 63"/>
                  <a:gd name="T11" fmla="*/ 117 h 207"/>
                  <a:gd name="T12" fmla="*/ 63 w 63"/>
                  <a:gd name="T13" fmla="*/ 96 h 207"/>
                  <a:gd name="T14" fmla="*/ 58 w 63"/>
                  <a:gd name="T15" fmla="*/ 50 h 207"/>
                  <a:gd name="T16" fmla="*/ 10 w 63"/>
                  <a:gd name="T17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207">
                    <a:moveTo>
                      <a:pt x="26" y="45"/>
                    </a:moveTo>
                    <a:cubicBezTo>
                      <a:pt x="14" y="74"/>
                      <a:pt x="30" y="96"/>
                      <a:pt x="18" y="125"/>
                    </a:cubicBezTo>
                    <a:cubicBezTo>
                      <a:pt x="5" y="155"/>
                      <a:pt x="0" y="202"/>
                      <a:pt x="0" y="202"/>
                    </a:cubicBezTo>
                    <a:cubicBezTo>
                      <a:pt x="0" y="202"/>
                      <a:pt x="6" y="207"/>
                      <a:pt x="12" y="207"/>
                    </a:cubicBezTo>
                    <a:cubicBezTo>
                      <a:pt x="16" y="203"/>
                      <a:pt x="29" y="183"/>
                      <a:pt x="39" y="167"/>
                    </a:cubicBezTo>
                    <a:cubicBezTo>
                      <a:pt x="50" y="152"/>
                      <a:pt x="59" y="135"/>
                      <a:pt x="62" y="117"/>
                    </a:cubicBezTo>
                    <a:cubicBezTo>
                      <a:pt x="63" y="110"/>
                      <a:pt x="63" y="103"/>
                      <a:pt x="63" y="96"/>
                    </a:cubicBezTo>
                    <a:cubicBezTo>
                      <a:pt x="63" y="81"/>
                      <a:pt x="63" y="65"/>
                      <a:pt x="58" y="50"/>
                    </a:cubicBezTo>
                    <a:cubicBezTo>
                      <a:pt x="51" y="27"/>
                      <a:pt x="33" y="8"/>
                      <a:pt x="10" y="0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1" name="ï$líďe">
                <a:extLst>
                  <a:ext uri="{FF2B5EF4-FFF2-40B4-BE49-F238E27FC236}">
                    <a16:creationId xmlns:a16="http://schemas.microsoft.com/office/drawing/2014/main" id="{02B13683-55EE-43E4-A4CA-E52C42AF4B90}"/>
                  </a:ext>
                </a:extLst>
              </p:cNvPr>
              <p:cNvSpPr/>
              <p:nvPr/>
            </p:nvSpPr>
            <p:spPr bwMode="auto">
              <a:xfrm>
                <a:off x="7532688" y="2416175"/>
                <a:ext cx="600075" cy="979488"/>
              </a:xfrm>
              <a:custGeom>
                <a:avLst/>
                <a:gdLst>
                  <a:gd name="T0" fmla="*/ 1 w 98"/>
                  <a:gd name="T1" fmla="*/ 59 h 160"/>
                  <a:gd name="T2" fmla="*/ 1 w 98"/>
                  <a:gd name="T3" fmla="*/ 78 h 160"/>
                  <a:gd name="T4" fmla="*/ 5 w 98"/>
                  <a:gd name="T5" fmla="*/ 93 h 160"/>
                  <a:gd name="T6" fmla="*/ 4 w 98"/>
                  <a:gd name="T7" fmla="*/ 135 h 160"/>
                  <a:gd name="T8" fmla="*/ 4 w 98"/>
                  <a:gd name="T9" fmla="*/ 144 h 160"/>
                  <a:gd name="T10" fmla="*/ 79 w 98"/>
                  <a:gd name="T11" fmla="*/ 154 h 160"/>
                  <a:gd name="T12" fmla="*/ 88 w 98"/>
                  <a:gd name="T13" fmla="*/ 141 h 160"/>
                  <a:gd name="T14" fmla="*/ 93 w 98"/>
                  <a:gd name="T15" fmla="*/ 120 h 160"/>
                  <a:gd name="T16" fmla="*/ 95 w 98"/>
                  <a:gd name="T17" fmla="*/ 90 h 160"/>
                  <a:gd name="T18" fmla="*/ 68 w 98"/>
                  <a:gd name="T19" fmla="*/ 2 h 160"/>
                  <a:gd name="T20" fmla="*/ 66 w 98"/>
                  <a:gd name="T21" fmla="*/ 1 h 160"/>
                  <a:gd name="T22" fmla="*/ 61 w 98"/>
                  <a:gd name="T23" fmla="*/ 1 h 160"/>
                  <a:gd name="T24" fmla="*/ 37 w 98"/>
                  <a:gd name="T25" fmla="*/ 2 h 160"/>
                  <a:gd name="T26" fmla="*/ 34 w 98"/>
                  <a:gd name="T27" fmla="*/ 2 h 160"/>
                  <a:gd name="T28" fmla="*/ 32 w 98"/>
                  <a:gd name="T29" fmla="*/ 3 h 160"/>
                  <a:gd name="T30" fmla="*/ 12 w 98"/>
                  <a:gd name="T31" fmla="*/ 29 h 160"/>
                  <a:gd name="T32" fmla="*/ 1 w 98"/>
                  <a:gd name="T33" fmla="*/ 5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8" h="160">
                    <a:moveTo>
                      <a:pt x="1" y="59"/>
                    </a:moveTo>
                    <a:cubicBezTo>
                      <a:pt x="0" y="66"/>
                      <a:pt x="0" y="72"/>
                      <a:pt x="1" y="78"/>
                    </a:cubicBezTo>
                    <a:cubicBezTo>
                      <a:pt x="2" y="84"/>
                      <a:pt x="4" y="88"/>
                      <a:pt x="5" y="93"/>
                    </a:cubicBezTo>
                    <a:cubicBezTo>
                      <a:pt x="9" y="107"/>
                      <a:pt x="6" y="121"/>
                      <a:pt x="4" y="135"/>
                    </a:cubicBezTo>
                    <a:cubicBezTo>
                      <a:pt x="4" y="138"/>
                      <a:pt x="3" y="141"/>
                      <a:pt x="4" y="144"/>
                    </a:cubicBezTo>
                    <a:cubicBezTo>
                      <a:pt x="11" y="160"/>
                      <a:pt x="60" y="159"/>
                      <a:pt x="79" y="154"/>
                    </a:cubicBezTo>
                    <a:cubicBezTo>
                      <a:pt x="90" y="152"/>
                      <a:pt x="83" y="151"/>
                      <a:pt x="88" y="141"/>
                    </a:cubicBezTo>
                    <a:cubicBezTo>
                      <a:pt x="91" y="134"/>
                      <a:pt x="92" y="127"/>
                      <a:pt x="93" y="120"/>
                    </a:cubicBezTo>
                    <a:cubicBezTo>
                      <a:pt x="94" y="110"/>
                      <a:pt x="95" y="100"/>
                      <a:pt x="95" y="90"/>
                    </a:cubicBezTo>
                    <a:cubicBezTo>
                      <a:pt x="98" y="57"/>
                      <a:pt x="95" y="24"/>
                      <a:pt x="68" y="2"/>
                    </a:cubicBezTo>
                    <a:cubicBezTo>
                      <a:pt x="67" y="1"/>
                      <a:pt x="66" y="1"/>
                      <a:pt x="66" y="1"/>
                    </a:cubicBezTo>
                    <a:cubicBezTo>
                      <a:pt x="64" y="0"/>
                      <a:pt x="63" y="1"/>
                      <a:pt x="61" y="1"/>
                    </a:cubicBezTo>
                    <a:cubicBezTo>
                      <a:pt x="54" y="3"/>
                      <a:pt x="45" y="4"/>
                      <a:pt x="37" y="2"/>
                    </a:cubicBezTo>
                    <a:cubicBezTo>
                      <a:pt x="36" y="2"/>
                      <a:pt x="35" y="1"/>
                      <a:pt x="34" y="2"/>
                    </a:cubicBezTo>
                    <a:cubicBezTo>
                      <a:pt x="33" y="2"/>
                      <a:pt x="32" y="3"/>
                      <a:pt x="32" y="3"/>
                    </a:cubicBezTo>
                    <a:cubicBezTo>
                      <a:pt x="24" y="11"/>
                      <a:pt x="19" y="21"/>
                      <a:pt x="12" y="29"/>
                    </a:cubicBezTo>
                    <a:cubicBezTo>
                      <a:pt x="5" y="38"/>
                      <a:pt x="2" y="48"/>
                      <a:pt x="1" y="59"/>
                    </a:cubicBezTo>
                    <a:close/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2" name="iśļïďê">
                <a:extLst>
                  <a:ext uri="{FF2B5EF4-FFF2-40B4-BE49-F238E27FC236}">
                    <a16:creationId xmlns:a16="http://schemas.microsoft.com/office/drawing/2014/main" id="{20DD42B3-3D1C-49E4-8A24-A2D137F911C1}"/>
                  </a:ext>
                </a:extLst>
              </p:cNvPr>
              <p:cNvSpPr/>
              <p:nvPr/>
            </p:nvSpPr>
            <p:spPr bwMode="auto">
              <a:xfrm>
                <a:off x="7605713" y="1927225"/>
                <a:ext cx="171450" cy="385763"/>
              </a:xfrm>
              <a:custGeom>
                <a:avLst/>
                <a:gdLst>
                  <a:gd name="T0" fmla="*/ 28 w 28"/>
                  <a:gd name="T1" fmla="*/ 33 h 63"/>
                  <a:gd name="T2" fmla="*/ 26 w 28"/>
                  <a:gd name="T3" fmla="*/ 47 h 63"/>
                  <a:gd name="T4" fmla="*/ 20 w 28"/>
                  <a:gd name="T5" fmla="*/ 61 h 63"/>
                  <a:gd name="T6" fmla="*/ 10 w 28"/>
                  <a:gd name="T7" fmla="*/ 63 h 63"/>
                  <a:gd name="T8" fmla="*/ 0 w 28"/>
                  <a:gd name="T9" fmla="*/ 61 h 63"/>
                  <a:gd name="T10" fmla="*/ 2 w 28"/>
                  <a:gd name="T11" fmla="*/ 55 h 63"/>
                  <a:gd name="T12" fmla="*/ 0 w 28"/>
                  <a:gd name="T13" fmla="*/ 27 h 63"/>
                  <a:gd name="T14" fmla="*/ 3 w 28"/>
                  <a:gd name="T15" fmla="*/ 11 h 63"/>
                  <a:gd name="T16" fmla="*/ 17 w 28"/>
                  <a:gd name="T1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3">
                    <a:moveTo>
                      <a:pt x="28" y="33"/>
                    </a:moveTo>
                    <a:cubicBezTo>
                      <a:pt x="27" y="37"/>
                      <a:pt x="27" y="43"/>
                      <a:pt x="26" y="47"/>
                    </a:cubicBezTo>
                    <a:cubicBezTo>
                      <a:pt x="26" y="52"/>
                      <a:pt x="24" y="58"/>
                      <a:pt x="20" y="61"/>
                    </a:cubicBezTo>
                    <a:cubicBezTo>
                      <a:pt x="17" y="63"/>
                      <a:pt x="14" y="63"/>
                      <a:pt x="10" y="63"/>
                    </a:cubicBezTo>
                    <a:cubicBezTo>
                      <a:pt x="7" y="63"/>
                      <a:pt x="3" y="62"/>
                      <a:pt x="0" y="61"/>
                    </a:cubicBezTo>
                    <a:cubicBezTo>
                      <a:pt x="2" y="60"/>
                      <a:pt x="2" y="57"/>
                      <a:pt x="2" y="55"/>
                    </a:cubicBezTo>
                    <a:cubicBezTo>
                      <a:pt x="2" y="46"/>
                      <a:pt x="0" y="37"/>
                      <a:pt x="0" y="27"/>
                    </a:cubicBezTo>
                    <a:cubicBezTo>
                      <a:pt x="0" y="23"/>
                      <a:pt x="1" y="15"/>
                      <a:pt x="3" y="11"/>
                    </a:cubicBezTo>
                    <a:cubicBezTo>
                      <a:pt x="6" y="7"/>
                      <a:pt x="10" y="2"/>
                      <a:pt x="17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3" name="îṡļîḑé">
                <a:extLst>
                  <a:ext uri="{FF2B5EF4-FFF2-40B4-BE49-F238E27FC236}">
                    <a16:creationId xmlns:a16="http://schemas.microsoft.com/office/drawing/2014/main" id="{43849314-D621-4B09-B5CA-C472C93486EF}"/>
                  </a:ext>
                </a:extLst>
              </p:cNvPr>
              <p:cNvSpPr/>
              <p:nvPr/>
            </p:nvSpPr>
            <p:spPr bwMode="auto">
              <a:xfrm>
                <a:off x="7753350" y="2214563"/>
                <a:ext cx="188913" cy="250825"/>
              </a:xfrm>
              <a:custGeom>
                <a:avLst/>
                <a:gdLst>
                  <a:gd name="T0" fmla="*/ 7 w 31"/>
                  <a:gd name="T1" fmla="*/ 17 h 41"/>
                  <a:gd name="T2" fmla="*/ 0 w 31"/>
                  <a:gd name="T3" fmla="*/ 32 h 41"/>
                  <a:gd name="T4" fmla="*/ 7 w 31"/>
                  <a:gd name="T5" fmla="*/ 41 h 41"/>
                  <a:gd name="T6" fmla="*/ 31 w 31"/>
                  <a:gd name="T7" fmla="*/ 31 h 41"/>
                  <a:gd name="T8" fmla="*/ 27 w 31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41">
                    <a:moveTo>
                      <a:pt x="7" y="17"/>
                    </a:moveTo>
                    <a:cubicBezTo>
                      <a:pt x="7" y="21"/>
                      <a:pt x="3" y="30"/>
                      <a:pt x="0" y="32"/>
                    </a:cubicBezTo>
                    <a:cubicBezTo>
                      <a:pt x="0" y="37"/>
                      <a:pt x="0" y="41"/>
                      <a:pt x="7" y="41"/>
                    </a:cubicBezTo>
                    <a:cubicBezTo>
                      <a:pt x="14" y="41"/>
                      <a:pt x="25" y="38"/>
                      <a:pt x="31" y="31"/>
                    </a:cubicBezTo>
                    <a:cubicBezTo>
                      <a:pt x="28" y="24"/>
                      <a:pt x="25" y="3"/>
                      <a:pt x="27" y="0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4" name="iṡľiḓè">
                <a:extLst>
                  <a:ext uri="{FF2B5EF4-FFF2-40B4-BE49-F238E27FC236}">
                    <a16:creationId xmlns:a16="http://schemas.microsoft.com/office/drawing/2014/main" id="{BDF0DFD4-4AE6-41B7-92D8-94EC8F1D3E9E}"/>
                  </a:ext>
                </a:extLst>
              </p:cNvPr>
              <p:cNvSpPr/>
              <p:nvPr/>
            </p:nvSpPr>
            <p:spPr bwMode="auto">
              <a:xfrm>
                <a:off x="7654925" y="1944688"/>
                <a:ext cx="312738" cy="398463"/>
              </a:xfrm>
              <a:custGeom>
                <a:avLst/>
                <a:gdLst>
                  <a:gd name="T0" fmla="*/ 5 w 51"/>
                  <a:gd name="T1" fmla="*/ 13 h 65"/>
                  <a:gd name="T2" fmla="*/ 3 w 51"/>
                  <a:gd name="T3" fmla="*/ 37 h 65"/>
                  <a:gd name="T4" fmla="*/ 4 w 51"/>
                  <a:gd name="T5" fmla="*/ 50 h 65"/>
                  <a:gd name="T6" fmla="*/ 10 w 51"/>
                  <a:gd name="T7" fmla="*/ 62 h 65"/>
                  <a:gd name="T8" fmla="*/ 21 w 51"/>
                  <a:gd name="T9" fmla="*/ 65 h 65"/>
                  <a:gd name="T10" fmla="*/ 44 w 51"/>
                  <a:gd name="T11" fmla="*/ 51 h 65"/>
                  <a:gd name="T12" fmla="*/ 48 w 51"/>
                  <a:gd name="T13" fmla="*/ 25 h 65"/>
                  <a:gd name="T14" fmla="*/ 44 w 51"/>
                  <a:gd name="T15" fmla="*/ 16 h 65"/>
                  <a:gd name="T16" fmla="*/ 24 w 51"/>
                  <a:gd name="T17" fmla="*/ 1 h 65"/>
                  <a:gd name="T18" fmla="*/ 4 w 51"/>
                  <a:gd name="T19" fmla="*/ 1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65">
                    <a:moveTo>
                      <a:pt x="5" y="13"/>
                    </a:moveTo>
                    <a:cubicBezTo>
                      <a:pt x="0" y="18"/>
                      <a:pt x="1" y="30"/>
                      <a:pt x="3" y="37"/>
                    </a:cubicBezTo>
                    <a:cubicBezTo>
                      <a:pt x="4" y="41"/>
                      <a:pt x="4" y="46"/>
                      <a:pt x="4" y="50"/>
                    </a:cubicBezTo>
                    <a:cubicBezTo>
                      <a:pt x="5" y="55"/>
                      <a:pt x="7" y="60"/>
                      <a:pt x="10" y="62"/>
                    </a:cubicBezTo>
                    <a:cubicBezTo>
                      <a:pt x="13" y="65"/>
                      <a:pt x="17" y="65"/>
                      <a:pt x="21" y="65"/>
                    </a:cubicBezTo>
                    <a:cubicBezTo>
                      <a:pt x="30" y="64"/>
                      <a:pt x="39" y="59"/>
                      <a:pt x="44" y="51"/>
                    </a:cubicBezTo>
                    <a:cubicBezTo>
                      <a:pt x="49" y="44"/>
                      <a:pt x="51" y="34"/>
                      <a:pt x="48" y="25"/>
                    </a:cubicBezTo>
                    <a:cubicBezTo>
                      <a:pt x="47" y="22"/>
                      <a:pt x="46" y="19"/>
                      <a:pt x="44" y="16"/>
                    </a:cubicBezTo>
                    <a:cubicBezTo>
                      <a:pt x="40" y="9"/>
                      <a:pt x="33" y="3"/>
                      <a:pt x="24" y="1"/>
                    </a:cubicBezTo>
                    <a:cubicBezTo>
                      <a:pt x="16" y="0"/>
                      <a:pt x="7" y="4"/>
                      <a:pt x="4" y="12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5" name="ïşlïḓê">
                <a:extLst>
                  <a:ext uri="{FF2B5EF4-FFF2-40B4-BE49-F238E27FC236}">
                    <a16:creationId xmlns:a16="http://schemas.microsoft.com/office/drawing/2014/main" id="{81116E5C-AF3E-491E-96E2-518B5FBF997D}"/>
                  </a:ext>
                </a:extLst>
              </p:cNvPr>
              <p:cNvSpPr/>
              <p:nvPr/>
            </p:nvSpPr>
            <p:spPr bwMode="auto">
              <a:xfrm>
                <a:off x="7661275" y="1858963"/>
                <a:ext cx="434975" cy="484188"/>
              </a:xfrm>
              <a:custGeom>
                <a:avLst/>
                <a:gdLst>
                  <a:gd name="T0" fmla="*/ 55 w 71"/>
                  <a:gd name="T1" fmla="*/ 15 h 79"/>
                  <a:gd name="T2" fmla="*/ 43 w 71"/>
                  <a:gd name="T3" fmla="*/ 4 h 79"/>
                  <a:gd name="T4" fmla="*/ 25 w 71"/>
                  <a:gd name="T5" fmla="*/ 1 h 79"/>
                  <a:gd name="T6" fmla="*/ 11 w 71"/>
                  <a:gd name="T7" fmla="*/ 7 h 79"/>
                  <a:gd name="T8" fmla="*/ 7 w 71"/>
                  <a:gd name="T9" fmla="*/ 11 h 79"/>
                  <a:gd name="T10" fmla="*/ 7 w 71"/>
                  <a:gd name="T11" fmla="*/ 11 h 79"/>
                  <a:gd name="T12" fmla="*/ 6 w 71"/>
                  <a:gd name="T13" fmla="*/ 12 h 79"/>
                  <a:gd name="T14" fmla="*/ 4 w 71"/>
                  <a:gd name="T15" fmla="*/ 16 h 79"/>
                  <a:gd name="T16" fmla="*/ 2 w 71"/>
                  <a:gd name="T17" fmla="*/ 20 h 79"/>
                  <a:gd name="T18" fmla="*/ 13 w 71"/>
                  <a:gd name="T19" fmla="*/ 34 h 79"/>
                  <a:gd name="T20" fmla="*/ 19 w 71"/>
                  <a:gd name="T21" fmla="*/ 36 h 79"/>
                  <a:gd name="T22" fmla="*/ 24 w 71"/>
                  <a:gd name="T23" fmla="*/ 37 h 79"/>
                  <a:gd name="T24" fmla="*/ 34 w 71"/>
                  <a:gd name="T25" fmla="*/ 45 h 79"/>
                  <a:gd name="T26" fmla="*/ 37 w 71"/>
                  <a:gd name="T27" fmla="*/ 56 h 79"/>
                  <a:gd name="T28" fmla="*/ 40 w 71"/>
                  <a:gd name="T29" fmla="*/ 45 h 79"/>
                  <a:gd name="T30" fmla="*/ 42 w 71"/>
                  <a:gd name="T31" fmla="*/ 63 h 79"/>
                  <a:gd name="T32" fmla="*/ 41 w 71"/>
                  <a:gd name="T33" fmla="*/ 70 h 79"/>
                  <a:gd name="T34" fmla="*/ 37 w 71"/>
                  <a:gd name="T35" fmla="*/ 77 h 79"/>
                  <a:gd name="T36" fmla="*/ 56 w 71"/>
                  <a:gd name="T37" fmla="*/ 72 h 79"/>
                  <a:gd name="T38" fmla="*/ 55 w 71"/>
                  <a:gd name="T39" fmla="*/ 1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79">
                    <a:moveTo>
                      <a:pt x="55" y="15"/>
                    </a:moveTo>
                    <a:cubicBezTo>
                      <a:pt x="52" y="11"/>
                      <a:pt x="48" y="7"/>
                      <a:pt x="43" y="4"/>
                    </a:cubicBezTo>
                    <a:cubicBezTo>
                      <a:pt x="38" y="1"/>
                      <a:pt x="31" y="0"/>
                      <a:pt x="25" y="1"/>
                    </a:cubicBezTo>
                    <a:cubicBezTo>
                      <a:pt x="21" y="2"/>
                      <a:pt x="15" y="5"/>
                      <a:pt x="11" y="7"/>
                    </a:cubicBezTo>
                    <a:cubicBezTo>
                      <a:pt x="10" y="8"/>
                      <a:pt x="9" y="9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1"/>
                      <a:pt x="6" y="12"/>
                    </a:cubicBezTo>
                    <a:cubicBezTo>
                      <a:pt x="5" y="13"/>
                      <a:pt x="4" y="14"/>
                      <a:pt x="4" y="16"/>
                    </a:cubicBezTo>
                    <a:cubicBezTo>
                      <a:pt x="3" y="17"/>
                      <a:pt x="2" y="19"/>
                      <a:pt x="2" y="20"/>
                    </a:cubicBezTo>
                    <a:cubicBezTo>
                      <a:pt x="0" y="27"/>
                      <a:pt x="8" y="32"/>
                      <a:pt x="13" y="34"/>
                    </a:cubicBezTo>
                    <a:cubicBezTo>
                      <a:pt x="15" y="35"/>
                      <a:pt x="17" y="35"/>
                      <a:pt x="19" y="36"/>
                    </a:cubicBezTo>
                    <a:cubicBezTo>
                      <a:pt x="21" y="36"/>
                      <a:pt x="23" y="37"/>
                      <a:pt x="24" y="37"/>
                    </a:cubicBezTo>
                    <a:cubicBezTo>
                      <a:pt x="28" y="39"/>
                      <a:pt x="31" y="41"/>
                      <a:pt x="34" y="45"/>
                    </a:cubicBezTo>
                    <a:cubicBezTo>
                      <a:pt x="36" y="48"/>
                      <a:pt x="37" y="52"/>
                      <a:pt x="37" y="56"/>
                    </a:cubicBezTo>
                    <a:cubicBezTo>
                      <a:pt x="39" y="53"/>
                      <a:pt x="40" y="49"/>
                      <a:pt x="40" y="45"/>
                    </a:cubicBezTo>
                    <a:cubicBezTo>
                      <a:pt x="42" y="51"/>
                      <a:pt x="42" y="57"/>
                      <a:pt x="42" y="63"/>
                    </a:cubicBezTo>
                    <a:cubicBezTo>
                      <a:pt x="42" y="65"/>
                      <a:pt x="42" y="67"/>
                      <a:pt x="41" y="70"/>
                    </a:cubicBezTo>
                    <a:cubicBezTo>
                      <a:pt x="41" y="71"/>
                      <a:pt x="38" y="77"/>
                      <a:pt x="37" y="77"/>
                    </a:cubicBezTo>
                    <a:cubicBezTo>
                      <a:pt x="44" y="79"/>
                      <a:pt x="51" y="76"/>
                      <a:pt x="56" y="72"/>
                    </a:cubicBezTo>
                    <a:cubicBezTo>
                      <a:pt x="71" y="58"/>
                      <a:pt x="64" y="31"/>
                      <a:pt x="55" y="15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6" name="isḷíďé">
                <a:extLst>
                  <a:ext uri="{FF2B5EF4-FFF2-40B4-BE49-F238E27FC236}">
                    <a16:creationId xmlns:a16="http://schemas.microsoft.com/office/drawing/2014/main" id="{FE914183-B831-4F6D-8678-D519EBEE62E8}"/>
                  </a:ext>
                </a:extLst>
              </p:cNvPr>
              <p:cNvSpPr/>
              <p:nvPr/>
            </p:nvSpPr>
            <p:spPr bwMode="auto">
              <a:xfrm>
                <a:off x="7893050" y="2146300"/>
                <a:ext cx="68263" cy="98425"/>
              </a:xfrm>
              <a:custGeom>
                <a:avLst/>
                <a:gdLst>
                  <a:gd name="T0" fmla="*/ 2 w 11"/>
                  <a:gd name="T1" fmla="*/ 4 h 16"/>
                  <a:gd name="T2" fmla="*/ 2 w 11"/>
                  <a:gd name="T3" fmla="*/ 3 h 16"/>
                  <a:gd name="T4" fmla="*/ 5 w 11"/>
                  <a:gd name="T5" fmla="*/ 1 h 16"/>
                  <a:gd name="T6" fmla="*/ 8 w 11"/>
                  <a:gd name="T7" fmla="*/ 1 h 16"/>
                  <a:gd name="T8" fmla="*/ 10 w 11"/>
                  <a:gd name="T9" fmla="*/ 4 h 16"/>
                  <a:gd name="T10" fmla="*/ 7 w 11"/>
                  <a:gd name="T11" fmla="*/ 14 h 16"/>
                  <a:gd name="T12" fmla="*/ 3 w 11"/>
                  <a:gd name="T13" fmla="*/ 16 h 16"/>
                  <a:gd name="T14" fmla="*/ 1 w 11"/>
                  <a:gd name="T15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2" y="4"/>
                    </a:moveTo>
                    <a:cubicBezTo>
                      <a:pt x="1" y="4"/>
                      <a:pt x="2" y="3"/>
                      <a:pt x="2" y="3"/>
                    </a:cubicBezTo>
                    <a:cubicBezTo>
                      <a:pt x="3" y="2"/>
                      <a:pt x="4" y="1"/>
                      <a:pt x="5" y="1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9" y="1"/>
                      <a:pt x="10" y="2"/>
                      <a:pt x="10" y="4"/>
                    </a:cubicBezTo>
                    <a:cubicBezTo>
                      <a:pt x="11" y="7"/>
                      <a:pt x="10" y="11"/>
                      <a:pt x="7" y="14"/>
                    </a:cubicBezTo>
                    <a:cubicBezTo>
                      <a:pt x="6" y="15"/>
                      <a:pt x="5" y="16"/>
                      <a:pt x="3" y="16"/>
                    </a:cubicBezTo>
                    <a:cubicBezTo>
                      <a:pt x="2" y="16"/>
                      <a:pt x="0" y="15"/>
                      <a:pt x="1" y="13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7" name="ïSļiḍé">
                <a:extLst>
                  <a:ext uri="{FF2B5EF4-FFF2-40B4-BE49-F238E27FC236}">
                    <a16:creationId xmlns:a16="http://schemas.microsoft.com/office/drawing/2014/main" id="{E587F0B2-D802-46EC-B853-BCFD2433B161}"/>
                  </a:ext>
                </a:extLst>
              </p:cNvPr>
              <p:cNvSpPr/>
              <p:nvPr/>
            </p:nvSpPr>
            <p:spPr bwMode="auto">
              <a:xfrm>
                <a:off x="7727950" y="2257425"/>
                <a:ext cx="79375" cy="42863"/>
              </a:xfrm>
              <a:custGeom>
                <a:avLst/>
                <a:gdLst>
                  <a:gd name="T0" fmla="*/ 1 w 13"/>
                  <a:gd name="T1" fmla="*/ 0 h 7"/>
                  <a:gd name="T2" fmla="*/ 5 w 13"/>
                  <a:gd name="T3" fmla="*/ 6 h 7"/>
                  <a:gd name="T4" fmla="*/ 13 w 13"/>
                  <a:gd name="T5" fmla="*/ 1 h 7"/>
                  <a:gd name="T6" fmla="*/ 1 w 1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1" y="0"/>
                    </a:moveTo>
                    <a:cubicBezTo>
                      <a:pt x="0" y="1"/>
                      <a:pt x="1" y="5"/>
                      <a:pt x="5" y="6"/>
                    </a:cubicBezTo>
                    <a:cubicBezTo>
                      <a:pt x="8" y="7"/>
                      <a:pt x="13" y="4"/>
                      <a:pt x="13" y="1"/>
                    </a:cubicBezTo>
                    <a:cubicBezTo>
                      <a:pt x="12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8" name="ïṥlíḑe">
                <a:extLst>
                  <a:ext uri="{FF2B5EF4-FFF2-40B4-BE49-F238E27FC236}">
                    <a16:creationId xmlns:a16="http://schemas.microsoft.com/office/drawing/2014/main" id="{9BC478BB-7944-4ABE-89AD-DC5CAE6EA7BB}"/>
                  </a:ext>
                </a:extLst>
              </p:cNvPr>
              <p:cNvSpPr/>
              <p:nvPr/>
            </p:nvSpPr>
            <p:spPr bwMode="auto">
              <a:xfrm>
                <a:off x="7740650" y="2189163"/>
                <a:ext cx="17463" cy="42863"/>
              </a:xfrm>
              <a:custGeom>
                <a:avLst/>
                <a:gdLst>
                  <a:gd name="T0" fmla="*/ 3 w 3"/>
                  <a:gd name="T1" fmla="*/ 0 h 7"/>
                  <a:gd name="T2" fmla="*/ 0 w 3"/>
                  <a:gd name="T3" fmla="*/ 4 h 7"/>
                  <a:gd name="T4" fmla="*/ 2 w 3"/>
                  <a:gd name="T5" fmla="*/ 7 h 7"/>
                  <a:gd name="T6" fmla="*/ 2 w 3"/>
                  <a:gd name="T7" fmla="*/ 6 h 7"/>
                  <a:gd name="T8" fmla="*/ 1 w 3"/>
                  <a:gd name="T9" fmla="*/ 3 h 7"/>
                  <a:gd name="T10" fmla="*/ 2 w 3"/>
                  <a:gd name="T11" fmla="*/ 2 h 7"/>
                  <a:gd name="T12" fmla="*/ 3 w 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cubicBezTo>
                      <a:pt x="2" y="2"/>
                      <a:pt x="0" y="2"/>
                      <a:pt x="0" y="4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5"/>
                      <a:pt x="0" y="4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1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9" name="i$1îḑê">
                <a:extLst>
                  <a:ext uri="{FF2B5EF4-FFF2-40B4-BE49-F238E27FC236}">
                    <a16:creationId xmlns:a16="http://schemas.microsoft.com/office/drawing/2014/main" id="{56C1D49F-1877-4001-AD56-0F59D8142209}"/>
                  </a:ext>
                </a:extLst>
              </p:cNvPr>
              <p:cNvSpPr/>
              <p:nvPr/>
            </p:nvSpPr>
            <p:spPr bwMode="auto">
              <a:xfrm>
                <a:off x="7678738" y="2122488"/>
                <a:ext cx="36513" cy="55563"/>
              </a:xfrm>
              <a:custGeom>
                <a:avLst/>
                <a:gdLst>
                  <a:gd name="T0" fmla="*/ 1 w 6"/>
                  <a:gd name="T1" fmla="*/ 2 h 9"/>
                  <a:gd name="T2" fmla="*/ 5 w 6"/>
                  <a:gd name="T3" fmla="*/ 3 h 9"/>
                  <a:gd name="T4" fmla="*/ 4 w 6"/>
                  <a:gd name="T5" fmla="*/ 8 h 9"/>
                  <a:gd name="T6" fmla="*/ 1 w 6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9">
                    <a:moveTo>
                      <a:pt x="1" y="2"/>
                    </a:moveTo>
                    <a:cubicBezTo>
                      <a:pt x="2" y="1"/>
                      <a:pt x="4" y="0"/>
                      <a:pt x="5" y="3"/>
                    </a:cubicBezTo>
                    <a:cubicBezTo>
                      <a:pt x="6" y="5"/>
                      <a:pt x="6" y="8"/>
                      <a:pt x="4" y="8"/>
                    </a:cubicBezTo>
                    <a:cubicBezTo>
                      <a:pt x="0" y="9"/>
                      <a:pt x="0" y="4"/>
                      <a:pt x="1" y="2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0" name="îšľïḑê">
                <a:extLst>
                  <a:ext uri="{FF2B5EF4-FFF2-40B4-BE49-F238E27FC236}">
                    <a16:creationId xmlns:a16="http://schemas.microsoft.com/office/drawing/2014/main" id="{D4505446-8CF0-4DC8-88A0-10EF89CBBBA0}"/>
                  </a:ext>
                </a:extLst>
              </p:cNvPr>
              <p:cNvSpPr/>
              <p:nvPr/>
            </p:nvSpPr>
            <p:spPr bwMode="auto">
              <a:xfrm>
                <a:off x="7685088" y="2141538"/>
                <a:ext cx="12700" cy="23813"/>
              </a:xfrm>
              <a:custGeom>
                <a:avLst/>
                <a:gdLst>
                  <a:gd name="T0" fmla="*/ 0 w 2"/>
                  <a:gd name="T1" fmla="*/ 1 h 4"/>
                  <a:gd name="T2" fmla="*/ 2 w 2"/>
                  <a:gd name="T3" fmla="*/ 1 h 4"/>
                  <a:gd name="T4" fmla="*/ 1 w 2"/>
                  <a:gd name="T5" fmla="*/ 3 h 4"/>
                  <a:gd name="T6" fmla="*/ 0 w 2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1"/>
                    </a:moveTo>
                    <a:cubicBezTo>
                      <a:pt x="1" y="0"/>
                      <a:pt x="1" y="0"/>
                      <a:pt x="2" y="1"/>
                    </a:cubicBezTo>
                    <a:cubicBezTo>
                      <a:pt x="2" y="2"/>
                      <a:pt x="2" y="3"/>
                      <a:pt x="1" y="3"/>
                    </a:cubicBezTo>
                    <a:cubicBezTo>
                      <a:pt x="0" y="4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1" name="i$ļîḑê">
                <a:extLst>
                  <a:ext uri="{FF2B5EF4-FFF2-40B4-BE49-F238E27FC236}">
                    <a16:creationId xmlns:a16="http://schemas.microsoft.com/office/drawing/2014/main" id="{D4F36581-44BC-4E2C-8C58-25F4608BB579}"/>
                  </a:ext>
                </a:extLst>
              </p:cNvPr>
              <p:cNvSpPr/>
              <p:nvPr/>
            </p:nvSpPr>
            <p:spPr bwMode="auto">
              <a:xfrm>
                <a:off x="7678738" y="2073275"/>
                <a:ext cx="55563" cy="30163"/>
              </a:xfrm>
              <a:custGeom>
                <a:avLst/>
                <a:gdLst>
                  <a:gd name="T0" fmla="*/ 9 w 9"/>
                  <a:gd name="T1" fmla="*/ 5 h 5"/>
                  <a:gd name="T2" fmla="*/ 0 w 9"/>
                  <a:gd name="T3" fmla="*/ 4 h 5"/>
                  <a:gd name="T4" fmla="*/ 0 w 9"/>
                  <a:gd name="T5" fmla="*/ 4 h 5"/>
                  <a:gd name="T6" fmla="*/ 4 w 9"/>
                  <a:gd name="T7" fmla="*/ 3 h 5"/>
                  <a:gd name="T8" fmla="*/ 8 w 9"/>
                  <a:gd name="T9" fmla="*/ 5 h 5"/>
                  <a:gd name="T10" fmla="*/ 9 w 9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7" y="2"/>
                      <a:pt x="1" y="0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4"/>
                      <a:pt x="3" y="3"/>
                      <a:pt x="4" y="3"/>
                    </a:cubicBezTo>
                    <a:cubicBezTo>
                      <a:pt x="6" y="4"/>
                      <a:pt x="7" y="4"/>
                      <a:pt x="8" y="5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2" name="ï$ļiďè">
                <a:extLst>
                  <a:ext uri="{FF2B5EF4-FFF2-40B4-BE49-F238E27FC236}">
                    <a16:creationId xmlns:a16="http://schemas.microsoft.com/office/drawing/2014/main" id="{34AA9568-8785-4A2B-99A3-72D1EE220B45}"/>
                  </a:ext>
                </a:extLst>
              </p:cNvPr>
              <p:cNvSpPr/>
              <p:nvPr/>
            </p:nvSpPr>
            <p:spPr bwMode="auto">
              <a:xfrm>
                <a:off x="7813675" y="2122488"/>
                <a:ext cx="42863" cy="55563"/>
              </a:xfrm>
              <a:custGeom>
                <a:avLst/>
                <a:gdLst>
                  <a:gd name="T0" fmla="*/ 2 w 7"/>
                  <a:gd name="T1" fmla="*/ 1 h 9"/>
                  <a:gd name="T2" fmla="*/ 6 w 7"/>
                  <a:gd name="T3" fmla="*/ 3 h 9"/>
                  <a:gd name="T4" fmla="*/ 4 w 7"/>
                  <a:gd name="T5" fmla="*/ 8 h 9"/>
                  <a:gd name="T6" fmla="*/ 2 w 7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2" y="1"/>
                    </a:moveTo>
                    <a:cubicBezTo>
                      <a:pt x="3" y="0"/>
                      <a:pt x="4" y="0"/>
                      <a:pt x="6" y="3"/>
                    </a:cubicBezTo>
                    <a:cubicBezTo>
                      <a:pt x="6" y="4"/>
                      <a:pt x="7" y="8"/>
                      <a:pt x="4" y="8"/>
                    </a:cubicBezTo>
                    <a:cubicBezTo>
                      <a:pt x="0" y="9"/>
                      <a:pt x="0" y="4"/>
                      <a:pt x="2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3" name="is1ïde">
                <a:extLst>
                  <a:ext uri="{FF2B5EF4-FFF2-40B4-BE49-F238E27FC236}">
                    <a16:creationId xmlns:a16="http://schemas.microsoft.com/office/drawing/2014/main" id="{D68C6A7F-0DCD-4249-8767-EE3CC52DA1A4}"/>
                  </a:ext>
                </a:extLst>
              </p:cNvPr>
              <p:cNvSpPr/>
              <p:nvPr/>
            </p:nvSpPr>
            <p:spPr bwMode="auto">
              <a:xfrm>
                <a:off x="7820025" y="2135188"/>
                <a:ext cx="19050" cy="23813"/>
              </a:xfrm>
              <a:custGeom>
                <a:avLst/>
                <a:gdLst>
                  <a:gd name="T0" fmla="*/ 1 w 3"/>
                  <a:gd name="T1" fmla="*/ 1 h 4"/>
                  <a:gd name="T2" fmla="*/ 2 w 3"/>
                  <a:gd name="T3" fmla="*/ 2 h 4"/>
                  <a:gd name="T4" fmla="*/ 2 w 3"/>
                  <a:gd name="T5" fmla="*/ 4 h 4"/>
                  <a:gd name="T6" fmla="*/ 1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1"/>
                    </a:moveTo>
                    <a:cubicBezTo>
                      <a:pt x="1" y="0"/>
                      <a:pt x="2" y="0"/>
                      <a:pt x="2" y="2"/>
                    </a:cubicBezTo>
                    <a:cubicBezTo>
                      <a:pt x="3" y="2"/>
                      <a:pt x="3" y="4"/>
                      <a:pt x="2" y="4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4" name="íṥliḑè">
                <a:extLst>
                  <a:ext uri="{FF2B5EF4-FFF2-40B4-BE49-F238E27FC236}">
                    <a16:creationId xmlns:a16="http://schemas.microsoft.com/office/drawing/2014/main" id="{B7CCEBDE-6135-4D8F-88BD-F6D62F9102D3}"/>
                  </a:ext>
                </a:extLst>
              </p:cNvPr>
              <p:cNvSpPr/>
              <p:nvPr/>
            </p:nvSpPr>
            <p:spPr bwMode="auto">
              <a:xfrm>
                <a:off x="7800975" y="2092325"/>
                <a:ext cx="74613" cy="30163"/>
              </a:xfrm>
              <a:custGeom>
                <a:avLst/>
                <a:gdLst>
                  <a:gd name="T0" fmla="*/ 0 w 12"/>
                  <a:gd name="T1" fmla="*/ 2 h 5"/>
                  <a:gd name="T2" fmla="*/ 6 w 12"/>
                  <a:gd name="T3" fmla="*/ 2 h 5"/>
                  <a:gd name="T4" fmla="*/ 11 w 12"/>
                  <a:gd name="T5" fmla="*/ 5 h 5"/>
                  <a:gd name="T6" fmla="*/ 12 w 12"/>
                  <a:gd name="T7" fmla="*/ 5 h 5"/>
                  <a:gd name="T8" fmla="*/ 0 w 12"/>
                  <a:gd name="T9" fmla="*/ 1 h 5"/>
                  <a:gd name="T10" fmla="*/ 0 w 12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5">
                    <a:moveTo>
                      <a:pt x="0" y="2"/>
                    </a:moveTo>
                    <a:cubicBezTo>
                      <a:pt x="2" y="2"/>
                      <a:pt x="4" y="2"/>
                      <a:pt x="6" y="2"/>
                    </a:cubicBezTo>
                    <a:cubicBezTo>
                      <a:pt x="8" y="3"/>
                      <a:pt x="9" y="4"/>
                      <a:pt x="11" y="5"/>
                    </a:cubicBezTo>
                    <a:cubicBezTo>
                      <a:pt x="11" y="5"/>
                      <a:pt x="12" y="5"/>
                      <a:pt x="12" y="5"/>
                    </a:cubicBezTo>
                    <a:cubicBezTo>
                      <a:pt x="10" y="0"/>
                      <a:pt x="3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5" name="ïṣļïḓe">
                <a:extLst>
                  <a:ext uri="{FF2B5EF4-FFF2-40B4-BE49-F238E27FC236}">
                    <a16:creationId xmlns:a16="http://schemas.microsoft.com/office/drawing/2014/main" id="{20F1738C-4286-4F43-8D0A-A6A331349DB8}"/>
                  </a:ext>
                </a:extLst>
              </p:cNvPr>
              <p:cNvSpPr/>
              <p:nvPr/>
            </p:nvSpPr>
            <p:spPr bwMode="auto">
              <a:xfrm>
                <a:off x="7789863" y="2189163"/>
                <a:ext cx="73025" cy="55563"/>
              </a:xfrm>
              <a:custGeom>
                <a:avLst/>
                <a:gdLst>
                  <a:gd name="T0" fmla="*/ 0 w 12"/>
                  <a:gd name="T1" fmla="*/ 5 h 9"/>
                  <a:gd name="T2" fmla="*/ 2 w 12"/>
                  <a:gd name="T3" fmla="*/ 2 h 9"/>
                  <a:gd name="T4" fmla="*/ 10 w 12"/>
                  <a:gd name="T5" fmla="*/ 0 h 9"/>
                  <a:gd name="T6" fmla="*/ 12 w 12"/>
                  <a:gd name="T7" fmla="*/ 2 h 9"/>
                  <a:gd name="T8" fmla="*/ 12 w 12"/>
                  <a:gd name="T9" fmla="*/ 5 h 9"/>
                  <a:gd name="T10" fmla="*/ 6 w 12"/>
                  <a:gd name="T11" fmla="*/ 9 h 9"/>
                  <a:gd name="T12" fmla="*/ 0 w 12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cubicBezTo>
                      <a:pt x="0" y="4"/>
                      <a:pt x="1" y="3"/>
                      <a:pt x="2" y="2"/>
                    </a:cubicBezTo>
                    <a:cubicBezTo>
                      <a:pt x="4" y="0"/>
                      <a:pt x="7" y="0"/>
                      <a:pt x="10" y="0"/>
                    </a:cubicBezTo>
                    <a:cubicBezTo>
                      <a:pt x="11" y="1"/>
                      <a:pt x="12" y="1"/>
                      <a:pt x="12" y="2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11" y="7"/>
                      <a:pt x="9" y="9"/>
                      <a:pt x="6" y="9"/>
                    </a:cubicBezTo>
                    <a:cubicBezTo>
                      <a:pt x="4" y="9"/>
                      <a:pt x="1" y="7"/>
                      <a:pt x="0" y="5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6" name="işľîde">
                <a:extLst>
                  <a:ext uri="{FF2B5EF4-FFF2-40B4-BE49-F238E27FC236}">
                    <a16:creationId xmlns:a16="http://schemas.microsoft.com/office/drawing/2014/main" id="{6948BDA1-3E87-48E9-B1F9-28674BE4D650}"/>
                  </a:ext>
                </a:extLst>
              </p:cNvPr>
              <p:cNvSpPr/>
              <p:nvPr/>
            </p:nvSpPr>
            <p:spPr bwMode="auto">
              <a:xfrm>
                <a:off x="7685088" y="2184400"/>
                <a:ext cx="42863" cy="47625"/>
              </a:xfrm>
              <a:custGeom>
                <a:avLst/>
                <a:gdLst>
                  <a:gd name="T0" fmla="*/ 0 w 7"/>
                  <a:gd name="T1" fmla="*/ 4 h 8"/>
                  <a:gd name="T2" fmla="*/ 1 w 7"/>
                  <a:gd name="T3" fmla="*/ 2 h 8"/>
                  <a:gd name="T4" fmla="*/ 5 w 7"/>
                  <a:gd name="T5" fmla="*/ 1 h 8"/>
                  <a:gd name="T6" fmla="*/ 7 w 7"/>
                  <a:gd name="T7" fmla="*/ 3 h 8"/>
                  <a:gd name="T8" fmla="*/ 7 w 7"/>
                  <a:gd name="T9" fmla="*/ 4 h 8"/>
                  <a:gd name="T10" fmla="*/ 3 w 7"/>
                  <a:gd name="T11" fmla="*/ 8 h 8"/>
                  <a:gd name="T12" fmla="*/ 0 w 7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0" y="4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1"/>
                      <a:pt x="4" y="0"/>
                      <a:pt x="5" y="1"/>
                    </a:cubicBezTo>
                    <a:cubicBezTo>
                      <a:pt x="6" y="1"/>
                      <a:pt x="6" y="2"/>
                      <a:pt x="7" y="3"/>
                    </a:cubicBezTo>
                    <a:cubicBezTo>
                      <a:pt x="7" y="3"/>
                      <a:pt x="7" y="4"/>
                      <a:pt x="7" y="4"/>
                    </a:cubicBezTo>
                    <a:cubicBezTo>
                      <a:pt x="6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4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7" name="ï$ḻíḋè">
                <a:extLst>
                  <a:ext uri="{FF2B5EF4-FFF2-40B4-BE49-F238E27FC236}">
                    <a16:creationId xmlns:a16="http://schemas.microsoft.com/office/drawing/2014/main" id="{B2D7EF71-19E0-45B4-A433-0CDEFD4AD776}"/>
                  </a:ext>
                </a:extLst>
              </p:cNvPr>
              <p:cNvSpPr/>
              <p:nvPr/>
            </p:nvSpPr>
            <p:spPr bwMode="auto">
              <a:xfrm>
                <a:off x="7507288" y="2636838"/>
                <a:ext cx="92075" cy="623888"/>
              </a:xfrm>
              <a:custGeom>
                <a:avLst/>
                <a:gdLst>
                  <a:gd name="T0" fmla="*/ 10 w 15"/>
                  <a:gd name="T1" fmla="*/ 1 h 102"/>
                  <a:gd name="T2" fmla="*/ 4 w 15"/>
                  <a:gd name="T3" fmla="*/ 42 h 102"/>
                  <a:gd name="T4" fmla="*/ 11 w 15"/>
                  <a:gd name="T5" fmla="*/ 72 h 102"/>
                  <a:gd name="T6" fmla="*/ 9 w 15"/>
                  <a:gd name="T7" fmla="*/ 101 h 102"/>
                  <a:gd name="T8" fmla="*/ 11 w 15"/>
                  <a:gd name="T9" fmla="*/ 101 h 102"/>
                  <a:gd name="T10" fmla="*/ 11 w 15"/>
                  <a:gd name="T11" fmla="*/ 56 h 102"/>
                  <a:gd name="T12" fmla="*/ 4 w 15"/>
                  <a:gd name="T13" fmla="*/ 32 h 102"/>
                  <a:gd name="T14" fmla="*/ 11 w 15"/>
                  <a:gd name="T15" fmla="*/ 2 h 102"/>
                  <a:gd name="T16" fmla="*/ 10 w 15"/>
                  <a:gd name="T17" fmla="*/ 1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02">
                    <a:moveTo>
                      <a:pt x="10" y="1"/>
                    </a:moveTo>
                    <a:cubicBezTo>
                      <a:pt x="2" y="13"/>
                      <a:pt x="0" y="28"/>
                      <a:pt x="4" y="42"/>
                    </a:cubicBezTo>
                    <a:cubicBezTo>
                      <a:pt x="7" y="52"/>
                      <a:pt x="11" y="61"/>
                      <a:pt x="11" y="72"/>
                    </a:cubicBezTo>
                    <a:cubicBezTo>
                      <a:pt x="12" y="82"/>
                      <a:pt x="10" y="91"/>
                      <a:pt x="9" y="101"/>
                    </a:cubicBezTo>
                    <a:cubicBezTo>
                      <a:pt x="9" y="102"/>
                      <a:pt x="10" y="102"/>
                      <a:pt x="11" y="101"/>
                    </a:cubicBezTo>
                    <a:cubicBezTo>
                      <a:pt x="14" y="87"/>
                      <a:pt x="15" y="70"/>
                      <a:pt x="11" y="56"/>
                    </a:cubicBezTo>
                    <a:cubicBezTo>
                      <a:pt x="9" y="47"/>
                      <a:pt x="5" y="40"/>
                      <a:pt x="4" y="32"/>
                    </a:cubicBezTo>
                    <a:cubicBezTo>
                      <a:pt x="3" y="21"/>
                      <a:pt x="6" y="11"/>
                      <a:pt x="11" y="2"/>
                    </a:cubicBezTo>
                    <a:cubicBezTo>
                      <a:pt x="11" y="1"/>
                      <a:pt x="10" y="0"/>
                      <a:pt x="10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8" name="î$lîḍè">
                <a:extLst>
                  <a:ext uri="{FF2B5EF4-FFF2-40B4-BE49-F238E27FC236}">
                    <a16:creationId xmlns:a16="http://schemas.microsoft.com/office/drawing/2014/main" id="{13EF2E0A-B505-40A6-8825-146C630A6A20}"/>
                  </a:ext>
                </a:extLst>
              </p:cNvPr>
              <p:cNvSpPr/>
              <p:nvPr/>
            </p:nvSpPr>
            <p:spPr bwMode="auto">
              <a:xfrm>
                <a:off x="7886700" y="2733675"/>
                <a:ext cx="80963" cy="668338"/>
              </a:xfrm>
              <a:custGeom>
                <a:avLst/>
                <a:gdLst>
                  <a:gd name="T0" fmla="*/ 9 w 13"/>
                  <a:gd name="T1" fmla="*/ 1 h 109"/>
                  <a:gd name="T2" fmla="*/ 10 w 13"/>
                  <a:gd name="T3" fmla="*/ 52 h 109"/>
                  <a:gd name="T4" fmla="*/ 1 w 13"/>
                  <a:gd name="T5" fmla="*/ 107 h 109"/>
                  <a:gd name="T6" fmla="*/ 2 w 13"/>
                  <a:gd name="T7" fmla="*/ 108 h 109"/>
                  <a:gd name="T8" fmla="*/ 12 w 13"/>
                  <a:gd name="T9" fmla="*/ 57 h 109"/>
                  <a:gd name="T10" fmla="*/ 10 w 13"/>
                  <a:gd name="T11" fmla="*/ 1 h 109"/>
                  <a:gd name="T12" fmla="*/ 9 w 13"/>
                  <a:gd name="T13" fmla="*/ 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09">
                    <a:moveTo>
                      <a:pt x="9" y="1"/>
                    </a:moveTo>
                    <a:cubicBezTo>
                      <a:pt x="6" y="18"/>
                      <a:pt x="10" y="35"/>
                      <a:pt x="10" y="52"/>
                    </a:cubicBezTo>
                    <a:cubicBezTo>
                      <a:pt x="11" y="71"/>
                      <a:pt x="3" y="89"/>
                      <a:pt x="1" y="107"/>
                    </a:cubicBezTo>
                    <a:cubicBezTo>
                      <a:pt x="0" y="108"/>
                      <a:pt x="2" y="109"/>
                      <a:pt x="2" y="108"/>
                    </a:cubicBezTo>
                    <a:cubicBezTo>
                      <a:pt x="7" y="92"/>
                      <a:pt x="12" y="74"/>
                      <a:pt x="12" y="57"/>
                    </a:cubicBezTo>
                    <a:cubicBezTo>
                      <a:pt x="13" y="38"/>
                      <a:pt x="8" y="20"/>
                      <a:pt x="10" y="1"/>
                    </a:cubicBezTo>
                    <a:cubicBezTo>
                      <a:pt x="10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9" name="ïṧḷiḍe">
                <a:extLst>
                  <a:ext uri="{FF2B5EF4-FFF2-40B4-BE49-F238E27FC236}">
                    <a16:creationId xmlns:a16="http://schemas.microsoft.com/office/drawing/2014/main" id="{9DB77309-2D97-4061-80EA-74BCAB2D163F}"/>
                  </a:ext>
                </a:extLst>
              </p:cNvPr>
              <p:cNvSpPr/>
              <p:nvPr/>
            </p:nvSpPr>
            <p:spPr bwMode="auto">
              <a:xfrm>
                <a:off x="7783513" y="2360613"/>
                <a:ext cx="184150" cy="214313"/>
              </a:xfrm>
              <a:custGeom>
                <a:avLst/>
                <a:gdLst>
                  <a:gd name="T0" fmla="*/ 24 w 30"/>
                  <a:gd name="T1" fmla="*/ 1 h 35"/>
                  <a:gd name="T2" fmla="*/ 0 w 30"/>
                  <a:gd name="T3" fmla="*/ 17 h 35"/>
                  <a:gd name="T4" fmla="*/ 9 w 30"/>
                  <a:gd name="T5" fmla="*/ 35 h 35"/>
                  <a:gd name="T6" fmla="*/ 30 w 30"/>
                  <a:gd name="T7" fmla="*/ 8 h 35"/>
                  <a:gd name="T8" fmla="*/ 25 w 30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5">
                    <a:moveTo>
                      <a:pt x="24" y="1"/>
                    </a:moveTo>
                    <a:cubicBezTo>
                      <a:pt x="17" y="7"/>
                      <a:pt x="9" y="13"/>
                      <a:pt x="0" y="17"/>
                    </a:cubicBezTo>
                    <a:cubicBezTo>
                      <a:pt x="5" y="23"/>
                      <a:pt x="7" y="28"/>
                      <a:pt x="9" y="35"/>
                    </a:cubicBezTo>
                    <a:cubicBezTo>
                      <a:pt x="17" y="27"/>
                      <a:pt x="28" y="15"/>
                      <a:pt x="30" y="8"/>
                    </a:cubicBezTo>
                    <a:cubicBezTo>
                      <a:pt x="28" y="4"/>
                      <a:pt x="27" y="2"/>
                      <a:pt x="2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0" name="îşļiďe">
                <a:extLst>
                  <a:ext uri="{FF2B5EF4-FFF2-40B4-BE49-F238E27FC236}">
                    <a16:creationId xmlns:a16="http://schemas.microsoft.com/office/drawing/2014/main" id="{E6453395-47F4-4958-87C5-CB6B0503C502}"/>
                  </a:ext>
                </a:extLst>
              </p:cNvPr>
              <p:cNvSpPr/>
              <p:nvPr/>
            </p:nvSpPr>
            <p:spPr bwMode="auto">
              <a:xfrm>
                <a:off x="7715250" y="2366963"/>
                <a:ext cx="68263" cy="177800"/>
              </a:xfrm>
              <a:custGeom>
                <a:avLst/>
                <a:gdLst>
                  <a:gd name="T0" fmla="*/ 9 w 11"/>
                  <a:gd name="T1" fmla="*/ 0 h 29"/>
                  <a:gd name="T2" fmla="*/ 11 w 11"/>
                  <a:gd name="T3" fmla="*/ 16 h 29"/>
                  <a:gd name="T4" fmla="*/ 4 w 11"/>
                  <a:gd name="T5" fmla="*/ 29 h 29"/>
                  <a:gd name="T6" fmla="*/ 3 w 11"/>
                  <a:gd name="T7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29">
                    <a:moveTo>
                      <a:pt x="9" y="0"/>
                    </a:moveTo>
                    <a:cubicBezTo>
                      <a:pt x="9" y="6"/>
                      <a:pt x="8" y="12"/>
                      <a:pt x="11" y="16"/>
                    </a:cubicBezTo>
                    <a:cubicBezTo>
                      <a:pt x="8" y="18"/>
                      <a:pt x="6" y="24"/>
                      <a:pt x="4" y="29"/>
                    </a:cubicBezTo>
                    <a:cubicBezTo>
                      <a:pt x="0" y="23"/>
                      <a:pt x="1" y="13"/>
                      <a:pt x="3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1" name="isľídê">
                <a:extLst>
                  <a:ext uri="{FF2B5EF4-FFF2-40B4-BE49-F238E27FC236}">
                    <a16:creationId xmlns:a16="http://schemas.microsoft.com/office/drawing/2014/main" id="{0A8E68FA-9226-49A0-8095-E4CDD1668BC2}"/>
                  </a:ext>
                </a:extLst>
              </p:cNvPr>
              <p:cNvSpPr/>
              <p:nvPr/>
            </p:nvSpPr>
            <p:spPr bwMode="auto">
              <a:xfrm>
                <a:off x="7734300" y="2520950"/>
                <a:ext cx="36513" cy="354013"/>
              </a:xfrm>
              <a:custGeom>
                <a:avLst/>
                <a:gdLst>
                  <a:gd name="T0" fmla="*/ 5 w 6"/>
                  <a:gd name="T1" fmla="*/ 0 h 58"/>
                  <a:gd name="T2" fmla="*/ 1 w 6"/>
                  <a:gd name="T3" fmla="*/ 58 h 58"/>
                  <a:gd name="T4" fmla="*/ 1 w 6"/>
                  <a:gd name="T5" fmla="*/ 58 h 58"/>
                  <a:gd name="T6" fmla="*/ 6 w 6"/>
                  <a:gd name="T7" fmla="*/ 1 h 58"/>
                  <a:gd name="T8" fmla="*/ 5 w 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8">
                    <a:moveTo>
                      <a:pt x="5" y="0"/>
                    </a:moveTo>
                    <a:cubicBezTo>
                      <a:pt x="2" y="19"/>
                      <a:pt x="0" y="39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39"/>
                      <a:pt x="3" y="20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2" name="iṣ1ïďê">
                <a:extLst>
                  <a:ext uri="{FF2B5EF4-FFF2-40B4-BE49-F238E27FC236}">
                    <a16:creationId xmlns:a16="http://schemas.microsoft.com/office/drawing/2014/main" id="{E1383D39-CFEC-4BF4-91FD-F64FEC5F8AC4}"/>
                  </a:ext>
                </a:extLst>
              </p:cNvPr>
              <p:cNvSpPr/>
              <p:nvPr/>
            </p:nvSpPr>
            <p:spPr bwMode="auto">
              <a:xfrm>
                <a:off x="7704138" y="2568575"/>
                <a:ext cx="36513" cy="38100"/>
              </a:xfrm>
              <a:custGeom>
                <a:avLst/>
                <a:gdLst>
                  <a:gd name="T0" fmla="*/ 3 w 6"/>
                  <a:gd name="T1" fmla="*/ 5 h 6"/>
                  <a:gd name="T2" fmla="*/ 3 w 6"/>
                  <a:gd name="T3" fmla="*/ 5 h 6"/>
                  <a:gd name="T4" fmla="*/ 5 w 6"/>
                  <a:gd name="T5" fmla="*/ 3 h 6"/>
                  <a:gd name="T6" fmla="*/ 5 w 6"/>
                  <a:gd name="T7" fmla="*/ 2 h 6"/>
                  <a:gd name="T8" fmla="*/ 3 w 6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6" y="4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0" y="4"/>
                      <a:pt x="3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3" name="íšlïḍè">
                <a:extLst>
                  <a:ext uri="{FF2B5EF4-FFF2-40B4-BE49-F238E27FC236}">
                    <a16:creationId xmlns:a16="http://schemas.microsoft.com/office/drawing/2014/main" id="{09DCCCEE-00DC-4205-BEB2-CA373C935E52}"/>
                  </a:ext>
                </a:extLst>
              </p:cNvPr>
              <p:cNvSpPr/>
              <p:nvPr/>
            </p:nvSpPr>
            <p:spPr bwMode="auto">
              <a:xfrm>
                <a:off x="7704138" y="2654300"/>
                <a:ext cx="23813" cy="25400"/>
              </a:xfrm>
              <a:custGeom>
                <a:avLst/>
                <a:gdLst>
                  <a:gd name="T0" fmla="*/ 0 w 4"/>
                  <a:gd name="T1" fmla="*/ 2 h 4"/>
                  <a:gd name="T2" fmla="*/ 0 w 4"/>
                  <a:gd name="T3" fmla="*/ 3 h 4"/>
                  <a:gd name="T4" fmla="*/ 1 w 4"/>
                  <a:gd name="T5" fmla="*/ 4 h 4"/>
                  <a:gd name="T6" fmla="*/ 2 w 4"/>
                  <a:gd name="T7" fmla="*/ 4 h 4"/>
                  <a:gd name="T8" fmla="*/ 4 w 4"/>
                  <a:gd name="T9" fmla="*/ 2 h 4"/>
                  <a:gd name="T10" fmla="*/ 4 w 4"/>
                  <a:gd name="T11" fmla="*/ 2 h 4"/>
                  <a:gd name="T12" fmla="*/ 2 w 4"/>
                  <a:gd name="T13" fmla="*/ 0 h 4"/>
                  <a:gd name="T14" fmla="*/ 2 w 4"/>
                  <a:gd name="T15" fmla="*/ 0 h 4"/>
                  <a:gd name="T16" fmla="*/ 0 w 4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4" name="iṡliďê">
                <a:extLst>
                  <a:ext uri="{FF2B5EF4-FFF2-40B4-BE49-F238E27FC236}">
                    <a16:creationId xmlns:a16="http://schemas.microsoft.com/office/drawing/2014/main" id="{1F3EC7D1-C5E5-46D4-BB58-DC7783715C5A}"/>
                  </a:ext>
                </a:extLst>
              </p:cNvPr>
              <p:cNvSpPr/>
              <p:nvPr/>
            </p:nvSpPr>
            <p:spPr bwMode="auto">
              <a:xfrm>
                <a:off x="7697788" y="2733675"/>
                <a:ext cx="23813" cy="31750"/>
              </a:xfrm>
              <a:custGeom>
                <a:avLst/>
                <a:gdLst>
                  <a:gd name="T0" fmla="*/ 2 w 4"/>
                  <a:gd name="T1" fmla="*/ 1 h 5"/>
                  <a:gd name="T2" fmla="*/ 1 w 4"/>
                  <a:gd name="T3" fmla="*/ 1 h 5"/>
                  <a:gd name="T4" fmla="*/ 0 w 4"/>
                  <a:gd name="T5" fmla="*/ 3 h 5"/>
                  <a:gd name="T6" fmla="*/ 4 w 4"/>
                  <a:gd name="T7" fmla="*/ 3 h 5"/>
                  <a:gd name="T8" fmla="*/ 0 w 4"/>
                  <a:gd name="T9" fmla="*/ 2 h 5"/>
                  <a:gd name="T10" fmla="*/ 2 w 4"/>
                  <a:gd name="T11" fmla="*/ 1 h 5"/>
                  <a:gd name="T12" fmla="*/ 2 w 4"/>
                  <a:gd name="T13" fmla="*/ 1 h 5"/>
                  <a:gd name="T14" fmla="*/ 3 w 4"/>
                  <a:gd name="T15" fmla="*/ 3 h 5"/>
                  <a:gd name="T16" fmla="*/ 3 w 4"/>
                  <a:gd name="T17" fmla="*/ 2 h 5"/>
                  <a:gd name="T18" fmla="*/ 2 w 4"/>
                  <a:gd name="T1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2" y="1"/>
                    </a:moveTo>
                    <a:cubicBezTo>
                      <a:pt x="2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5"/>
                      <a:pt x="3" y="5"/>
                      <a:pt x="4" y="3"/>
                    </a:cubicBezTo>
                    <a:cubicBezTo>
                      <a:pt x="4" y="1"/>
                      <a:pt x="1" y="0"/>
                      <a:pt x="0" y="2"/>
                    </a:cubicBezTo>
                    <a:cubicBezTo>
                      <a:pt x="1" y="2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3" y="2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5" name="íṧľíďe">
                <a:extLst>
                  <a:ext uri="{FF2B5EF4-FFF2-40B4-BE49-F238E27FC236}">
                    <a16:creationId xmlns:a16="http://schemas.microsoft.com/office/drawing/2014/main" id="{6EE7D79A-FCB6-45E3-A0B9-1C73FFEB97DB}"/>
                  </a:ext>
                </a:extLst>
              </p:cNvPr>
              <p:cNvSpPr/>
              <p:nvPr/>
            </p:nvSpPr>
            <p:spPr bwMode="auto">
              <a:xfrm>
                <a:off x="7691438" y="2838450"/>
                <a:ext cx="19050" cy="23813"/>
              </a:xfrm>
              <a:custGeom>
                <a:avLst/>
                <a:gdLst>
                  <a:gd name="T0" fmla="*/ 3 w 3"/>
                  <a:gd name="T1" fmla="*/ 1 h 4"/>
                  <a:gd name="T2" fmla="*/ 3 w 3"/>
                  <a:gd name="T3" fmla="*/ 1 h 4"/>
                  <a:gd name="T4" fmla="*/ 0 w 3"/>
                  <a:gd name="T5" fmla="*/ 2 h 4"/>
                  <a:gd name="T6" fmla="*/ 3 w 3"/>
                  <a:gd name="T7" fmla="*/ 3 h 4"/>
                  <a:gd name="T8" fmla="*/ 3 w 3"/>
                  <a:gd name="T9" fmla="*/ 3 h 4"/>
                  <a:gd name="T10" fmla="*/ 3 w 3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4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0" name="isļïḋé">
              <a:extLst>
                <a:ext uri="{FF2B5EF4-FFF2-40B4-BE49-F238E27FC236}">
                  <a16:creationId xmlns:a16="http://schemas.microsoft.com/office/drawing/2014/main" id="{888B2F82-3BEF-4B36-8423-474E13ACBEBC}"/>
                </a:ext>
              </a:extLst>
            </p:cNvPr>
            <p:cNvGrpSpPr/>
            <p:nvPr/>
          </p:nvGrpSpPr>
          <p:grpSpPr>
            <a:xfrm flipH="1">
              <a:off x="7161571" y="2444202"/>
              <a:ext cx="783813" cy="2376000"/>
              <a:chOff x="4335060" y="2822299"/>
              <a:chExt cx="783813" cy="2376000"/>
            </a:xfrm>
          </p:grpSpPr>
          <p:sp>
            <p:nvSpPr>
              <p:cNvPr id="29" name="îşľïḋe">
                <a:extLst>
                  <a:ext uri="{FF2B5EF4-FFF2-40B4-BE49-F238E27FC236}">
                    <a16:creationId xmlns:a16="http://schemas.microsoft.com/office/drawing/2014/main" id="{163D9C2E-8247-4798-8A1C-9EEF70E2F87C}"/>
                  </a:ext>
                </a:extLst>
              </p:cNvPr>
              <p:cNvSpPr/>
              <p:nvPr/>
            </p:nvSpPr>
            <p:spPr bwMode="auto">
              <a:xfrm>
                <a:off x="4767060" y="3974299"/>
                <a:ext cx="351813" cy="72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0" name="i$1íḍê">
                <a:extLst>
                  <a:ext uri="{FF2B5EF4-FFF2-40B4-BE49-F238E27FC236}">
                    <a16:creationId xmlns:a16="http://schemas.microsoft.com/office/drawing/2014/main" id="{7A2A9F27-B0BD-4AA4-9A3D-88AC2AEE7EF2}"/>
                  </a:ext>
                </a:extLst>
              </p:cNvPr>
              <p:cNvSpPr/>
              <p:nvPr/>
            </p:nvSpPr>
            <p:spPr bwMode="auto">
              <a:xfrm rot="5400000" flipH="1">
                <a:off x="3363060" y="3794299"/>
                <a:ext cx="2376000" cy="432000"/>
              </a:xfrm>
              <a:prstGeom prst="uturnArrow">
                <a:avLst>
                  <a:gd name="adj1" fmla="val 11666"/>
                  <a:gd name="adj2" fmla="val 25000"/>
                  <a:gd name="adj3" fmla="val 0"/>
                  <a:gd name="adj4" fmla="val 85000"/>
                  <a:gd name="adj5" fmla="val 100000"/>
                </a:avLst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11" name="íSḻïďé">
              <a:extLst>
                <a:ext uri="{FF2B5EF4-FFF2-40B4-BE49-F238E27FC236}">
                  <a16:creationId xmlns:a16="http://schemas.microsoft.com/office/drawing/2014/main" id="{6E0FED35-5F81-4087-BCD8-E41AFF0857F8}"/>
                </a:ext>
              </a:extLst>
            </p:cNvPr>
            <p:cNvSpPr/>
            <p:nvPr/>
          </p:nvSpPr>
          <p:spPr bwMode="auto">
            <a:xfrm>
              <a:off x="7953147" y="2200717"/>
              <a:ext cx="558869" cy="55886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ïṧļiďè">
              <a:extLst>
                <a:ext uri="{FF2B5EF4-FFF2-40B4-BE49-F238E27FC236}">
                  <a16:creationId xmlns:a16="http://schemas.microsoft.com/office/drawing/2014/main" id="{2A703F78-2EBC-4753-92E5-1D8B582A12D5}"/>
                </a:ext>
              </a:extLst>
            </p:cNvPr>
            <p:cNvSpPr/>
            <p:nvPr/>
          </p:nvSpPr>
          <p:spPr bwMode="auto">
            <a:xfrm>
              <a:off x="7953147" y="4504817"/>
              <a:ext cx="558869" cy="55886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3" name="iṣlíḓè">
              <a:extLst>
                <a:ext uri="{FF2B5EF4-FFF2-40B4-BE49-F238E27FC236}">
                  <a16:creationId xmlns:a16="http://schemas.microsoft.com/office/drawing/2014/main" id="{2D0267B6-C1CA-4685-8244-0A7146A16527}"/>
                </a:ext>
              </a:extLst>
            </p:cNvPr>
            <p:cNvGrpSpPr/>
            <p:nvPr/>
          </p:nvGrpSpPr>
          <p:grpSpPr>
            <a:xfrm>
              <a:off x="660400" y="1784425"/>
              <a:ext cx="2833420" cy="1391450"/>
              <a:chOff x="1263421" y="2072098"/>
              <a:chExt cx="3202566" cy="1391450"/>
            </a:xfrm>
          </p:grpSpPr>
          <p:sp>
            <p:nvSpPr>
              <p:cNvPr id="27" name="ïSlíḋe">
                <a:extLst>
                  <a:ext uri="{FF2B5EF4-FFF2-40B4-BE49-F238E27FC236}">
                    <a16:creationId xmlns:a16="http://schemas.microsoft.com/office/drawing/2014/main" id="{EB71927F-21CD-4E47-B18B-315B5DB35A47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结论经验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8" name="íṧḷïḍ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latin typeface=""/>
                    <a:ea typeface="微软雅黑" panose="020B0503020204020204" pitchFamily="34" charset="-122"/>
                    <a:sym typeface=""/>
                  </a:rPr>
                  <a:t>通过产品流行趋势变化，来衡量对不同品类的影响；</a:t>
                </a:r>
                <a:endParaRPr lang="en-US" altLang="zh-CN" sz="12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4" name="íṩḻïďé">
              <a:extLst>
                <a:ext uri="{FF2B5EF4-FFF2-40B4-BE49-F238E27FC236}">
                  <a16:creationId xmlns:a16="http://schemas.microsoft.com/office/drawing/2014/main" id="{8756666D-3FB0-4EB6-9C51-A60D479B6F62}"/>
                </a:ext>
              </a:extLst>
            </p:cNvPr>
            <p:cNvGrpSpPr/>
            <p:nvPr/>
          </p:nvGrpSpPr>
          <p:grpSpPr>
            <a:xfrm>
              <a:off x="660400" y="4088525"/>
              <a:ext cx="2833420" cy="1391450"/>
              <a:chOff x="1263421" y="2072098"/>
              <a:chExt cx="3202566" cy="1391450"/>
            </a:xfrm>
          </p:grpSpPr>
          <p:sp>
            <p:nvSpPr>
              <p:cNvPr id="25" name="îṥļiḓe">
                <a:extLst>
                  <a:ext uri="{FF2B5EF4-FFF2-40B4-BE49-F238E27FC236}">
                    <a16:creationId xmlns:a16="http://schemas.microsoft.com/office/drawing/2014/main" id="{68D4E583-8550-476D-8503-0E83407E3F28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过程一刀切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6" name="íṧḻíḓê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对于趋势的影响，使用一刀切的方式进行预测，未考虑不同的变化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5" name="ïŝļïdè">
              <a:extLst>
                <a:ext uri="{FF2B5EF4-FFF2-40B4-BE49-F238E27FC236}">
                  <a16:creationId xmlns:a16="http://schemas.microsoft.com/office/drawing/2014/main" id="{358BC907-54ED-4036-A090-70CD5C469F9E}"/>
                </a:ext>
              </a:extLst>
            </p:cNvPr>
            <p:cNvGrpSpPr/>
            <p:nvPr/>
          </p:nvGrpSpPr>
          <p:grpSpPr>
            <a:xfrm>
              <a:off x="8685480" y="1784425"/>
              <a:ext cx="2833420" cy="1391450"/>
              <a:chOff x="1263421" y="2072098"/>
              <a:chExt cx="3202566" cy="1391450"/>
            </a:xfrm>
          </p:grpSpPr>
          <p:sp>
            <p:nvSpPr>
              <p:cNvPr id="23" name="iṥḻïḍe">
                <a:extLst>
                  <a:ext uri="{FF2B5EF4-FFF2-40B4-BE49-F238E27FC236}">
                    <a16:creationId xmlns:a16="http://schemas.microsoft.com/office/drawing/2014/main" id="{8184E085-4118-4A87-99FD-00FC04C3AA61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结论数字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4" name="íṡ1ïď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通过历史经验的学习，与影响因素的数据化，得到常年历史趋势下的结论和原因；有理可依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6" name="íṩḻïde">
              <a:extLst>
                <a:ext uri="{FF2B5EF4-FFF2-40B4-BE49-F238E27FC236}">
                  <a16:creationId xmlns:a16="http://schemas.microsoft.com/office/drawing/2014/main" id="{468A5526-98BF-49FF-BCB5-F914F687A993}"/>
                </a:ext>
              </a:extLst>
            </p:cNvPr>
            <p:cNvGrpSpPr/>
            <p:nvPr/>
          </p:nvGrpSpPr>
          <p:grpSpPr>
            <a:xfrm>
              <a:off x="8685480" y="4088525"/>
              <a:ext cx="2833420" cy="1391450"/>
              <a:chOff x="1263421" y="2072098"/>
              <a:chExt cx="3202566" cy="1391450"/>
            </a:xfrm>
          </p:grpSpPr>
          <p:sp>
            <p:nvSpPr>
              <p:cNvPr id="21" name="ïṣḻïďé">
                <a:extLst>
                  <a:ext uri="{FF2B5EF4-FFF2-40B4-BE49-F238E27FC236}">
                    <a16:creationId xmlns:a16="http://schemas.microsoft.com/office/drawing/2014/main" id="{ECE90EF2-75E2-4D83-BA42-89F074FAB1DB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过程精细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2" name="iṡḷïḋ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通过具体因素的结构性拆解，评估不同的影响因素与变化过程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17" name="iŝḻíďe">
              <a:extLst>
                <a:ext uri="{FF2B5EF4-FFF2-40B4-BE49-F238E27FC236}">
                  <a16:creationId xmlns:a16="http://schemas.microsoft.com/office/drawing/2014/main" id="{BBB4001C-031D-49BD-AE1B-771DA0934EC8}"/>
                </a:ext>
              </a:extLst>
            </p:cNvPr>
            <p:cNvSpPr/>
            <p:nvPr/>
          </p:nvSpPr>
          <p:spPr>
            <a:xfrm>
              <a:off x="3825275" y="23464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îṡlíḋé">
              <a:extLst>
                <a:ext uri="{FF2B5EF4-FFF2-40B4-BE49-F238E27FC236}">
                  <a16:creationId xmlns:a16="http://schemas.microsoft.com/office/drawing/2014/main" id="{590BCCEF-B252-4273-BB18-15F7A773B966}"/>
                </a:ext>
              </a:extLst>
            </p:cNvPr>
            <p:cNvSpPr/>
            <p:nvPr/>
          </p:nvSpPr>
          <p:spPr>
            <a:xfrm>
              <a:off x="3825275" y="46505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íṥlîḑê">
              <a:extLst>
                <a:ext uri="{FF2B5EF4-FFF2-40B4-BE49-F238E27FC236}">
                  <a16:creationId xmlns:a16="http://schemas.microsoft.com/office/drawing/2014/main" id="{C2836EE2-3643-46E3-9B5E-40885DEAC320}"/>
                </a:ext>
              </a:extLst>
            </p:cNvPr>
            <p:cNvSpPr/>
            <p:nvPr/>
          </p:nvSpPr>
          <p:spPr>
            <a:xfrm>
              <a:off x="8111138" y="23464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ïṣļíḋe">
              <a:extLst>
                <a:ext uri="{FF2B5EF4-FFF2-40B4-BE49-F238E27FC236}">
                  <a16:creationId xmlns:a16="http://schemas.microsoft.com/office/drawing/2014/main" id="{70B75D0A-9D24-4464-B9D0-67611A7D1042}"/>
                </a:ext>
              </a:extLst>
            </p:cNvPr>
            <p:cNvSpPr/>
            <p:nvPr/>
          </p:nvSpPr>
          <p:spPr>
            <a:xfrm>
              <a:off x="8111138" y="46505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sp>
        <p:nvSpPr>
          <p:cNvPr id="148" name="ïSlíḋe">
            <a:extLst>
              <a:ext uri="{FF2B5EF4-FFF2-40B4-BE49-F238E27FC236}">
                <a16:creationId xmlns:a16="http://schemas.microsoft.com/office/drawing/2014/main" id="{54C4849C-3BE8-4FAC-B020-04ED0CE1CE2C}"/>
              </a:ext>
            </a:extLst>
          </p:cNvPr>
          <p:cNvSpPr/>
          <p:nvPr/>
        </p:nvSpPr>
        <p:spPr>
          <a:xfrm>
            <a:off x="503904" y="1169717"/>
            <a:ext cx="4231452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"/>
                <a:ea typeface="微软雅黑" panose="020B0503020204020204" pitchFamily="34" charset="-122"/>
                <a:sym typeface=""/>
              </a:rPr>
              <a:t>过去</a:t>
            </a:r>
            <a:endParaRPr lang="id-ID" altLang="zh-CN" sz="2000" b="1" dirty="0">
              <a:solidFill>
                <a:schemeClr val="tx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49" name="ïSlíḋe">
            <a:extLst>
              <a:ext uri="{FF2B5EF4-FFF2-40B4-BE49-F238E27FC236}">
                <a16:creationId xmlns:a16="http://schemas.microsoft.com/office/drawing/2014/main" id="{19447899-BC35-4E18-BC2E-D8B74AEA064C}"/>
              </a:ext>
            </a:extLst>
          </p:cNvPr>
          <p:cNvSpPr/>
          <p:nvPr/>
        </p:nvSpPr>
        <p:spPr>
          <a:xfrm>
            <a:off x="7596034" y="1250558"/>
            <a:ext cx="2833420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"/>
                <a:ea typeface="微软雅黑" panose="020B0503020204020204" pitchFamily="34" charset="-122"/>
                <a:sym typeface=""/>
              </a:rPr>
              <a:t>愿景</a:t>
            </a:r>
            <a:endParaRPr lang="id-ID" altLang="zh-CN" sz="2000" b="1" dirty="0">
              <a:solidFill>
                <a:schemeClr val="tx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D90F911A-3647-4B1B-AD53-DBEE406D7439}"/>
              </a:ext>
            </a:extLst>
          </p:cNvPr>
          <p:cNvSpPr txBox="1"/>
          <p:nvPr/>
        </p:nvSpPr>
        <p:spPr>
          <a:xfrm>
            <a:off x="7596034" y="54369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新的预测方式衡量了不同的影响因素</a:t>
            </a:r>
          </a:p>
        </p:txBody>
      </p:sp>
    </p:spTree>
    <p:extLst>
      <p:ext uri="{BB962C8B-B14F-4D97-AF65-F5344CB8AC3E}">
        <p14:creationId xmlns:p14="http://schemas.microsoft.com/office/powerpoint/2010/main" val="1469120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ŝľiďê">
            <a:extLst>
              <a:ext uri="{FF2B5EF4-FFF2-40B4-BE49-F238E27FC236}">
                <a16:creationId xmlns:a16="http://schemas.microsoft.com/office/drawing/2014/main" id="{7E9FE16C-F1C1-4E7A-9A0B-31964842EDBF}"/>
              </a:ext>
            </a:extLst>
          </p:cNvPr>
          <p:cNvGrpSpPr/>
          <p:nvPr/>
        </p:nvGrpSpPr>
        <p:grpSpPr>
          <a:xfrm>
            <a:off x="-1240939" y="-3443"/>
            <a:ext cx="10903940" cy="4829828"/>
            <a:chOff x="644028" y="21043"/>
            <a:chExt cx="10903940" cy="4829828"/>
          </a:xfrm>
          <a:solidFill>
            <a:schemeClr val="bg1">
              <a:lumMod val="85000"/>
            </a:schemeClr>
          </a:solidFill>
        </p:grpSpPr>
        <p:sp>
          <p:nvSpPr>
            <p:cNvPr id="18" name="íṧ1ïḋè">
              <a:extLst>
                <a:ext uri="{FF2B5EF4-FFF2-40B4-BE49-F238E27FC236}">
                  <a16:creationId xmlns:a16="http://schemas.microsoft.com/office/drawing/2014/main" id="{67D6A2D6-5A9F-4963-B427-C919D51CB871}"/>
                </a:ext>
              </a:extLst>
            </p:cNvPr>
            <p:cNvSpPr/>
            <p:nvPr/>
          </p:nvSpPr>
          <p:spPr bwMode="auto">
            <a:xfrm>
              <a:off x="1333855" y="675944"/>
              <a:ext cx="286628" cy="286628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i$ḷîde">
              <a:extLst>
                <a:ext uri="{FF2B5EF4-FFF2-40B4-BE49-F238E27FC236}">
                  <a16:creationId xmlns:a16="http://schemas.microsoft.com/office/drawing/2014/main" id="{438B8B75-69D2-4E1A-BAF3-E72D8F4AFFDE}"/>
                </a:ext>
              </a:extLst>
            </p:cNvPr>
            <p:cNvSpPr/>
            <p:nvPr/>
          </p:nvSpPr>
          <p:spPr bwMode="auto">
            <a:xfrm>
              <a:off x="1450091" y="720853"/>
              <a:ext cx="67364" cy="67364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ïŝlîḑe">
              <a:extLst>
                <a:ext uri="{FF2B5EF4-FFF2-40B4-BE49-F238E27FC236}">
                  <a16:creationId xmlns:a16="http://schemas.microsoft.com/office/drawing/2014/main" id="{2D37ADC3-6874-4B12-9890-9D2FCB278F6C}"/>
                </a:ext>
              </a:extLst>
            </p:cNvPr>
            <p:cNvSpPr/>
            <p:nvPr/>
          </p:nvSpPr>
          <p:spPr bwMode="auto">
            <a:xfrm>
              <a:off x="1813298" y="256061"/>
              <a:ext cx="393778" cy="391972"/>
            </a:xfrm>
            <a:custGeom>
              <a:avLst/>
              <a:gdLst>
                <a:gd name="T0" fmla="*/ 10476 w 16132"/>
                <a:gd name="T1" fmla="*/ 8984 h 16058"/>
                <a:gd name="T2" fmla="*/ 9828 w 16132"/>
                <a:gd name="T3" fmla="*/ 8821 h 16058"/>
                <a:gd name="T4" fmla="*/ 9225 w 16132"/>
                <a:gd name="T5" fmla="*/ 8560 h 16058"/>
                <a:gd name="T6" fmla="*/ 7288 w 16132"/>
                <a:gd name="T7" fmla="*/ 10231 h 16058"/>
                <a:gd name="T8" fmla="*/ 7156 w 16132"/>
                <a:gd name="T9" fmla="*/ 10439 h 16058"/>
                <a:gd name="T10" fmla="*/ 7079 w 16132"/>
                <a:gd name="T11" fmla="*/ 10671 h 16058"/>
                <a:gd name="T12" fmla="*/ 6051 w 16132"/>
                <a:gd name="T13" fmla="*/ 12043 h 16058"/>
                <a:gd name="T14" fmla="*/ 5571 w 16132"/>
                <a:gd name="T15" fmla="*/ 12164 h 16058"/>
                <a:gd name="T16" fmla="*/ 5215 w 16132"/>
                <a:gd name="T17" fmla="*/ 12486 h 16058"/>
                <a:gd name="T18" fmla="*/ 5048 w 16132"/>
                <a:gd name="T19" fmla="*/ 12944 h 16058"/>
                <a:gd name="T20" fmla="*/ 3713 w 16132"/>
                <a:gd name="T21" fmla="*/ 14062 h 16058"/>
                <a:gd name="T22" fmla="*/ 3476 w 16132"/>
                <a:gd name="T23" fmla="*/ 14127 h 16058"/>
                <a:gd name="T24" fmla="*/ 3262 w 16132"/>
                <a:gd name="T25" fmla="*/ 14248 h 16058"/>
                <a:gd name="T26" fmla="*/ 6888 w 16132"/>
                <a:gd name="T27" fmla="*/ 7782 h 16058"/>
                <a:gd name="T28" fmla="*/ 7418 w 16132"/>
                <a:gd name="T29" fmla="*/ 6641 h 16058"/>
                <a:gd name="T30" fmla="*/ 7194 w 16132"/>
                <a:gd name="T31" fmla="*/ 6023 h 16058"/>
                <a:gd name="T32" fmla="*/ 7075 w 16132"/>
                <a:gd name="T33" fmla="*/ 5362 h 16058"/>
                <a:gd name="T34" fmla="*/ 7186 w 16132"/>
                <a:gd name="T35" fmla="*/ 4015 h 16058"/>
                <a:gd name="T36" fmla="*/ 8106 w 16132"/>
                <a:gd name="T37" fmla="*/ 2319 h 16058"/>
                <a:gd name="T38" fmla="*/ 9705 w 16132"/>
                <a:gd name="T39" fmla="*/ 1248 h 16058"/>
                <a:gd name="T40" fmla="*/ 11706 w 16132"/>
                <a:gd name="T41" fmla="*/ 1050 h 16058"/>
                <a:gd name="T42" fmla="*/ 13505 w 16132"/>
                <a:gd name="T43" fmla="*/ 1801 h 16058"/>
                <a:gd name="T44" fmla="*/ 14726 w 16132"/>
                <a:gd name="T45" fmla="*/ 3277 h 16058"/>
                <a:gd name="T46" fmla="*/ 15119 w 16132"/>
                <a:gd name="T47" fmla="*/ 5225 h 16058"/>
                <a:gd name="T48" fmla="*/ 14540 w 16132"/>
                <a:gd name="T49" fmla="*/ 7100 h 16058"/>
                <a:gd name="T50" fmla="*/ 13182 w 16132"/>
                <a:gd name="T51" fmla="*/ 8452 h 16058"/>
                <a:gd name="T52" fmla="*/ 11298 w 16132"/>
                <a:gd name="T53" fmla="*/ 9028 h 16058"/>
                <a:gd name="T54" fmla="*/ 9130 w 16132"/>
                <a:gd name="T55" fmla="*/ 394 h 16058"/>
                <a:gd name="T56" fmla="*/ 7202 w 16132"/>
                <a:gd name="T57" fmla="*/ 1826 h 16058"/>
                <a:gd name="T58" fmla="*/ 6153 w 16132"/>
                <a:gd name="T59" fmla="*/ 4007 h 16058"/>
                <a:gd name="T60" fmla="*/ 6065 w 16132"/>
                <a:gd name="T61" fmla="*/ 5377 h 16058"/>
                <a:gd name="T62" fmla="*/ 6146 w 16132"/>
                <a:gd name="T63" fmla="*/ 5958 h 16058"/>
                <a:gd name="T64" fmla="*/ 6293 w 16132"/>
                <a:gd name="T65" fmla="*/ 6516 h 16058"/>
                <a:gd name="T66" fmla="*/ 195 w 16132"/>
                <a:gd name="T67" fmla="*/ 13035 h 16058"/>
                <a:gd name="T68" fmla="*/ 51 w 16132"/>
                <a:gd name="T69" fmla="*/ 13264 h 16058"/>
                <a:gd name="T70" fmla="*/ 3 w 16132"/>
                <a:gd name="T71" fmla="*/ 13475 h 16058"/>
                <a:gd name="T72" fmla="*/ 46 w 16132"/>
                <a:gd name="T73" fmla="*/ 15346 h 16058"/>
                <a:gd name="T74" fmla="*/ 301 w 16132"/>
                <a:gd name="T75" fmla="*/ 15758 h 16058"/>
                <a:gd name="T76" fmla="*/ 715 w 16132"/>
                <a:gd name="T77" fmla="*/ 16012 h 16058"/>
                <a:gd name="T78" fmla="*/ 2594 w 16132"/>
                <a:gd name="T79" fmla="*/ 16055 h 16058"/>
                <a:gd name="T80" fmla="*/ 2808 w 16132"/>
                <a:gd name="T81" fmla="*/ 16008 h 16058"/>
                <a:gd name="T82" fmla="*/ 3039 w 16132"/>
                <a:gd name="T83" fmla="*/ 15866 h 16058"/>
                <a:gd name="T84" fmla="*/ 5294 w 16132"/>
                <a:gd name="T85" fmla="*/ 15022 h 16058"/>
                <a:gd name="T86" fmla="*/ 5721 w 16132"/>
                <a:gd name="T87" fmla="*/ 14793 h 16058"/>
                <a:gd name="T88" fmla="*/ 5990 w 16132"/>
                <a:gd name="T89" fmla="*/ 14396 h 16058"/>
                <a:gd name="T90" fmla="*/ 7111 w 16132"/>
                <a:gd name="T91" fmla="*/ 13046 h 16058"/>
                <a:gd name="T92" fmla="*/ 7582 w 16132"/>
                <a:gd name="T93" fmla="*/ 12902 h 16058"/>
                <a:gd name="T94" fmla="*/ 7921 w 16132"/>
                <a:gd name="T95" fmla="*/ 12564 h 16058"/>
                <a:gd name="T96" fmla="*/ 8066 w 16132"/>
                <a:gd name="T97" fmla="*/ 12095 h 16058"/>
                <a:gd name="T98" fmla="*/ 9641 w 16132"/>
                <a:gd name="T99" fmla="*/ 9812 h 16058"/>
                <a:gd name="T100" fmla="*/ 10204 w 16132"/>
                <a:gd name="T101" fmla="*/ 9952 h 16058"/>
                <a:gd name="T102" fmla="*/ 10790 w 16132"/>
                <a:gd name="T103" fmla="*/ 10026 h 16058"/>
                <a:gd name="T104" fmla="*/ 12351 w 16132"/>
                <a:gd name="T105" fmla="*/ 9878 h 16058"/>
                <a:gd name="T106" fmla="*/ 14480 w 16132"/>
                <a:gd name="T107" fmla="*/ 8733 h 16058"/>
                <a:gd name="T108" fmla="*/ 15827 w 16132"/>
                <a:gd name="T109" fmla="*/ 6743 h 16058"/>
                <a:gd name="T110" fmla="*/ 16074 w 16132"/>
                <a:gd name="T111" fmla="*/ 4254 h 16058"/>
                <a:gd name="T112" fmla="*/ 15131 w 16132"/>
                <a:gd name="T113" fmla="*/ 2016 h 16058"/>
                <a:gd name="T114" fmla="*/ 13277 w 16132"/>
                <a:gd name="T115" fmla="*/ 49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32" h="16058">
                  <a:moveTo>
                    <a:pt x="11092" y="9033"/>
                  </a:moveTo>
                  <a:lnTo>
                    <a:pt x="11021" y="9032"/>
                  </a:lnTo>
                  <a:lnTo>
                    <a:pt x="10953" y="9030"/>
                  </a:lnTo>
                  <a:lnTo>
                    <a:pt x="10883" y="9027"/>
                  </a:lnTo>
                  <a:lnTo>
                    <a:pt x="10814" y="9023"/>
                  </a:lnTo>
                  <a:lnTo>
                    <a:pt x="10746" y="9018"/>
                  </a:lnTo>
                  <a:lnTo>
                    <a:pt x="10677" y="9011"/>
                  </a:lnTo>
                  <a:lnTo>
                    <a:pt x="10610" y="9003"/>
                  </a:lnTo>
                  <a:lnTo>
                    <a:pt x="10543" y="8994"/>
                  </a:lnTo>
                  <a:lnTo>
                    <a:pt x="10476" y="8984"/>
                  </a:lnTo>
                  <a:lnTo>
                    <a:pt x="10409" y="8972"/>
                  </a:lnTo>
                  <a:lnTo>
                    <a:pt x="10343" y="8959"/>
                  </a:lnTo>
                  <a:lnTo>
                    <a:pt x="10277" y="8945"/>
                  </a:lnTo>
                  <a:lnTo>
                    <a:pt x="10212" y="8931"/>
                  </a:lnTo>
                  <a:lnTo>
                    <a:pt x="10147" y="8915"/>
                  </a:lnTo>
                  <a:lnTo>
                    <a:pt x="10083" y="8898"/>
                  </a:lnTo>
                  <a:lnTo>
                    <a:pt x="10018" y="8881"/>
                  </a:lnTo>
                  <a:lnTo>
                    <a:pt x="9954" y="8862"/>
                  </a:lnTo>
                  <a:lnTo>
                    <a:pt x="9891" y="8842"/>
                  </a:lnTo>
                  <a:lnTo>
                    <a:pt x="9828" y="8821"/>
                  </a:lnTo>
                  <a:lnTo>
                    <a:pt x="9766" y="8799"/>
                  </a:lnTo>
                  <a:lnTo>
                    <a:pt x="9704" y="8777"/>
                  </a:lnTo>
                  <a:lnTo>
                    <a:pt x="9643" y="8753"/>
                  </a:lnTo>
                  <a:lnTo>
                    <a:pt x="9581" y="8728"/>
                  </a:lnTo>
                  <a:lnTo>
                    <a:pt x="9521" y="8703"/>
                  </a:lnTo>
                  <a:lnTo>
                    <a:pt x="9461" y="8675"/>
                  </a:lnTo>
                  <a:lnTo>
                    <a:pt x="9402" y="8648"/>
                  </a:lnTo>
                  <a:lnTo>
                    <a:pt x="9342" y="8619"/>
                  </a:lnTo>
                  <a:lnTo>
                    <a:pt x="9284" y="8590"/>
                  </a:lnTo>
                  <a:lnTo>
                    <a:pt x="9225" y="8560"/>
                  </a:lnTo>
                  <a:lnTo>
                    <a:pt x="9168" y="8529"/>
                  </a:lnTo>
                  <a:lnTo>
                    <a:pt x="9112" y="8498"/>
                  </a:lnTo>
                  <a:lnTo>
                    <a:pt x="9055" y="8465"/>
                  </a:lnTo>
                  <a:lnTo>
                    <a:pt x="8882" y="8637"/>
                  </a:lnTo>
                  <a:lnTo>
                    <a:pt x="8315" y="9201"/>
                  </a:lnTo>
                  <a:lnTo>
                    <a:pt x="7354" y="10158"/>
                  </a:lnTo>
                  <a:lnTo>
                    <a:pt x="7337" y="10176"/>
                  </a:lnTo>
                  <a:lnTo>
                    <a:pt x="7320" y="10194"/>
                  </a:lnTo>
                  <a:lnTo>
                    <a:pt x="7304" y="10212"/>
                  </a:lnTo>
                  <a:lnTo>
                    <a:pt x="7288" y="10231"/>
                  </a:lnTo>
                  <a:lnTo>
                    <a:pt x="7271" y="10250"/>
                  </a:lnTo>
                  <a:lnTo>
                    <a:pt x="7256" y="10270"/>
                  </a:lnTo>
                  <a:lnTo>
                    <a:pt x="7242" y="10290"/>
                  </a:lnTo>
                  <a:lnTo>
                    <a:pt x="7228" y="10311"/>
                  </a:lnTo>
                  <a:lnTo>
                    <a:pt x="7215" y="10332"/>
                  </a:lnTo>
                  <a:lnTo>
                    <a:pt x="7202" y="10352"/>
                  </a:lnTo>
                  <a:lnTo>
                    <a:pt x="7190" y="10374"/>
                  </a:lnTo>
                  <a:lnTo>
                    <a:pt x="7178" y="10395"/>
                  </a:lnTo>
                  <a:lnTo>
                    <a:pt x="7167" y="10417"/>
                  </a:lnTo>
                  <a:lnTo>
                    <a:pt x="7156" y="10439"/>
                  </a:lnTo>
                  <a:lnTo>
                    <a:pt x="7145" y="10461"/>
                  </a:lnTo>
                  <a:lnTo>
                    <a:pt x="7135" y="10483"/>
                  </a:lnTo>
                  <a:lnTo>
                    <a:pt x="7126" y="10506"/>
                  </a:lnTo>
                  <a:lnTo>
                    <a:pt x="7118" y="10529"/>
                  </a:lnTo>
                  <a:lnTo>
                    <a:pt x="7110" y="10552"/>
                  </a:lnTo>
                  <a:lnTo>
                    <a:pt x="7102" y="10576"/>
                  </a:lnTo>
                  <a:lnTo>
                    <a:pt x="7096" y="10600"/>
                  </a:lnTo>
                  <a:lnTo>
                    <a:pt x="7089" y="10623"/>
                  </a:lnTo>
                  <a:lnTo>
                    <a:pt x="7084" y="10647"/>
                  </a:lnTo>
                  <a:lnTo>
                    <a:pt x="7079" y="10671"/>
                  </a:lnTo>
                  <a:lnTo>
                    <a:pt x="7074" y="10695"/>
                  </a:lnTo>
                  <a:lnTo>
                    <a:pt x="7070" y="10719"/>
                  </a:lnTo>
                  <a:lnTo>
                    <a:pt x="7067" y="10744"/>
                  </a:lnTo>
                  <a:lnTo>
                    <a:pt x="7064" y="10768"/>
                  </a:lnTo>
                  <a:lnTo>
                    <a:pt x="7062" y="10793"/>
                  </a:lnTo>
                  <a:lnTo>
                    <a:pt x="7060" y="10817"/>
                  </a:lnTo>
                  <a:lnTo>
                    <a:pt x="7059" y="10843"/>
                  </a:lnTo>
                  <a:lnTo>
                    <a:pt x="7059" y="10868"/>
                  </a:lnTo>
                  <a:lnTo>
                    <a:pt x="7059" y="12043"/>
                  </a:lnTo>
                  <a:lnTo>
                    <a:pt x="6051" y="12043"/>
                  </a:lnTo>
                  <a:lnTo>
                    <a:pt x="5999" y="12045"/>
                  </a:lnTo>
                  <a:lnTo>
                    <a:pt x="5948" y="12049"/>
                  </a:lnTo>
                  <a:lnTo>
                    <a:pt x="5897" y="12055"/>
                  </a:lnTo>
                  <a:lnTo>
                    <a:pt x="5848" y="12064"/>
                  </a:lnTo>
                  <a:lnTo>
                    <a:pt x="5799" y="12075"/>
                  </a:lnTo>
                  <a:lnTo>
                    <a:pt x="5751" y="12088"/>
                  </a:lnTo>
                  <a:lnTo>
                    <a:pt x="5705" y="12104"/>
                  </a:lnTo>
                  <a:lnTo>
                    <a:pt x="5658" y="12122"/>
                  </a:lnTo>
                  <a:lnTo>
                    <a:pt x="5614" y="12142"/>
                  </a:lnTo>
                  <a:lnTo>
                    <a:pt x="5571" y="12164"/>
                  </a:lnTo>
                  <a:lnTo>
                    <a:pt x="5528" y="12189"/>
                  </a:lnTo>
                  <a:lnTo>
                    <a:pt x="5487" y="12215"/>
                  </a:lnTo>
                  <a:lnTo>
                    <a:pt x="5448" y="12243"/>
                  </a:lnTo>
                  <a:lnTo>
                    <a:pt x="5409" y="12273"/>
                  </a:lnTo>
                  <a:lnTo>
                    <a:pt x="5373" y="12304"/>
                  </a:lnTo>
                  <a:lnTo>
                    <a:pt x="5338" y="12337"/>
                  </a:lnTo>
                  <a:lnTo>
                    <a:pt x="5304" y="12372"/>
                  </a:lnTo>
                  <a:lnTo>
                    <a:pt x="5273" y="12408"/>
                  </a:lnTo>
                  <a:lnTo>
                    <a:pt x="5243" y="12447"/>
                  </a:lnTo>
                  <a:lnTo>
                    <a:pt x="5215" y="12486"/>
                  </a:lnTo>
                  <a:lnTo>
                    <a:pt x="5188" y="12527"/>
                  </a:lnTo>
                  <a:lnTo>
                    <a:pt x="5164" y="12569"/>
                  </a:lnTo>
                  <a:lnTo>
                    <a:pt x="5142" y="12612"/>
                  </a:lnTo>
                  <a:lnTo>
                    <a:pt x="5122" y="12656"/>
                  </a:lnTo>
                  <a:lnTo>
                    <a:pt x="5104" y="12702"/>
                  </a:lnTo>
                  <a:lnTo>
                    <a:pt x="5088" y="12749"/>
                  </a:lnTo>
                  <a:lnTo>
                    <a:pt x="5075" y="12797"/>
                  </a:lnTo>
                  <a:lnTo>
                    <a:pt x="5063" y="12845"/>
                  </a:lnTo>
                  <a:lnTo>
                    <a:pt x="5054" y="12894"/>
                  </a:lnTo>
                  <a:lnTo>
                    <a:pt x="5048" y="12944"/>
                  </a:lnTo>
                  <a:lnTo>
                    <a:pt x="5044" y="12996"/>
                  </a:lnTo>
                  <a:lnTo>
                    <a:pt x="5042" y="13047"/>
                  </a:lnTo>
                  <a:lnTo>
                    <a:pt x="5042" y="14050"/>
                  </a:lnTo>
                  <a:lnTo>
                    <a:pt x="3862" y="14050"/>
                  </a:lnTo>
                  <a:lnTo>
                    <a:pt x="3836" y="14050"/>
                  </a:lnTo>
                  <a:lnTo>
                    <a:pt x="3812" y="14052"/>
                  </a:lnTo>
                  <a:lnTo>
                    <a:pt x="3787" y="14054"/>
                  </a:lnTo>
                  <a:lnTo>
                    <a:pt x="3762" y="14056"/>
                  </a:lnTo>
                  <a:lnTo>
                    <a:pt x="3738" y="14059"/>
                  </a:lnTo>
                  <a:lnTo>
                    <a:pt x="3713" y="14062"/>
                  </a:lnTo>
                  <a:lnTo>
                    <a:pt x="3688" y="14066"/>
                  </a:lnTo>
                  <a:lnTo>
                    <a:pt x="3664" y="14071"/>
                  </a:lnTo>
                  <a:lnTo>
                    <a:pt x="3640" y="14076"/>
                  </a:lnTo>
                  <a:lnTo>
                    <a:pt x="3616" y="14081"/>
                  </a:lnTo>
                  <a:lnTo>
                    <a:pt x="3592" y="14088"/>
                  </a:lnTo>
                  <a:lnTo>
                    <a:pt x="3568" y="14094"/>
                  </a:lnTo>
                  <a:lnTo>
                    <a:pt x="3545" y="14102"/>
                  </a:lnTo>
                  <a:lnTo>
                    <a:pt x="3522" y="14110"/>
                  </a:lnTo>
                  <a:lnTo>
                    <a:pt x="3499" y="14118"/>
                  </a:lnTo>
                  <a:lnTo>
                    <a:pt x="3476" y="14127"/>
                  </a:lnTo>
                  <a:lnTo>
                    <a:pt x="3453" y="14137"/>
                  </a:lnTo>
                  <a:lnTo>
                    <a:pt x="3431" y="14147"/>
                  </a:lnTo>
                  <a:lnTo>
                    <a:pt x="3409" y="14158"/>
                  </a:lnTo>
                  <a:lnTo>
                    <a:pt x="3387" y="14169"/>
                  </a:lnTo>
                  <a:lnTo>
                    <a:pt x="3366" y="14181"/>
                  </a:lnTo>
                  <a:lnTo>
                    <a:pt x="3344" y="14193"/>
                  </a:lnTo>
                  <a:lnTo>
                    <a:pt x="3323" y="14206"/>
                  </a:lnTo>
                  <a:lnTo>
                    <a:pt x="3302" y="14219"/>
                  </a:lnTo>
                  <a:lnTo>
                    <a:pt x="3282" y="14233"/>
                  </a:lnTo>
                  <a:lnTo>
                    <a:pt x="3262" y="14248"/>
                  </a:lnTo>
                  <a:lnTo>
                    <a:pt x="3243" y="14262"/>
                  </a:lnTo>
                  <a:lnTo>
                    <a:pt x="3222" y="14278"/>
                  </a:lnTo>
                  <a:lnTo>
                    <a:pt x="3204" y="14294"/>
                  </a:lnTo>
                  <a:lnTo>
                    <a:pt x="3185" y="14310"/>
                  </a:lnTo>
                  <a:lnTo>
                    <a:pt x="3167" y="14328"/>
                  </a:lnTo>
                  <a:lnTo>
                    <a:pt x="3149" y="14345"/>
                  </a:lnTo>
                  <a:lnTo>
                    <a:pt x="2434" y="15056"/>
                  </a:lnTo>
                  <a:lnTo>
                    <a:pt x="1010" y="15054"/>
                  </a:lnTo>
                  <a:lnTo>
                    <a:pt x="1008" y="13625"/>
                  </a:lnTo>
                  <a:lnTo>
                    <a:pt x="6888" y="7782"/>
                  </a:lnTo>
                  <a:lnTo>
                    <a:pt x="6888" y="7782"/>
                  </a:lnTo>
                  <a:lnTo>
                    <a:pt x="6889" y="7783"/>
                  </a:lnTo>
                  <a:lnTo>
                    <a:pt x="7629" y="7045"/>
                  </a:lnTo>
                  <a:lnTo>
                    <a:pt x="7597" y="6989"/>
                  </a:lnTo>
                  <a:lnTo>
                    <a:pt x="7565" y="6933"/>
                  </a:lnTo>
                  <a:lnTo>
                    <a:pt x="7534" y="6876"/>
                  </a:lnTo>
                  <a:lnTo>
                    <a:pt x="7503" y="6817"/>
                  </a:lnTo>
                  <a:lnTo>
                    <a:pt x="7474" y="6759"/>
                  </a:lnTo>
                  <a:lnTo>
                    <a:pt x="7446" y="6700"/>
                  </a:lnTo>
                  <a:lnTo>
                    <a:pt x="7418" y="6641"/>
                  </a:lnTo>
                  <a:lnTo>
                    <a:pt x="7391" y="6582"/>
                  </a:lnTo>
                  <a:lnTo>
                    <a:pt x="7365" y="6521"/>
                  </a:lnTo>
                  <a:lnTo>
                    <a:pt x="7340" y="6460"/>
                  </a:lnTo>
                  <a:lnTo>
                    <a:pt x="7317" y="6399"/>
                  </a:lnTo>
                  <a:lnTo>
                    <a:pt x="7294" y="6338"/>
                  </a:lnTo>
                  <a:lnTo>
                    <a:pt x="7271" y="6275"/>
                  </a:lnTo>
                  <a:lnTo>
                    <a:pt x="7250" y="6213"/>
                  </a:lnTo>
                  <a:lnTo>
                    <a:pt x="7230" y="6150"/>
                  </a:lnTo>
                  <a:lnTo>
                    <a:pt x="7212" y="6087"/>
                  </a:lnTo>
                  <a:lnTo>
                    <a:pt x="7194" y="6023"/>
                  </a:lnTo>
                  <a:lnTo>
                    <a:pt x="7177" y="5958"/>
                  </a:lnTo>
                  <a:lnTo>
                    <a:pt x="7161" y="5894"/>
                  </a:lnTo>
                  <a:lnTo>
                    <a:pt x="7146" y="5829"/>
                  </a:lnTo>
                  <a:lnTo>
                    <a:pt x="7132" y="5764"/>
                  </a:lnTo>
                  <a:lnTo>
                    <a:pt x="7120" y="5697"/>
                  </a:lnTo>
                  <a:lnTo>
                    <a:pt x="7108" y="5631"/>
                  </a:lnTo>
                  <a:lnTo>
                    <a:pt x="7098" y="5565"/>
                  </a:lnTo>
                  <a:lnTo>
                    <a:pt x="7089" y="5498"/>
                  </a:lnTo>
                  <a:lnTo>
                    <a:pt x="7081" y="5430"/>
                  </a:lnTo>
                  <a:lnTo>
                    <a:pt x="7075" y="5362"/>
                  </a:lnTo>
                  <a:lnTo>
                    <a:pt x="7069" y="5294"/>
                  </a:lnTo>
                  <a:lnTo>
                    <a:pt x="7065" y="5226"/>
                  </a:lnTo>
                  <a:lnTo>
                    <a:pt x="7062" y="5156"/>
                  </a:lnTo>
                  <a:lnTo>
                    <a:pt x="7060" y="5088"/>
                  </a:lnTo>
                  <a:lnTo>
                    <a:pt x="7059" y="5018"/>
                  </a:lnTo>
                  <a:lnTo>
                    <a:pt x="7064" y="4812"/>
                  </a:lnTo>
                  <a:lnTo>
                    <a:pt x="7080" y="4607"/>
                  </a:lnTo>
                  <a:lnTo>
                    <a:pt x="7105" y="4406"/>
                  </a:lnTo>
                  <a:lnTo>
                    <a:pt x="7140" y="4209"/>
                  </a:lnTo>
                  <a:lnTo>
                    <a:pt x="7186" y="4015"/>
                  </a:lnTo>
                  <a:lnTo>
                    <a:pt x="7240" y="3824"/>
                  </a:lnTo>
                  <a:lnTo>
                    <a:pt x="7304" y="3638"/>
                  </a:lnTo>
                  <a:lnTo>
                    <a:pt x="7376" y="3456"/>
                  </a:lnTo>
                  <a:lnTo>
                    <a:pt x="7457" y="3277"/>
                  </a:lnTo>
                  <a:lnTo>
                    <a:pt x="7546" y="3105"/>
                  </a:lnTo>
                  <a:lnTo>
                    <a:pt x="7643" y="2937"/>
                  </a:lnTo>
                  <a:lnTo>
                    <a:pt x="7747" y="2773"/>
                  </a:lnTo>
                  <a:lnTo>
                    <a:pt x="7860" y="2616"/>
                  </a:lnTo>
                  <a:lnTo>
                    <a:pt x="7980" y="2464"/>
                  </a:lnTo>
                  <a:lnTo>
                    <a:pt x="8106" y="2319"/>
                  </a:lnTo>
                  <a:lnTo>
                    <a:pt x="8240" y="2179"/>
                  </a:lnTo>
                  <a:lnTo>
                    <a:pt x="8381" y="2047"/>
                  </a:lnTo>
                  <a:lnTo>
                    <a:pt x="8527" y="1920"/>
                  </a:lnTo>
                  <a:lnTo>
                    <a:pt x="8679" y="1801"/>
                  </a:lnTo>
                  <a:lnTo>
                    <a:pt x="8837" y="1689"/>
                  </a:lnTo>
                  <a:lnTo>
                    <a:pt x="9001" y="1585"/>
                  </a:lnTo>
                  <a:lnTo>
                    <a:pt x="9169" y="1489"/>
                  </a:lnTo>
                  <a:lnTo>
                    <a:pt x="9343" y="1399"/>
                  </a:lnTo>
                  <a:lnTo>
                    <a:pt x="9522" y="1319"/>
                  </a:lnTo>
                  <a:lnTo>
                    <a:pt x="9705" y="1248"/>
                  </a:lnTo>
                  <a:lnTo>
                    <a:pt x="9892" y="1184"/>
                  </a:lnTo>
                  <a:lnTo>
                    <a:pt x="10084" y="1130"/>
                  </a:lnTo>
                  <a:lnTo>
                    <a:pt x="10279" y="1085"/>
                  </a:lnTo>
                  <a:lnTo>
                    <a:pt x="10478" y="1050"/>
                  </a:lnTo>
                  <a:lnTo>
                    <a:pt x="10679" y="1024"/>
                  </a:lnTo>
                  <a:lnTo>
                    <a:pt x="10884" y="1009"/>
                  </a:lnTo>
                  <a:lnTo>
                    <a:pt x="11092" y="1004"/>
                  </a:lnTo>
                  <a:lnTo>
                    <a:pt x="11298" y="1009"/>
                  </a:lnTo>
                  <a:lnTo>
                    <a:pt x="11504" y="1024"/>
                  </a:lnTo>
                  <a:lnTo>
                    <a:pt x="11706" y="1050"/>
                  </a:lnTo>
                  <a:lnTo>
                    <a:pt x="11904" y="1085"/>
                  </a:lnTo>
                  <a:lnTo>
                    <a:pt x="12099" y="1130"/>
                  </a:lnTo>
                  <a:lnTo>
                    <a:pt x="12291" y="1184"/>
                  </a:lnTo>
                  <a:lnTo>
                    <a:pt x="12478" y="1248"/>
                  </a:lnTo>
                  <a:lnTo>
                    <a:pt x="12661" y="1319"/>
                  </a:lnTo>
                  <a:lnTo>
                    <a:pt x="12840" y="1399"/>
                  </a:lnTo>
                  <a:lnTo>
                    <a:pt x="13013" y="1489"/>
                  </a:lnTo>
                  <a:lnTo>
                    <a:pt x="13182" y="1585"/>
                  </a:lnTo>
                  <a:lnTo>
                    <a:pt x="13346" y="1689"/>
                  </a:lnTo>
                  <a:lnTo>
                    <a:pt x="13505" y="1801"/>
                  </a:lnTo>
                  <a:lnTo>
                    <a:pt x="13657" y="1920"/>
                  </a:lnTo>
                  <a:lnTo>
                    <a:pt x="13803" y="2047"/>
                  </a:lnTo>
                  <a:lnTo>
                    <a:pt x="13943" y="2179"/>
                  </a:lnTo>
                  <a:lnTo>
                    <a:pt x="14076" y="2319"/>
                  </a:lnTo>
                  <a:lnTo>
                    <a:pt x="14203" y="2464"/>
                  </a:lnTo>
                  <a:lnTo>
                    <a:pt x="14323" y="2616"/>
                  </a:lnTo>
                  <a:lnTo>
                    <a:pt x="14435" y="2773"/>
                  </a:lnTo>
                  <a:lnTo>
                    <a:pt x="14540" y="2937"/>
                  </a:lnTo>
                  <a:lnTo>
                    <a:pt x="14637" y="3105"/>
                  </a:lnTo>
                  <a:lnTo>
                    <a:pt x="14726" y="3277"/>
                  </a:lnTo>
                  <a:lnTo>
                    <a:pt x="14807" y="3456"/>
                  </a:lnTo>
                  <a:lnTo>
                    <a:pt x="14879" y="3638"/>
                  </a:lnTo>
                  <a:lnTo>
                    <a:pt x="14942" y="3824"/>
                  </a:lnTo>
                  <a:lnTo>
                    <a:pt x="14997" y="4015"/>
                  </a:lnTo>
                  <a:lnTo>
                    <a:pt x="15042" y="4209"/>
                  </a:lnTo>
                  <a:lnTo>
                    <a:pt x="15077" y="4406"/>
                  </a:lnTo>
                  <a:lnTo>
                    <a:pt x="15104" y="4607"/>
                  </a:lnTo>
                  <a:lnTo>
                    <a:pt x="15119" y="4812"/>
                  </a:lnTo>
                  <a:lnTo>
                    <a:pt x="15124" y="5018"/>
                  </a:lnTo>
                  <a:lnTo>
                    <a:pt x="15119" y="5225"/>
                  </a:lnTo>
                  <a:lnTo>
                    <a:pt x="15104" y="5428"/>
                  </a:lnTo>
                  <a:lnTo>
                    <a:pt x="15077" y="5629"/>
                  </a:lnTo>
                  <a:lnTo>
                    <a:pt x="15042" y="5827"/>
                  </a:lnTo>
                  <a:lnTo>
                    <a:pt x="14997" y="6021"/>
                  </a:lnTo>
                  <a:lnTo>
                    <a:pt x="14942" y="6212"/>
                  </a:lnTo>
                  <a:lnTo>
                    <a:pt x="14879" y="6398"/>
                  </a:lnTo>
                  <a:lnTo>
                    <a:pt x="14807" y="6581"/>
                  </a:lnTo>
                  <a:lnTo>
                    <a:pt x="14726" y="6758"/>
                  </a:lnTo>
                  <a:lnTo>
                    <a:pt x="14637" y="6932"/>
                  </a:lnTo>
                  <a:lnTo>
                    <a:pt x="14540" y="7100"/>
                  </a:lnTo>
                  <a:lnTo>
                    <a:pt x="14435" y="7262"/>
                  </a:lnTo>
                  <a:lnTo>
                    <a:pt x="14323" y="7420"/>
                  </a:lnTo>
                  <a:lnTo>
                    <a:pt x="14203" y="7571"/>
                  </a:lnTo>
                  <a:lnTo>
                    <a:pt x="14076" y="7718"/>
                  </a:lnTo>
                  <a:lnTo>
                    <a:pt x="13943" y="7856"/>
                  </a:lnTo>
                  <a:lnTo>
                    <a:pt x="13803" y="7990"/>
                  </a:lnTo>
                  <a:lnTo>
                    <a:pt x="13657" y="8116"/>
                  </a:lnTo>
                  <a:lnTo>
                    <a:pt x="13505" y="8235"/>
                  </a:lnTo>
                  <a:lnTo>
                    <a:pt x="13346" y="8347"/>
                  </a:lnTo>
                  <a:lnTo>
                    <a:pt x="13182" y="8452"/>
                  </a:lnTo>
                  <a:lnTo>
                    <a:pt x="13013" y="8548"/>
                  </a:lnTo>
                  <a:lnTo>
                    <a:pt x="12840" y="8637"/>
                  </a:lnTo>
                  <a:lnTo>
                    <a:pt x="12661" y="8718"/>
                  </a:lnTo>
                  <a:lnTo>
                    <a:pt x="12478" y="8789"/>
                  </a:lnTo>
                  <a:lnTo>
                    <a:pt x="12291" y="8852"/>
                  </a:lnTo>
                  <a:lnTo>
                    <a:pt x="12099" y="8906"/>
                  </a:lnTo>
                  <a:lnTo>
                    <a:pt x="11904" y="8951"/>
                  </a:lnTo>
                  <a:lnTo>
                    <a:pt x="11706" y="8987"/>
                  </a:lnTo>
                  <a:lnTo>
                    <a:pt x="11504" y="9012"/>
                  </a:lnTo>
                  <a:lnTo>
                    <a:pt x="11298" y="9028"/>
                  </a:lnTo>
                  <a:lnTo>
                    <a:pt x="11092" y="9033"/>
                  </a:lnTo>
                  <a:close/>
                  <a:moveTo>
                    <a:pt x="11092" y="0"/>
                  </a:moveTo>
                  <a:lnTo>
                    <a:pt x="10832" y="7"/>
                  </a:lnTo>
                  <a:lnTo>
                    <a:pt x="10577" y="26"/>
                  </a:lnTo>
                  <a:lnTo>
                    <a:pt x="10323" y="58"/>
                  </a:lnTo>
                  <a:lnTo>
                    <a:pt x="10075" y="102"/>
                  </a:lnTo>
                  <a:lnTo>
                    <a:pt x="9831" y="158"/>
                  </a:lnTo>
                  <a:lnTo>
                    <a:pt x="9592" y="226"/>
                  </a:lnTo>
                  <a:lnTo>
                    <a:pt x="9359" y="304"/>
                  </a:lnTo>
                  <a:lnTo>
                    <a:pt x="9130" y="394"/>
                  </a:lnTo>
                  <a:lnTo>
                    <a:pt x="8906" y="495"/>
                  </a:lnTo>
                  <a:lnTo>
                    <a:pt x="8689" y="605"/>
                  </a:lnTo>
                  <a:lnTo>
                    <a:pt x="8477" y="727"/>
                  </a:lnTo>
                  <a:lnTo>
                    <a:pt x="8274" y="857"/>
                  </a:lnTo>
                  <a:lnTo>
                    <a:pt x="8076" y="997"/>
                  </a:lnTo>
                  <a:lnTo>
                    <a:pt x="7886" y="1146"/>
                  </a:lnTo>
                  <a:lnTo>
                    <a:pt x="7702" y="1304"/>
                  </a:lnTo>
                  <a:lnTo>
                    <a:pt x="7528" y="1469"/>
                  </a:lnTo>
                  <a:lnTo>
                    <a:pt x="7360" y="1644"/>
                  </a:lnTo>
                  <a:lnTo>
                    <a:pt x="7202" y="1826"/>
                  </a:lnTo>
                  <a:lnTo>
                    <a:pt x="7053" y="2016"/>
                  </a:lnTo>
                  <a:lnTo>
                    <a:pt x="6912" y="2212"/>
                  </a:lnTo>
                  <a:lnTo>
                    <a:pt x="6780" y="2416"/>
                  </a:lnTo>
                  <a:lnTo>
                    <a:pt x="6659" y="2627"/>
                  </a:lnTo>
                  <a:lnTo>
                    <a:pt x="6548" y="2843"/>
                  </a:lnTo>
                  <a:lnTo>
                    <a:pt x="6447" y="3064"/>
                  </a:lnTo>
                  <a:lnTo>
                    <a:pt x="6357" y="3293"/>
                  </a:lnTo>
                  <a:lnTo>
                    <a:pt x="6277" y="3526"/>
                  </a:lnTo>
                  <a:lnTo>
                    <a:pt x="6210" y="3764"/>
                  </a:lnTo>
                  <a:lnTo>
                    <a:pt x="6153" y="4007"/>
                  </a:lnTo>
                  <a:lnTo>
                    <a:pt x="6109" y="4254"/>
                  </a:lnTo>
                  <a:lnTo>
                    <a:pt x="6077" y="4505"/>
                  </a:lnTo>
                  <a:lnTo>
                    <a:pt x="6058" y="4760"/>
                  </a:lnTo>
                  <a:lnTo>
                    <a:pt x="6051" y="5018"/>
                  </a:lnTo>
                  <a:lnTo>
                    <a:pt x="6052" y="5078"/>
                  </a:lnTo>
                  <a:lnTo>
                    <a:pt x="6053" y="5138"/>
                  </a:lnTo>
                  <a:lnTo>
                    <a:pt x="6055" y="5198"/>
                  </a:lnTo>
                  <a:lnTo>
                    <a:pt x="6058" y="5259"/>
                  </a:lnTo>
                  <a:lnTo>
                    <a:pt x="6061" y="5318"/>
                  </a:lnTo>
                  <a:lnTo>
                    <a:pt x="6065" y="5377"/>
                  </a:lnTo>
                  <a:lnTo>
                    <a:pt x="6070" y="5436"/>
                  </a:lnTo>
                  <a:lnTo>
                    <a:pt x="6076" y="5496"/>
                  </a:lnTo>
                  <a:lnTo>
                    <a:pt x="6082" y="5554"/>
                  </a:lnTo>
                  <a:lnTo>
                    <a:pt x="6089" y="5612"/>
                  </a:lnTo>
                  <a:lnTo>
                    <a:pt x="6097" y="5670"/>
                  </a:lnTo>
                  <a:lnTo>
                    <a:pt x="6106" y="5728"/>
                  </a:lnTo>
                  <a:lnTo>
                    <a:pt x="6115" y="5787"/>
                  </a:lnTo>
                  <a:lnTo>
                    <a:pt x="6125" y="5844"/>
                  </a:lnTo>
                  <a:lnTo>
                    <a:pt x="6135" y="5901"/>
                  </a:lnTo>
                  <a:lnTo>
                    <a:pt x="6146" y="5958"/>
                  </a:lnTo>
                  <a:lnTo>
                    <a:pt x="6158" y="6015"/>
                  </a:lnTo>
                  <a:lnTo>
                    <a:pt x="6171" y="6072"/>
                  </a:lnTo>
                  <a:lnTo>
                    <a:pt x="6185" y="6128"/>
                  </a:lnTo>
                  <a:lnTo>
                    <a:pt x="6198" y="6184"/>
                  </a:lnTo>
                  <a:lnTo>
                    <a:pt x="6213" y="6240"/>
                  </a:lnTo>
                  <a:lnTo>
                    <a:pt x="6228" y="6296"/>
                  </a:lnTo>
                  <a:lnTo>
                    <a:pt x="6243" y="6352"/>
                  </a:lnTo>
                  <a:lnTo>
                    <a:pt x="6259" y="6407"/>
                  </a:lnTo>
                  <a:lnTo>
                    <a:pt x="6276" y="6461"/>
                  </a:lnTo>
                  <a:lnTo>
                    <a:pt x="6293" y="6516"/>
                  </a:lnTo>
                  <a:lnTo>
                    <a:pt x="6312" y="6571"/>
                  </a:lnTo>
                  <a:lnTo>
                    <a:pt x="6331" y="6625"/>
                  </a:lnTo>
                  <a:lnTo>
                    <a:pt x="6350" y="6679"/>
                  </a:lnTo>
                  <a:lnTo>
                    <a:pt x="6369" y="6732"/>
                  </a:lnTo>
                  <a:lnTo>
                    <a:pt x="6389" y="6786"/>
                  </a:lnTo>
                  <a:lnTo>
                    <a:pt x="6410" y="6840"/>
                  </a:lnTo>
                  <a:lnTo>
                    <a:pt x="286" y="12935"/>
                  </a:lnTo>
                  <a:lnTo>
                    <a:pt x="254" y="12968"/>
                  </a:lnTo>
                  <a:lnTo>
                    <a:pt x="224" y="13002"/>
                  </a:lnTo>
                  <a:lnTo>
                    <a:pt x="195" y="13035"/>
                  </a:lnTo>
                  <a:lnTo>
                    <a:pt x="167" y="13068"/>
                  </a:lnTo>
                  <a:lnTo>
                    <a:pt x="142" y="13102"/>
                  </a:lnTo>
                  <a:lnTo>
                    <a:pt x="118" y="13136"/>
                  </a:lnTo>
                  <a:lnTo>
                    <a:pt x="107" y="13153"/>
                  </a:lnTo>
                  <a:lnTo>
                    <a:pt x="97" y="13171"/>
                  </a:lnTo>
                  <a:lnTo>
                    <a:pt x="87" y="13189"/>
                  </a:lnTo>
                  <a:lnTo>
                    <a:pt x="77" y="13207"/>
                  </a:lnTo>
                  <a:lnTo>
                    <a:pt x="68" y="13225"/>
                  </a:lnTo>
                  <a:lnTo>
                    <a:pt x="59" y="13244"/>
                  </a:lnTo>
                  <a:lnTo>
                    <a:pt x="51" y="13264"/>
                  </a:lnTo>
                  <a:lnTo>
                    <a:pt x="44" y="13283"/>
                  </a:lnTo>
                  <a:lnTo>
                    <a:pt x="37" y="13303"/>
                  </a:lnTo>
                  <a:lnTo>
                    <a:pt x="31" y="13323"/>
                  </a:lnTo>
                  <a:lnTo>
                    <a:pt x="25" y="13344"/>
                  </a:lnTo>
                  <a:lnTo>
                    <a:pt x="20" y="13364"/>
                  </a:lnTo>
                  <a:lnTo>
                    <a:pt x="15" y="13386"/>
                  </a:lnTo>
                  <a:lnTo>
                    <a:pt x="11" y="13407"/>
                  </a:lnTo>
                  <a:lnTo>
                    <a:pt x="8" y="13430"/>
                  </a:lnTo>
                  <a:lnTo>
                    <a:pt x="5" y="13452"/>
                  </a:lnTo>
                  <a:lnTo>
                    <a:pt x="3" y="13475"/>
                  </a:lnTo>
                  <a:lnTo>
                    <a:pt x="1" y="13499"/>
                  </a:lnTo>
                  <a:lnTo>
                    <a:pt x="0" y="13524"/>
                  </a:lnTo>
                  <a:lnTo>
                    <a:pt x="0" y="13549"/>
                  </a:lnTo>
                  <a:lnTo>
                    <a:pt x="0" y="15054"/>
                  </a:lnTo>
                  <a:lnTo>
                    <a:pt x="1" y="15104"/>
                  </a:lnTo>
                  <a:lnTo>
                    <a:pt x="5" y="15155"/>
                  </a:lnTo>
                  <a:lnTo>
                    <a:pt x="12" y="15203"/>
                  </a:lnTo>
                  <a:lnTo>
                    <a:pt x="21" y="15252"/>
                  </a:lnTo>
                  <a:lnTo>
                    <a:pt x="33" y="15299"/>
                  </a:lnTo>
                  <a:lnTo>
                    <a:pt x="46" y="15346"/>
                  </a:lnTo>
                  <a:lnTo>
                    <a:pt x="64" y="15393"/>
                  </a:lnTo>
                  <a:lnTo>
                    <a:pt x="82" y="15438"/>
                  </a:lnTo>
                  <a:lnTo>
                    <a:pt x="103" y="15482"/>
                  </a:lnTo>
                  <a:lnTo>
                    <a:pt x="125" y="15525"/>
                  </a:lnTo>
                  <a:lnTo>
                    <a:pt x="150" y="15567"/>
                  </a:lnTo>
                  <a:lnTo>
                    <a:pt x="176" y="15608"/>
                  </a:lnTo>
                  <a:lnTo>
                    <a:pt x="206" y="15647"/>
                  </a:lnTo>
                  <a:lnTo>
                    <a:pt x="236" y="15686"/>
                  </a:lnTo>
                  <a:lnTo>
                    <a:pt x="268" y="15723"/>
                  </a:lnTo>
                  <a:lnTo>
                    <a:pt x="301" y="15758"/>
                  </a:lnTo>
                  <a:lnTo>
                    <a:pt x="337" y="15791"/>
                  </a:lnTo>
                  <a:lnTo>
                    <a:pt x="374" y="15823"/>
                  </a:lnTo>
                  <a:lnTo>
                    <a:pt x="412" y="15853"/>
                  </a:lnTo>
                  <a:lnTo>
                    <a:pt x="452" y="15882"/>
                  </a:lnTo>
                  <a:lnTo>
                    <a:pt x="493" y="15908"/>
                  </a:lnTo>
                  <a:lnTo>
                    <a:pt x="535" y="15934"/>
                  </a:lnTo>
                  <a:lnTo>
                    <a:pt x="579" y="15956"/>
                  </a:lnTo>
                  <a:lnTo>
                    <a:pt x="623" y="15977"/>
                  </a:lnTo>
                  <a:lnTo>
                    <a:pt x="668" y="15995"/>
                  </a:lnTo>
                  <a:lnTo>
                    <a:pt x="715" y="16012"/>
                  </a:lnTo>
                  <a:lnTo>
                    <a:pt x="762" y="16025"/>
                  </a:lnTo>
                  <a:lnTo>
                    <a:pt x="810" y="16037"/>
                  </a:lnTo>
                  <a:lnTo>
                    <a:pt x="859" y="16046"/>
                  </a:lnTo>
                  <a:lnTo>
                    <a:pt x="907" y="16053"/>
                  </a:lnTo>
                  <a:lnTo>
                    <a:pt x="958" y="16057"/>
                  </a:lnTo>
                  <a:lnTo>
                    <a:pt x="1008" y="16058"/>
                  </a:lnTo>
                  <a:lnTo>
                    <a:pt x="2521" y="16058"/>
                  </a:lnTo>
                  <a:lnTo>
                    <a:pt x="2546" y="16058"/>
                  </a:lnTo>
                  <a:lnTo>
                    <a:pt x="2570" y="16057"/>
                  </a:lnTo>
                  <a:lnTo>
                    <a:pt x="2594" y="16055"/>
                  </a:lnTo>
                  <a:lnTo>
                    <a:pt x="2617" y="16053"/>
                  </a:lnTo>
                  <a:lnTo>
                    <a:pt x="2640" y="16050"/>
                  </a:lnTo>
                  <a:lnTo>
                    <a:pt x="2663" y="16047"/>
                  </a:lnTo>
                  <a:lnTo>
                    <a:pt x="2685" y="16043"/>
                  </a:lnTo>
                  <a:lnTo>
                    <a:pt x="2706" y="16039"/>
                  </a:lnTo>
                  <a:lnTo>
                    <a:pt x="2727" y="16033"/>
                  </a:lnTo>
                  <a:lnTo>
                    <a:pt x="2747" y="16028"/>
                  </a:lnTo>
                  <a:lnTo>
                    <a:pt x="2768" y="16022"/>
                  </a:lnTo>
                  <a:lnTo>
                    <a:pt x="2788" y="16015"/>
                  </a:lnTo>
                  <a:lnTo>
                    <a:pt x="2808" y="16008"/>
                  </a:lnTo>
                  <a:lnTo>
                    <a:pt x="2827" y="16000"/>
                  </a:lnTo>
                  <a:lnTo>
                    <a:pt x="2845" y="15991"/>
                  </a:lnTo>
                  <a:lnTo>
                    <a:pt x="2864" y="15983"/>
                  </a:lnTo>
                  <a:lnTo>
                    <a:pt x="2883" y="15973"/>
                  </a:lnTo>
                  <a:lnTo>
                    <a:pt x="2901" y="15963"/>
                  </a:lnTo>
                  <a:lnTo>
                    <a:pt x="2919" y="15953"/>
                  </a:lnTo>
                  <a:lnTo>
                    <a:pt x="2936" y="15942"/>
                  </a:lnTo>
                  <a:lnTo>
                    <a:pt x="2971" y="15918"/>
                  </a:lnTo>
                  <a:lnTo>
                    <a:pt x="3005" y="15893"/>
                  </a:lnTo>
                  <a:lnTo>
                    <a:pt x="3039" y="15866"/>
                  </a:lnTo>
                  <a:lnTo>
                    <a:pt x="3072" y="15837"/>
                  </a:lnTo>
                  <a:lnTo>
                    <a:pt x="3105" y="15807"/>
                  </a:lnTo>
                  <a:lnTo>
                    <a:pt x="3139" y="15775"/>
                  </a:lnTo>
                  <a:lnTo>
                    <a:pt x="3862" y="15054"/>
                  </a:lnTo>
                  <a:lnTo>
                    <a:pt x="5042" y="15054"/>
                  </a:lnTo>
                  <a:lnTo>
                    <a:pt x="5095" y="15053"/>
                  </a:lnTo>
                  <a:lnTo>
                    <a:pt x="5146" y="15049"/>
                  </a:lnTo>
                  <a:lnTo>
                    <a:pt x="5197" y="15043"/>
                  </a:lnTo>
                  <a:lnTo>
                    <a:pt x="5246" y="15034"/>
                  </a:lnTo>
                  <a:lnTo>
                    <a:pt x="5294" y="15022"/>
                  </a:lnTo>
                  <a:lnTo>
                    <a:pt x="5343" y="15009"/>
                  </a:lnTo>
                  <a:lnTo>
                    <a:pt x="5389" y="14993"/>
                  </a:lnTo>
                  <a:lnTo>
                    <a:pt x="5434" y="14975"/>
                  </a:lnTo>
                  <a:lnTo>
                    <a:pt x="5480" y="14955"/>
                  </a:lnTo>
                  <a:lnTo>
                    <a:pt x="5523" y="14933"/>
                  </a:lnTo>
                  <a:lnTo>
                    <a:pt x="5566" y="14909"/>
                  </a:lnTo>
                  <a:lnTo>
                    <a:pt x="5606" y="14883"/>
                  </a:lnTo>
                  <a:lnTo>
                    <a:pt x="5646" y="14855"/>
                  </a:lnTo>
                  <a:lnTo>
                    <a:pt x="5684" y="14825"/>
                  </a:lnTo>
                  <a:lnTo>
                    <a:pt x="5721" y="14793"/>
                  </a:lnTo>
                  <a:lnTo>
                    <a:pt x="5755" y="14760"/>
                  </a:lnTo>
                  <a:lnTo>
                    <a:pt x="5788" y="14725"/>
                  </a:lnTo>
                  <a:lnTo>
                    <a:pt x="5821" y="14689"/>
                  </a:lnTo>
                  <a:lnTo>
                    <a:pt x="5851" y="14651"/>
                  </a:lnTo>
                  <a:lnTo>
                    <a:pt x="5879" y="14612"/>
                  </a:lnTo>
                  <a:lnTo>
                    <a:pt x="5905" y="14571"/>
                  </a:lnTo>
                  <a:lnTo>
                    <a:pt x="5930" y="14529"/>
                  </a:lnTo>
                  <a:lnTo>
                    <a:pt x="5952" y="14486"/>
                  </a:lnTo>
                  <a:lnTo>
                    <a:pt x="5972" y="14441"/>
                  </a:lnTo>
                  <a:lnTo>
                    <a:pt x="5990" y="14396"/>
                  </a:lnTo>
                  <a:lnTo>
                    <a:pt x="6005" y="14349"/>
                  </a:lnTo>
                  <a:lnTo>
                    <a:pt x="6019" y="14301"/>
                  </a:lnTo>
                  <a:lnTo>
                    <a:pt x="6030" y="14253"/>
                  </a:lnTo>
                  <a:lnTo>
                    <a:pt x="6039" y="14203"/>
                  </a:lnTo>
                  <a:lnTo>
                    <a:pt x="6045" y="14153"/>
                  </a:lnTo>
                  <a:lnTo>
                    <a:pt x="6050" y="14103"/>
                  </a:lnTo>
                  <a:lnTo>
                    <a:pt x="6051" y="14050"/>
                  </a:lnTo>
                  <a:lnTo>
                    <a:pt x="6051" y="13047"/>
                  </a:lnTo>
                  <a:lnTo>
                    <a:pt x="7059" y="13047"/>
                  </a:lnTo>
                  <a:lnTo>
                    <a:pt x="7111" y="13046"/>
                  </a:lnTo>
                  <a:lnTo>
                    <a:pt x="7162" y="13042"/>
                  </a:lnTo>
                  <a:lnTo>
                    <a:pt x="7212" y="13036"/>
                  </a:lnTo>
                  <a:lnTo>
                    <a:pt x="7262" y="13027"/>
                  </a:lnTo>
                  <a:lnTo>
                    <a:pt x="7311" y="13016"/>
                  </a:lnTo>
                  <a:lnTo>
                    <a:pt x="7358" y="13002"/>
                  </a:lnTo>
                  <a:lnTo>
                    <a:pt x="7406" y="12987"/>
                  </a:lnTo>
                  <a:lnTo>
                    <a:pt x="7451" y="12968"/>
                  </a:lnTo>
                  <a:lnTo>
                    <a:pt x="7496" y="12948"/>
                  </a:lnTo>
                  <a:lnTo>
                    <a:pt x="7540" y="12926"/>
                  </a:lnTo>
                  <a:lnTo>
                    <a:pt x="7582" y="12902"/>
                  </a:lnTo>
                  <a:lnTo>
                    <a:pt x="7622" y="12875"/>
                  </a:lnTo>
                  <a:lnTo>
                    <a:pt x="7662" y="12848"/>
                  </a:lnTo>
                  <a:lnTo>
                    <a:pt x="7700" y="12818"/>
                  </a:lnTo>
                  <a:lnTo>
                    <a:pt x="7736" y="12786"/>
                  </a:lnTo>
                  <a:lnTo>
                    <a:pt x="7772" y="12753"/>
                  </a:lnTo>
                  <a:lnTo>
                    <a:pt x="7805" y="12719"/>
                  </a:lnTo>
                  <a:lnTo>
                    <a:pt x="7837" y="12681"/>
                  </a:lnTo>
                  <a:lnTo>
                    <a:pt x="7866" y="12644"/>
                  </a:lnTo>
                  <a:lnTo>
                    <a:pt x="7895" y="12604"/>
                  </a:lnTo>
                  <a:lnTo>
                    <a:pt x="7921" y="12564"/>
                  </a:lnTo>
                  <a:lnTo>
                    <a:pt x="7945" y="12522"/>
                  </a:lnTo>
                  <a:lnTo>
                    <a:pt x="7967" y="12479"/>
                  </a:lnTo>
                  <a:lnTo>
                    <a:pt x="7987" y="12433"/>
                  </a:lnTo>
                  <a:lnTo>
                    <a:pt x="8006" y="12388"/>
                  </a:lnTo>
                  <a:lnTo>
                    <a:pt x="8022" y="12342"/>
                  </a:lnTo>
                  <a:lnTo>
                    <a:pt x="8036" y="12294"/>
                  </a:lnTo>
                  <a:lnTo>
                    <a:pt x="8047" y="12246"/>
                  </a:lnTo>
                  <a:lnTo>
                    <a:pt x="8056" y="12197"/>
                  </a:lnTo>
                  <a:lnTo>
                    <a:pt x="8062" y="12146"/>
                  </a:lnTo>
                  <a:lnTo>
                    <a:pt x="8066" y="12095"/>
                  </a:lnTo>
                  <a:lnTo>
                    <a:pt x="8067" y="12043"/>
                  </a:lnTo>
                  <a:lnTo>
                    <a:pt x="8067" y="10868"/>
                  </a:lnTo>
                  <a:lnTo>
                    <a:pt x="9262" y="9678"/>
                  </a:lnTo>
                  <a:lnTo>
                    <a:pt x="9315" y="9698"/>
                  </a:lnTo>
                  <a:lnTo>
                    <a:pt x="9369" y="9718"/>
                  </a:lnTo>
                  <a:lnTo>
                    <a:pt x="9423" y="9738"/>
                  </a:lnTo>
                  <a:lnTo>
                    <a:pt x="9477" y="9757"/>
                  </a:lnTo>
                  <a:lnTo>
                    <a:pt x="9531" y="9776"/>
                  </a:lnTo>
                  <a:lnTo>
                    <a:pt x="9586" y="9794"/>
                  </a:lnTo>
                  <a:lnTo>
                    <a:pt x="9641" y="9812"/>
                  </a:lnTo>
                  <a:lnTo>
                    <a:pt x="9696" y="9828"/>
                  </a:lnTo>
                  <a:lnTo>
                    <a:pt x="9752" y="9844"/>
                  </a:lnTo>
                  <a:lnTo>
                    <a:pt x="9807" y="9860"/>
                  </a:lnTo>
                  <a:lnTo>
                    <a:pt x="9864" y="9875"/>
                  </a:lnTo>
                  <a:lnTo>
                    <a:pt x="9919" y="9889"/>
                  </a:lnTo>
                  <a:lnTo>
                    <a:pt x="9976" y="9903"/>
                  </a:lnTo>
                  <a:lnTo>
                    <a:pt x="10033" y="9916"/>
                  </a:lnTo>
                  <a:lnTo>
                    <a:pt x="10090" y="9929"/>
                  </a:lnTo>
                  <a:lnTo>
                    <a:pt x="10147" y="9941"/>
                  </a:lnTo>
                  <a:lnTo>
                    <a:pt x="10204" y="9952"/>
                  </a:lnTo>
                  <a:lnTo>
                    <a:pt x="10262" y="9962"/>
                  </a:lnTo>
                  <a:lnTo>
                    <a:pt x="10319" y="9972"/>
                  </a:lnTo>
                  <a:lnTo>
                    <a:pt x="10378" y="9981"/>
                  </a:lnTo>
                  <a:lnTo>
                    <a:pt x="10435" y="9990"/>
                  </a:lnTo>
                  <a:lnTo>
                    <a:pt x="10495" y="9998"/>
                  </a:lnTo>
                  <a:lnTo>
                    <a:pt x="10553" y="10005"/>
                  </a:lnTo>
                  <a:lnTo>
                    <a:pt x="10612" y="10011"/>
                  </a:lnTo>
                  <a:lnTo>
                    <a:pt x="10671" y="10017"/>
                  </a:lnTo>
                  <a:lnTo>
                    <a:pt x="10731" y="10022"/>
                  </a:lnTo>
                  <a:lnTo>
                    <a:pt x="10790" y="10026"/>
                  </a:lnTo>
                  <a:lnTo>
                    <a:pt x="10850" y="10030"/>
                  </a:lnTo>
                  <a:lnTo>
                    <a:pt x="10910" y="10032"/>
                  </a:lnTo>
                  <a:lnTo>
                    <a:pt x="10971" y="10034"/>
                  </a:lnTo>
                  <a:lnTo>
                    <a:pt x="11031" y="10035"/>
                  </a:lnTo>
                  <a:lnTo>
                    <a:pt x="11092" y="10037"/>
                  </a:lnTo>
                  <a:lnTo>
                    <a:pt x="11351" y="10029"/>
                  </a:lnTo>
                  <a:lnTo>
                    <a:pt x="11607" y="10010"/>
                  </a:lnTo>
                  <a:lnTo>
                    <a:pt x="11859" y="9978"/>
                  </a:lnTo>
                  <a:lnTo>
                    <a:pt x="12107" y="9934"/>
                  </a:lnTo>
                  <a:lnTo>
                    <a:pt x="12351" y="9878"/>
                  </a:lnTo>
                  <a:lnTo>
                    <a:pt x="12590" y="9811"/>
                  </a:lnTo>
                  <a:lnTo>
                    <a:pt x="12824" y="9731"/>
                  </a:lnTo>
                  <a:lnTo>
                    <a:pt x="13054" y="9642"/>
                  </a:lnTo>
                  <a:lnTo>
                    <a:pt x="13277" y="9542"/>
                  </a:lnTo>
                  <a:lnTo>
                    <a:pt x="13494" y="9430"/>
                  </a:lnTo>
                  <a:lnTo>
                    <a:pt x="13705" y="9310"/>
                  </a:lnTo>
                  <a:lnTo>
                    <a:pt x="13910" y="9179"/>
                  </a:lnTo>
                  <a:lnTo>
                    <a:pt x="14107" y="9039"/>
                  </a:lnTo>
                  <a:lnTo>
                    <a:pt x="14298" y="8890"/>
                  </a:lnTo>
                  <a:lnTo>
                    <a:pt x="14480" y="8733"/>
                  </a:lnTo>
                  <a:lnTo>
                    <a:pt x="14656" y="8566"/>
                  </a:lnTo>
                  <a:lnTo>
                    <a:pt x="14822" y="8392"/>
                  </a:lnTo>
                  <a:lnTo>
                    <a:pt x="14981" y="8210"/>
                  </a:lnTo>
                  <a:lnTo>
                    <a:pt x="15131" y="8020"/>
                  </a:lnTo>
                  <a:lnTo>
                    <a:pt x="15271" y="7823"/>
                  </a:lnTo>
                  <a:lnTo>
                    <a:pt x="15402" y="7620"/>
                  </a:lnTo>
                  <a:lnTo>
                    <a:pt x="15524" y="7410"/>
                  </a:lnTo>
                  <a:lnTo>
                    <a:pt x="15635" y="7194"/>
                  </a:lnTo>
                  <a:lnTo>
                    <a:pt x="15736" y="6971"/>
                  </a:lnTo>
                  <a:lnTo>
                    <a:pt x="15827" y="6743"/>
                  </a:lnTo>
                  <a:lnTo>
                    <a:pt x="15905" y="6510"/>
                  </a:lnTo>
                  <a:lnTo>
                    <a:pt x="15974" y="6272"/>
                  </a:lnTo>
                  <a:lnTo>
                    <a:pt x="16029" y="6030"/>
                  </a:lnTo>
                  <a:lnTo>
                    <a:pt x="16074" y="5783"/>
                  </a:lnTo>
                  <a:lnTo>
                    <a:pt x="16106" y="5531"/>
                  </a:lnTo>
                  <a:lnTo>
                    <a:pt x="16125" y="5277"/>
                  </a:lnTo>
                  <a:lnTo>
                    <a:pt x="16132" y="5018"/>
                  </a:lnTo>
                  <a:lnTo>
                    <a:pt x="16125" y="4760"/>
                  </a:lnTo>
                  <a:lnTo>
                    <a:pt x="16106" y="4505"/>
                  </a:lnTo>
                  <a:lnTo>
                    <a:pt x="16074" y="4254"/>
                  </a:lnTo>
                  <a:lnTo>
                    <a:pt x="16029" y="4007"/>
                  </a:lnTo>
                  <a:lnTo>
                    <a:pt x="15974" y="3764"/>
                  </a:lnTo>
                  <a:lnTo>
                    <a:pt x="15905" y="3526"/>
                  </a:lnTo>
                  <a:lnTo>
                    <a:pt x="15827" y="3293"/>
                  </a:lnTo>
                  <a:lnTo>
                    <a:pt x="15736" y="3064"/>
                  </a:lnTo>
                  <a:lnTo>
                    <a:pt x="15635" y="2843"/>
                  </a:lnTo>
                  <a:lnTo>
                    <a:pt x="15524" y="2627"/>
                  </a:lnTo>
                  <a:lnTo>
                    <a:pt x="15402" y="2416"/>
                  </a:lnTo>
                  <a:lnTo>
                    <a:pt x="15271" y="2212"/>
                  </a:lnTo>
                  <a:lnTo>
                    <a:pt x="15131" y="2016"/>
                  </a:lnTo>
                  <a:lnTo>
                    <a:pt x="14981" y="1826"/>
                  </a:lnTo>
                  <a:lnTo>
                    <a:pt x="14822" y="1644"/>
                  </a:lnTo>
                  <a:lnTo>
                    <a:pt x="14656" y="1469"/>
                  </a:lnTo>
                  <a:lnTo>
                    <a:pt x="14480" y="1304"/>
                  </a:lnTo>
                  <a:lnTo>
                    <a:pt x="14298" y="1146"/>
                  </a:lnTo>
                  <a:lnTo>
                    <a:pt x="14107" y="997"/>
                  </a:lnTo>
                  <a:lnTo>
                    <a:pt x="13910" y="857"/>
                  </a:lnTo>
                  <a:lnTo>
                    <a:pt x="13705" y="727"/>
                  </a:lnTo>
                  <a:lnTo>
                    <a:pt x="13494" y="605"/>
                  </a:lnTo>
                  <a:lnTo>
                    <a:pt x="13277" y="495"/>
                  </a:lnTo>
                  <a:lnTo>
                    <a:pt x="13054" y="394"/>
                  </a:lnTo>
                  <a:lnTo>
                    <a:pt x="12824" y="304"/>
                  </a:lnTo>
                  <a:lnTo>
                    <a:pt x="12590" y="226"/>
                  </a:lnTo>
                  <a:lnTo>
                    <a:pt x="12351" y="158"/>
                  </a:lnTo>
                  <a:lnTo>
                    <a:pt x="12107" y="102"/>
                  </a:lnTo>
                  <a:lnTo>
                    <a:pt x="11859" y="58"/>
                  </a:lnTo>
                  <a:lnTo>
                    <a:pt x="11607" y="26"/>
                  </a:lnTo>
                  <a:lnTo>
                    <a:pt x="11351" y="7"/>
                  </a:lnTo>
                  <a:lnTo>
                    <a:pt x="110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iśḷîďe">
              <a:extLst>
                <a:ext uri="{FF2B5EF4-FFF2-40B4-BE49-F238E27FC236}">
                  <a16:creationId xmlns:a16="http://schemas.microsoft.com/office/drawing/2014/main" id="{441A6301-787E-408E-B5D5-A056199B955C}"/>
                </a:ext>
              </a:extLst>
            </p:cNvPr>
            <p:cNvSpPr/>
            <p:nvPr/>
          </p:nvSpPr>
          <p:spPr bwMode="auto">
            <a:xfrm>
              <a:off x="2059861" y="304832"/>
              <a:ext cx="98445" cy="98445"/>
            </a:xfrm>
            <a:custGeom>
              <a:avLst/>
              <a:gdLst>
                <a:gd name="T0" fmla="*/ 2086 w 4033"/>
                <a:gd name="T1" fmla="*/ 3257 h 4014"/>
                <a:gd name="T2" fmla="*/ 1694 w 4033"/>
                <a:gd name="T3" fmla="*/ 2926 h 4014"/>
                <a:gd name="T4" fmla="*/ 1325 w 4033"/>
                <a:gd name="T5" fmla="*/ 2575 h 4014"/>
                <a:gd name="T6" fmla="*/ 979 w 4033"/>
                <a:gd name="T7" fmla="*/ 2204 h 4014"/>
                <a:gd name="T8" fmla="*/ 655 w 4033"/>
                <a:gd name="T9" fmla="*/ 1813 h 4014"/>
                <a:gd name="T10" fmla="*/ 562 w 4033"/>
                <a:gd name="T11" fmla="*/ 1461 h 4014"/>
                <a:gd name="T12" fmla="*/ 707 w 4033"/>
                <a:gd name="T13" fmla="*/ 1190 h 4014"/>
                <a:gd name="T14" fmla="*/ 889 w 4033"/>
                <a:gd name="T15" fmla="*/ 956 h 4014"/>
                <a:gd name="T16" fmla="*/ 1108 w 4033"/>
                <a:gd name="T17" fmla="*/ 761 h 4014"/>
                <a:gd name="T18" fmla="*/ 1362 w 4033"/>
                <a:gd name="T19" fmla="*/ 603 h 4014"/>
                <a:gd name="T20" fmla="*/ 1672 w 4033"/>
                <a:gd name="T21" fmla="*/ 548 h 4014"/>
                <a:gd name="T22" fmla="*/ 2078 w 4033"/>
                <a:gd name="T23" fmla="*/ 864 h 4014"/>
                <a:gd name="T24" fmla="*/ 2462 w 4033"/>
                <a:gd name="T25" fmla="*/ 1202 h 4014"/>
                <a:gd name="T26" fmla="*/ 2823 w 4033"/>
                <a:gd name="T27" fmla="*/ 1561 h 4014"/>
                <a:gd name="T28" fmla="*/ 3161 w 4033"/>
                <a:gd name="T29" fmla="*/ 1942 h 4014"/>
                <a:gd name="T30" fmla="*/ 3476 w 4033"/>
                <a:gd name="T31" fmla="*/ 2341 h 4014"/>
                <a:gd name="T32" fmla="*/ 3422 w 4033"/>
                <a:gd name="T33" fmla="*/ 2653 h 4014"/>
                <a:gd name="T34" fmla="*/ 3263 w 4033"/>
                <a:gd name="T35" fmla="*/ 2910 h 4014"/>
                <a:gd name="T36" fmla="*/ 3070 w 4033"/>
                <a:gd name="T37" fmla="*/ 3129 h 4014"/>
                <a:gd name="T38" fmla="*/ 2840 w 4033"/>
                <a:gd name="T39" fmla="*/ 3311 h 4014"/>
                <a:gd name="T40" fmla="*/ 2575 w 4033"/>
                <a:gd name="T41" fmla="*/ 3456 h 4014"/>
                <a:gd name="T42" fmla="*/ 3833 w 4033"/>
                <a:gd name="T43" fmla="*/ 1979 h 4014"/>
                <a:gd name="T44" fmla="*/ 3494 w 4033"/>
                <a:gd name="T45" fmla="*/ 1556 h 4014"/>
                <a:gd name="T46" fmla="*/ 3130 w 4033"/>
                <a:gd name="T47" fmla="*/ 1155 h 4014"/>
                <a:gd name="T48" fmla="*/ 2742 w 4033"/>
                <a:gd name="T49" fmla="*/ 776 h 4014"/>
                <a:gd name="T50" fmla="*/ 2331 w 4033"/>
                <a:gd name="T51" fmla="*/ 421 h 4014"/>
                <a:gd name="T52" fmla="*/ 1897 w 4033"/>
                <a:gd name="T53" fmla="*/ 91 h 4014"/>
                <a:gd name="T54" fmla="*/ 1739 w 4033"/>
                <a:gd name="T55" fmla="*/ 16 h 4014"/>
                <a:gd name="T56" fmla="*/ 1566 w 4033"/>
                <a:gd name="T57" fmla="*/ 2 h 4014"/>
                <a:gd name="T58" fmla="*/ 1323 w 4033"/>
                <a:gd name="T59" fmla="*/ 76 h 4014"/>
                <a:gd name="T60" fmla="*/ 968 w 4033"/>
                <a:gd name="T61" fmla="*/ 254 h 4014"/>
                <a:gd name="T62" fmla="*/ 661 w 4033"/>
                <a:gd name="T63" fmla="*/ 480 h 4014"/>
                <a:gd name="T64" fmla="*/ 401 w 4033"/>
                <a:gd name="T65" fmla="*/ 755 h 4014"/>
                <a:gd name="T66" fmla="*/ 189 w 4033"/>
                <a:gd name="T67" fmla="*/ 1078 h 4014"/>
                <a:gd name="T68" fmla="*/ 27 w 4033"/>
                <a:gd name="T69" fmla="*/ 1446 h 4014"/>
                <a:gd name="T70" fmla="*/ 1 w 4033"/>
                <a:gd name="T71" fmla="*/ 1565 h 4014"/>
                <a:gd name="T72" fmla="*/ 6 w 4033"/>
                <a:gd name="T73" fmla="*/ 1681 h 4014"/>
                <a:gd name="T74" fmla="*/ 36 w 4033"/>
                <a:gd name="T75" fmla="*/ 1789 h 4014"/>
                <a:gd name="T76" fmla="*/ 90 w 4033"/>
                <a:gd name="T77" fmla="*/ 1889 h 4014"/>
                <a:gd name="T78" fmla="*/ 422 w 4033"/>
                <a:gd name="T79" fmla="*/ 2319 h 4014"/>
                <a:gd name="T80" fmla="*/ 779 w 4033"/>
                <a:gd name="T81" fmla="*/ 2729 h 4014"/>
                <a:gd name="T82" fmla="*/ 1159 w 4033"/>
                <a:gd name="T83" fmla="*/ 3114 h 4014"/>
                <a:gd name="T84" fmla="*/ 1562 w 4033"/>
                <a:gd name="T85" fmla="*/ 3478 h 4014"/>
                <a:gd name="T86" fmla="*/ 1987 w 4033"/>
                <a:gd name="T87" fmla="*/ 3816 h 4014"/>
                <a:gd name="T88" fmla="*/ 2237 w 4033"/>
                <a:gd name="T89" fmla="*/ 3979 h 4014"/>
                <a:gd name="T90" fmla="*/ 2406 w 4033"/>
                <a:gd name="T91" fmla="*/ 4014 h 4014"/>
                <a:gd name="T92" fmla="*/ 2579 w 4033"/>
                <a:gd name="T93" fmla="*/ 3986 h 4014"/>
                <a:gd name="T94" fmla="*/ 2949 w 4033"/>
                <a:gd name="T95" fmla="*/ 3825 h 4014"/>
                <a:gd name="T96" fmla="*/ 3272 w 4033"/>
                <a:gd name="T97" fmla="*/ 3614 h 4014"/>
                <a:gd name="T98" fmla="*/ 3549 w 4033"/>
                <a:gd name="T99" fmla="*/ 3356 h 4014"/>
                <a:gd name="T100" fmla="*/ 3776 w 4033"/>
                <a:gd name="T101" fmla="*/ 3049 h 4014"/>
                <a:gd name="T102" fmla="*/ 3956 w 4033"/>
                <a:gd name="T103" fmla="*/ 2696 h 4014"/>
                <a:gd name="T104" fmla="*/ 4025 w 4033"/>
                <a:gd name="T105" fmla="*/ 2488 h 4014"/>
                <a:gd name="T106" fmla="*/ 4030 w 4033"/>
                <a:gd name="T107" fmla="*/ 2370 h 4014"/>
                <a:gd name="T108" fmla="*/ 4008 w 4033"/>
                <a:gd name="T109" fmla="*/ 2260 h 4014"/>
                <a:gd name="T110" fmla="*/ 3962 w 4033"/>
                <a:gd name="T111" fmla="*/ 2157 h 4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33" h="4014">
                  <a:moveTo>
                    <a:pt x="2428" y="3516"/>
                  </a:moveTo>
                  <a:lnTo>
                    <a:pt x="2359" y="3465"/>
                  </a:lnTo>
                  <a:lnTo>
                    <a:pt x="2289" y="3414"/>
                  </a:lnTo>
                  <a:lnTo>
                    <a:pt x="2221" y="3362"/>
                  </a:lnTo>
                  <a:lnTo>
                    <a:pt x="2153" y="3310"/>
                  </a:lnTo>
                  <a:lnTo>
                    <a:pt x="2086" y="3257"/>
                  </a:lnTo>
                  <a:lnTo>
                    <a:pt x="2019" y="3203"/>
                  </a:lnTo>
                  <a:lnTo>
                    <a:pt x="1953" y="3149"/>
                  </a:lnTo>
                  <a:lnTo>
                    <a:pt x="1888" y="3095"/>
                  </a:lnTo>
                  <a:lnTo>
                    <a:pt x="1822" y="3039"/>
                  </a:lnTo>
                  <a:lnTo>
                    <a:pt x="1759" y="2984"/>
                  </a:lnTo>
                  <a:lnTo>
                    <a:pt x="1694" y="2926"/>
                  </a:lnTo>
                  <a:lnTo>
                    <a:pt x="1632" y="2869"/>
                  </a:lnTo>
                  <a:lnTo>
                    <a:pt x="1569" y="2812"/>
                  </a:lnTo>
                  <a:lnTo>
                    <a:pt x="1507" y="2754"/>
                  </a:lnTo>
                  <a:lnTo>
                    <a:pt x="1446" y="2695"/>
                  </a:lnTo>
                  <a:lnTo>
                    <a:pt x="1385" y="2635"/>
                  </a:lnTo>
                  <a:lnTo>
                    <a:pt x="1325" y="2575"/>
                  </a:lnTo>
                  <a:lnTo>
                    <a:pt x="1266" y="2514"/>
                  </a:lnTo>
                  <a:lnTo>
                    <a:pt x="1207" y="2453"/>
                  </a:lnTo>
                  <a:lnTo>
                    <a:pt x="1149" y="2391"/>
                  </a:lnTo>
                  <a:lnTo>
                    <a:pt x="1091" y="2329"/>
                  </a:lnTo>
                  <a:lnTo>
                    <a:pt x="1035" y="2267"/>
                  </a:lnTo>
                  <a:lnTo>
                    <a:pt x="979" y="2204"/>
                  </a:lnTo>
                  <a:lnTo>
                    <a:pt x="923" y="2140"/>
                  </a:lnTo>
                  <a:lnTo>
                    <a:pt x="869" y="2075"/>
                  </a:lnTo>
                  <a:lnTo>
                    <a:pt x="814" y="2011"/>
                  </a:lnTo>
                  <a:lnTo>
                    <a:pt x="761" y="1946"/>
                  </a:lnTo>
                  <a:lnTo>
                    <a:pt x="707" y="1880"/>
                  </a:lnTo>
                  <a:lnTo>
                    <a:pt x="655" y="1813"/>
                  </a:lnTo>
                  <a:lnTo>
                    <a:pt x="603" y="1747"/>
                  </a:lnTo>
                  <a:lnTo>
                    <a:pt x="553" y="1680"/>
                  </a:lnTo>
                  <a:lnTo>
                    <a:pt x="503" y="1612"/>
                  </a:lnTo>
                  <a:lnTo>
                    <a:pt x="522" y="1560"/>
                  </a:lnTo>
                  <a:lnTo>
                    <a:pt x="541" y="1510"/>
                  </a:lnTo>
                  <a:lnTo>
                    <a:pt x="562" y="1461"/>
                  </a:lnTo>
                  <a:lnTo>
                    <a:pt x="583" y="1413"/>
                  </a:lnTo>
                  <a:lnTo>
                    <a:pt x="606" y="1367"/>
                  </a:lnTo>
                  <a:lnTo>
                    <a:pt x="630" y="1320"/>
                  </a:lnTo>
                  <a:lnTo>
                    <a:pt x="655" y="1275"/>
                  </a:lnTo>
                  <a:lnTo>
                    <a:pt x="681" y="1232"/>
                  </a:lnTo>
                  <a:lnTo>
                    <a:pt x="707" y="1190"/>
                  </a:lnTo>
                  <a:lnTo>
                    <a:pt x="736" y="1148"/>
                  </a:lnTo>
                  <a:lnTo>
                    <a:pt x="764" y="1108"/>
                  </a:lnTo>
                  <a:lnTo>
                    <a:pt x="794" y="1069"/>
                  </a:lnTo>
                  <a:lnTo>
                    <a:pt x="824" y="1030"/>
                  </a:lnTo>
                  <a:lnTo>
                    <a:pt x="857" y="992"/>
                  </a:lnTo>
                  <a:lnTo>
                    <a:pt x="889" y="956"/>
                  </a:lnTo>
                  <a:lnTo>
                    <a:pt x="923" y="921"/>
                  </a:lnTo>
                  <a:lnTo>
                    <a:pt x="958" y="887"/>
                  </a:lnTo>
                  <a:lnTo>
                    <a:pt x="994" y="854"/>
                  </a:lnTo>
                  <a:lnTo>
                    <a:pt x="1031" y="822"/>
                  </a:lnTo>
                  <a:lnTo>
                    <a:pt x="1068" y="791"/>
                  </a:lnTo>
                  <a:lnTo>
                    <a:pt x="1108" y="761"/>
                  </a:lnTo>
                  <a:lnTo>
                    <a:pt x="1147" y="732"/>
                  </a:lnTo>
                  <a:lnTo>
                    <a:pt x="1188" y="704"/>
                  </a:lnTo>
                  <a:lnTo>
                    <a:pt x="1231" y="677"/>
                  </a:lnTo>
                  <a:lnTo>
                    <a:pt x="1273" y="651"/>
                  </a:lnTo>
                  <a:lnTo>
                    <a:pt x="1317" y="626"/>
                  </a:lnTo>
                  <a:lnTo>
                    <a:pt x="1362" y="603"/>
                  </a:lnTo>
                  <a:lnTo>
                    <a:pt x="1408" y="580"/>
                  </a:lnTo>
                  <a:lnTo>
                    <a:pt x="1455" y="558"/>
                  </a:lnTo>
                  <a:lnTo>
                    <a:pt x="1503" y="537"/>
                  </a:lnTo>
                  <a:lnTo>
                    <a:pt x="1552" y="516"/>
                  </a:lnTo>
                  <a:lnTo>
                    <a:pt x="1603" y="497"/>
                  </a:lnTo>
                  <a:lnTo>
                    <a:pt x="1672" y="548"/>
                  </a:lnTo>
                  <a:lnTo>
                    <a:pt x="1741" y="599"/>
                  </a:lnTo>
                  <a:lnTo>
                    <a:pt x="1809" y="651"/>
                  </a:lnTo>
                  <a:lnTo>
                    <a:pt x="1877" y="703"/>
                  </a:lnTo>
                  <a:lnTo>
                    <a:pt x="1944" y="756"/>
                  </a:lnTo>
                  <a:lnTo>
                    <a:pt x="2011" y="810"/>
                  </a:lnTo>
                  <a:lnTo>
                    <a:pt x="2078" y="864"/>
                  </a:lnTo>
                  <a:lnTo>
                    <a:pt x="2143" y="919"/>
                  </a:lnTo>
                  <a:lnTo>
                    <a:pt x="2208" y="974"/>
                  </a:lnTo>
                  <a:lnTo>
                    <a:pt x="2272" y="1030"/>
                  </a:lnTo>
                  <a:lnTo>
                    <a:pt x="2336" y="1087"/>
                  </a:lnTo>
                  <a:lnTo>
                    <a:pt x="2399" y="1144"/>
                  </a:lnTo>
                  <a:lnTo>
                    <a:pt x="2462" y="1202"/>
                  </a:lnTo>
                  <a:lnTo>
                    <a:pt x="2523" y="1260"/>
                  </a:lnTo>
                  <a:lnTo>
                    <a:pt x="2585" y="1319"/>
                  </a:lnTo>
                  <a:lnTo>
                    <a:pt x="2645" y="1379"/>
                  </a:lnTo>
                  <a:lnTo>
                    <a:pt x="2705" y="1439"/>
                  </a:lnTo>
                  <a:lnTo>
                    <a:pt x="2764" y="1500"/>
                  </a:lnTo>
                  <a:lnTo>
                    <a:pt x="2823" y="1561"/>
                  </a:lnTo>
                  <a:lnTo>
                    <a:pt x="2881" y="1624"/>
                  </a:lnTo>
                  <a:lnTo>
                    <a:pt x="2939" y="1686"/>
                  </a:lnTo>
                  <a:lnTo>
                    <a:pt x="2995" y="1749"/>
                  </a:lnTo>
                  <a:lnTo>
                    <a:pt x="3051" y="1812"/>
                  </a:lnTo>
                  <a:lnTo>
                    <a:pt x="3107" y="1877"/>
                  </a:lnTo>
                  <a:lnTo>
                    <a:pt x="3161" y="1942"/>
                  </a:lnTo>
                  <a:lnTo>
                    <a:pt x="3216" y="2007"/>
                  </a:lnTo>
                  <a:lnTo>
                    <a:pt x="3269" y="2072"/>
                  </a:lnTo>
                  <a:lnTo>
                    <a:pt x="3322" y="2139"/>
                  </a:lnTo>
                  <a:lnTo>
                    <a:pt x="3374" y="2206"/>
                  </a:lnTo>
                  <a:lnTo>
                    <a:pt x="3426" y="2273"/>
                  </a:lnTo>
                  <a:lnTo>
                    <a:pt x="3476" y="2341"/>
                  </a:lnTo>
                  <a:lnTo>
                    <a:pt x="3526" y="2410"/>
                  </a:lnTo>
                  <a:lnTo>
                    <a:pt x="3507" y="2461"/>
                  </a:lnTo>
                  <a:lnTo>
                    <a:pt x="3487" y="2511"/>
                  </a:lnTo>
                  <a:lnTo>
                    <a:pt x="3466" y="2559"/>
                  </a:lnTo>
                  <a:lnTo>
                    <a:pt x="3445" y="2607"/>
                  </a:lnTo>
                  <a:lnTo>
                    <a:pt x="3422" y="2653"/>
                  </a:lnTo>
                  <a:lnTo>
                    <a:pt x="3397" y="2700"/>
                  </a:lnTo>
                  <a:lnTo>
                    <a:pt x="3373" y="2744"/>
                  </a:lnTo>
                  <a:lnTo>
                    <a:pt x="3347" y="2787"/>
                  </a:lnTo>
                  <a:lnTo>
                    <a:pt x="3320" y="2829"/>
                  </a:lnTo>
                  <a:lnTo>
                    <a:pt x="3292" y="2870"/>
                  </a:lnTo>
                  <a:lnTo>
                    <a:pt x="3263" y="2910"/>
                  </a:lnTo>
                  <a:lnTo>
                    <a:pt x="3234" y="2950"/>
                  </a:lnTo>
                  <a:lnTo>
                    <a:pt x="3203" y="2988"/>
                  </a:lnTo>
                  <a:lnTo>
                    <a:pt x="3171" y="3025"/>
                  </a:lnTo>
                  <a:lnTo>
                    <a:pt x="3138" y="3061"/>
                  </a:lnTo>
                  <a:lnTo>
                    <a:pt x="3105" y="3095"/>
                  </a:lnTo>
                  <a:lnTo>
                    <a:pt x="3070" y="3129"/>
                  </a:lnTo>
                  <a:lnTo>
                    <a:pt x="3034" y="3162"/>
                  </a:lnTo>
                  <a:lnTo>
                    <a:pt x="2997" y="3193"/>
                  </a:lnTo>
                  <a:lnTo>
                    <a:pt x="2960" y="3225"/>
                  </a:lnTo>
                  <a:lnTo>
                    <a:pt x="2920" y="3255"/>
                  </a:lnTo>
                  <a:lnTo>
                    <a:pt x="2881" y="3283"/>
                  </a:lnTo>
                  <a:lnTo>
                    <a:pt x="2840" y="3311"/>
                  </a:lnTo>
                  <a:lnTo>
                    <a:pt x="2798" y="3338"/>
                  </a:lnTo>
                  <a:lnTo>
                    <a:pt x="2756" y="3363"/>
                  </a:lnTo>
                  <a:lnTo>
                    <a:pt x="2712" y="3388"/>
                  </a:lnTo>
                  <a:lnTo>
                    <a:pt x="2667" y="3411"/>
                  </a:lnTo>
                  <a:lnTo>
                    <a:pt x="2621" y="3434"/>
                  </a:lnTo>
                  <a:lnTo>
                    <a:pt x="2575" y="3456"/>
                  </a:lnTo>
                  <a:lnTo>
                    <a:pt x="2526" y="3477"/>
                  </a:lnTo>
                  <a:lnTo>
                    <a:pt x="2478" y="3497"/>
                  </a:lnTo>
                  <a:lnTo>
                    <a:pt x="2428" y="3516"/>
                  </a:lnTo>
                  <a:close/>
                  <a:moveTo>
                    <a:pt x="3941" y="2124"/>
                  </a:moveTo>
                  <a:lnTo>
                    <a:pt x="3887" y="2052"/>
                  </a:lnTo>
                  <a:lnTo>
                    <a:pt x="3833" y="1979"/>
                  </a:lnTo>
                  <a:lnTo>
                    <a:pt x="3778" y="1907"/>
                  </a:lnTo>
                  <a:lnTo>
                    <a:pt x="3723" y="1835"/>
                  </a:lnTo>
                  <a:lnTo>
                    <a:pt x="3667" y="1765"/>
                  </a:lnTo>
                  <a:lnTo>
                    <a:pt x="3610" y="1695"/>
                  </a:lnTo>
                  <a:lnTo>
                    <a:pt x="3553" y="1625"/>
                  </a:lnTo>
                  <a:lnTo>
                    <a:pt x="3494" y="1556"/>
                  </a:lnTo>
                  <a:lnTo>
                    <a:pt x="3435" y="1487"/>
                  </a:lnTo>
                  <a:lnTo>
                    <a:pt x="3375" y="1420"/>
                  </a:lnTo>
                  <a:lnTo>
                    <a:pt x="3315" y="1353"/>
                  </a:lnTo>
                  <a:lnTo>
                    <a:pt x="3254" y="1286"/>
                  </a:lnTo>
                  <a:lnTo>
                    <a:pt x="3193" y="1220"/>
                  </a:lnTo>
                  <a:lnTo>
                    <a:pt x="3130" y="1155"/>
                  </a:lnTo>
                  <a:lnTo>
                    <a:pt x="3067" y="1091"/>
                  </a:lnTo>
                  <a:lnTo>
                    <a:pt x="3003" y="1026"/>
                  </a:lnTo>
                  <a:lnTo>
                    <a:pt x="2939" y="963"/>
                  </a:lnTo>
                  <a:lnTo>
                    <a:pt x="2874" y="900"/>
                  </a:lnTo>
                  <a:lnTo>
                    <a:pt x="2808" y="838"/>
                  </a:lnTo>
                  <a:lnTo>
                    <a:pt x="2742" y="776"/>
                  </a:lnTo>
                  <a:lnTo>
                    <a:pt x="2674" y="715"/>
                  </a:lnTo>
                  <a:lnTo>
                    <a:pt x="2607" y="655"/>
                  </a:lnTo>
                  <a:lnTo>
                    <a:pt x="2539" y="596"/>
                  </a:lnTo>
                  <a:lnTo>
                    <a:pt x="2470" y="538"/>
                  </a:lnTo>
                  <a:lnTo>
                    <a:pt x="2400" y="479"/>
                  </a:lnTo>
                  <a:lnTo>
                    <a:pt x="2331" y="421"/>
                  </a:lnTo>
                  <a:lnTo>
                    <a:pt x="2260" y="365"/>
                  </a:lnTo>
                  <a:lnTo>
                    <a:pt x="2188" y="309"/>
                  </a:lnTo>
                  <a:lnTo>
                    <a:pt x="2117" y="252"/>
                  </a:lnTo>
                  <a:lnTo>
                    <a:pt x="2044" y="198"/>
                  </a:lnTo>
                  <a:lnTo>
                    <a:pt x="1971" y="144"/>
                  </a:lnTo>
                  <a:lnTo>
                    <a:pt x="1897" y="91"/>
                  </a:lnTo>
                  <a:lnTo>
                    <a:pt x="1872" y="74"/>
                  </a:lnTo>
                  <a:lnTo>
                    <a:pt x="1847" y="59"/>
                  </a:lnTo>
                  <a:lnTo>
                    <a:pt x="1820" y="46"/>
                  </a:lnTo>
                  <a:lnTo>
                    <a:pt x="1793" y="34"/>
                  </a:lnTo>
                  <a:lnTo>
                    <a:pt x="1766" y="24"/>
                  </a:lnTo>
                  <a:lnTo>
                    <a:pt x="1739" y="16"/>
                  </a:lnTo>
                  <a:lnTo>
                    <a:pt x="1711" y="9"/>
                  </a:lnTo>
                  <a:lnTo>
                    <a:pt x="1682" y="4"/>
                  </a:lnTo>
                  <a:lnTo>
                    <a:pt x="1653" y="1"/>
                  </a:lnTo>
                  <a:lnTo>
                    <a:pt x="1624" y="0"/>
                  </a:lnTo>
                  <a:lnTo>
                    <a:pt x="1596" y="0"/>
                  </a:lnTo>
                  <a:lnTo>
                    <a:pt x="1566" y="2"/>
                  </a:lnTo>
                  <a:lnTo>
                    <a:pt x="1537" y="6"/>
                  </a:lnTo>
                  <a:lnTo>
                    <a:pt x="1509" y="11"/>
                  </a:lnTo>
                  <a:lnTo>
                    <a:pt x="1480" y="18"/>
                  </a:lnTo>
                  <a:lnTo>
                    <a:pt x="1451" y="27"/>
                  </a:lnTo>
                  <a:lnTo>
                    <a:pt x="1387" y="51"/>
                  </a:lnTo>
                  <a:lnTo>
                    <a:pt x="1323" y="76"/>
                  </a:lnTo>
                  <a:lnTo>
                    <a:pt x="1261" y="102"/>
                  </a:lnTo>
                  <a:lnTo>
                    <a:pt x="1199" y="130"/>
                  </a:lnTo>
                  <a:lnTo>
                    <a:pt x="1140" y="159"/>
                  </a:lnTo>
                  <a:lnTo>
                    <a:pt x="1081" y="189"/>
                  </a:lnTo>
                  <a:lnTo>
                    <a:pt x="1024" y="220"/>
                  </a:lnTo>
                  <a:lnTo>
                    <a:pt x="968" y="254"/>
                  </a:lnTo>
                  <a:lnTo>
                    <a:pt x="914" y="289"/>
                  </a:lnTo>
                  <a:lnTo>
                    <a:pt x="861" y="325"/>
                  </a:lnTo>
                  <a:lnTo>
                    <a:pt x="808" y="361"/>
                  </a:lnTo>
                  <a:lnTo>
                    <a:pt x="758" y="400"/>
                  </a:lnTo>
                  <a:lnTo>
                    <a:pt x="708" y="439"/>
                  </a:lnTo>
                  <a:lnTo>
                    <a:pt x="661" y="480"/>
                  </a:lnTo>
                  <a:lnTo>
                    <a:pt x="615" y="523"/>
                  </a:lnTo>
                  <a:lnTo>
                    <a:pt x="569" y="567"/>
                  </a:lnTo>
                  <a:lnTo>
                    <a:pt x="525" y="612"/>
                  </a:lnTo>
                  <a:lnTo>
                    <a:pt x="482" y="658"/>
                  </a:lnTo>
                  <a:lnTo>
                    <a:pt x="441" y="706"/>
                  </a:lnTo>
                  <a:lnTo>
                    <a:pt x="401" y="755"/>
                  </a:lnTo>
                  <a:lnTo>
                    <a:pt x="362" y="806"/>
                  </a:lnTo>
                  <a:lnTo>
                    <a:pt x="325" y="857"/>
                  </a:lnTo>
                  <a:lnTo>
                    <a:pt x="289" y="910"/>
                  </a:lnTo>
                  <a:lnTo>
                    <a:pt x="255" y="964"/>
                  </a:lnTo>
                  <a:lnTo>
                    <a:pt x="221" y="1020"/>
                  </a:lnTo>
                  <a:lnTo>
                    <a:pt x="189" y="1078"/>
                  </a:lnTo>
                  <a:lnTo>
                    <a:pt x="159" y="1135"/>
                  </a:lnTo>
                  <a:lnTo>
                    <a:pt x="130" y="1195"/>
                  </a:lnTo>
                  <a:lnTo>
                    <a:pt x="102" y="1255"/>
                  </a:lnTo>
                  <a:lnTo>
                    <a:pt x="75" y="1317"/>
                  </a:lnTo>
                  <a:lnTo>
                    <a:pt x="51" y="1381"/>
                  </a:lnTo>
                  <a:lnTo>
                    <a:pt x="27" y="1446"/>
                  </a:lnTo>
                  <a:lnTo>
                    <a:pt x="21" y="1465"/>
                  </a:lnTo>
                  <a:lnTo>
                    <a:pt x="15" y="1485"/>
                  </a:lnTo>
                  <a:lnTo>
                    <a:pt x="10" y="1505"/>
                  </a:lnTo>
                  <a:lnTo>
                    <a:pt x="6" y="1525"/>
                  </a:lnTo>
                  <a:lnTo>
                    <a:pt x="4" y="1545"/>
                  </a:lnTo>
                  <a:lnTo>
                    <a:pt x="1" y="1565"/>
                  </a:lnTo>
                  <a:lnTo>
                    <a:pt x="0" y="1585"/>
                  </a:lnTo>
                  <a:lnTo>
                    <a:pt x="0" y="1606"/>
                  </a:lnTo>
                  <a:lnTo>
                    <a:pt x="0" y="1625"/>
                  </a:lnTo>
                  <a:lnTo>
                    <a:pt x="1" y="1644"/>
                  </a:lnTo>
                  <a:lnTo>
                    <a:pt x="3" y="1662"/>
                  </a:lnTo>
                  <a:lnTo>
                    <a:pt x="6" y="1681"/>
                  </a:lnTo>
                  <a:lnTo>
                    <a:pt x="9" y="1699"/>
                  </a:lnTo>
                  <a:lnTo>
                    <a:pt x="13" y="1717"/>
                  </a:lnTo>
                  <a:lnTo>
                    <a:pt x="18" y="1736"/>
                  </a:lnTo>
                  <a:lnTo>
                    <a:pt x="23" y="1754"/>
                  </a:lnTo>
                  <a:lnTo>
                    <a:pt x="29" y="1771"/>
                  </a:lnTo>
                  <a:lnTo>
                    <a:pt x="36" y="1789"/>
                  </a:lnTo>
                  <a:lnTo>
                    <a:pt x="43" y="1806"/>
                  </a:lnTo>
                  <a:lnTo>
                    <a:pt x="51" y="1823"/>
                  </a:lnTo>
                  <a:lnTo>
                    <a:pt x="60" y="1840"/>
                  </a:lnTo>
                  <a:lnTo>
                    <a:pt x="70" y="1856"/>
                  </a:lnTo>
                  <a:lnTo>
                    <a:pt x="80" y="1873"/>
                  </a:lnTo>
                  <a:lnTo>
                    <a:pt x="90" y="1889"/>
                  </a:lnTo>
                  <a:lnTo>
                    <a:pt x="145" y="1962"/>
                  </a:lnTo>
                  <a:lnTo>
                    <a:pt x="198" y="2035"/>
                  </a:lnTo>
                  <a:lnTo>
                    <a:pt x="254" y="2107"/>
                  </a:lnTo>
                  <a:lnTo>
                    <a:pt x="309" y="2179"/>
                  </a:lnTo>
                  <a:lnTo>
                    <a:pt x="365" y="2249"/>
                  </a:lnTo>
                  <a:lnTo>
                    <a:pt x="422" y="2319"/>
                  </a:lnTo>
                  <a:lnTo>
                    <a:pt x="480" y="2389"/>
                  </a:lnTo>
                  <a:lnTo>
                    <a:pt x="539" y="2459"/>
                  </a:lnTo>
                  <a:lnTo>
                    <a:pt x="597" y="2527"/>
                  </a:lnTo>
                  <a:lnTo>
                    <a:pt x="657" y="2595"/>
                  </a:lnTo>
                  <a:lnTo>
                    <a:pt x="717" y="2661"/>
                  </a:lnTo>
                  <a:lnTo>
                    <a:pt x="779" y="2729"/>
                  </a:lnTo>
                  <a:lnTo>
                    <a:pt x="840" y="2795"/>
                  </a:lnTo>
                  <a:lnTo>
                    <a:pt x="903" y="2860"/>
                  </a:lnTo>
                  <a:lnTo>
                    <a:pt x="965" y="2924"/>
                  </a:lnTo>
                  <a:lnTo>
                    <a:pt x="1029" y="2989"/>
                  </a:lnTo>
                  <a:lnTo>
                    <a:pt x="1093" y="3052"/>
                  </a:lnTo>
                  <a:lnTo>
                    <a:pt x="1159" y="3114"/>
                  </a:lnTo>
                  <a:lnTo>
                    <a:pt x="1225" y="3176"/>
                  </a:lnTo>
                  <a:lnTo>
                    <a:pt x="1291" y="3239"/>
                  </a:lnTo>
                  <a:lnTo>
                    <a:pt x="1358" y="3299"/>
                  </a:lnTo>
                  <a:lnTo>
                    <a:pt x="1425" y="3359"/>
                  </a:lnTo>
                  <a:lnTo>
                    <a:pt x="1493" y="3418"/>
                  </a:lnTo>
                  <a:lnTo>
                    <a:pt x="1562" y="3478"/>
                  </a:lnTo>
                  <a:lnTo>
                    <a:pt x="1631" y="3536"/>
                  </a:lnTo>
                  <a:lnTo>
                    <a:pt x="1701" y="3593"/>
                  </a:lnTo>
                  <a:lnTo>
                    <a:pt x="1772" y="3649"/>
                  </a:lnTo>
                  <a:lnTo>
                    <a:pt x="1843" y="3705"/>
                  </a:lnTo>
                  <a:lnTo>
                    <a:pt x="1915" y="3761"/>
                  </a:lnTo>
                  <a:lnTo>
                    <a:pt x="1987" y="3816"/>
                  </a:lnTo>
                  <a:lnTo>
                    <a:pt x="2060" y="3870"/>
                  </a:lnTo>
                  <a:lnTo>
                    <a:pt x="2134" y="3923"/>
                  </a:lnTo>
                  <a:lnTo>
                    <a:pt x="2158" y="3939"/>
                  </a:lnTo>
                  <a:lnTo>
                    <a:pt x="2183" y="3954"/>
                  </a:lnTo>
                  <a:lnTo>
                    <a:pt x="2210" y="3967"/>
                  </a:lnTo>
                  <a:lnTo>
                    <a:pt x="2237" y="3979"/>
                  </a:lnTo>
                  <a:lnTo>
                    <a:pt x="2264" y="3988"/>
                  </a:lnTo>
                  <a:lnTo>
                    <a:pt x="2291" y="3997"/>
                  </a:lnTo>
                  <a:lnTo>
                    <a:pt x="2319" y="4003"/>
                  </a:lnTo>
                  <a:lnTo>
                    <a:pt x="2348" y="4008"/>
                  </a:lnTo>
                  <a:lnTo>
                    <a:pt x="2377" y="4011"/>
                  </a:lnTo>
                  <a:lnTo>
                    <a:pt x="2406" y="4014"/>
                  </a:lnTo>
                  <a:lnTo>
                    <a:pt x="2434" y="4014"/>
                  </a:lnTo>
                  <a:lnTo>
                    <a:pt x="2464" y="4011"/>
                  </a:lnTo>
                  <a:lnTo>
                    <a:pt x="2493" y="4007"/>
                  </a:lnTo>
                  <a:lnTo>
                    <a:pt x="2521" y="4002"/>
                  </a:lnTo>
                  <a:lnTo>
                    <a:pt x="2550" y="3995"/>
                  </a:lnTo>
                  <a:lnTo>
                    <a:pt x="2579" y="3986"/>
                  </a:lnTo>
                  <a:lnTo>
                    <a:pt x="2643" y="3963"/>
                  </a:lnTo>
                  <a:lnTo>
                    <a:pt x="2707" y="3938"/>
                  </a:lnTo>
                  <a:lnTo>
                    <a:pt x="2769" y="3912"/>
                  </a:lnTo>
                  <a:lnTo>
                    <a:pt x="2831" y="3884"/>
                  </a:lnTo>
                  <a:lnTo>
                    <a:pt x="2890" y="3855"/>
                  </a:lnTo>
                  <a:lnTo>
                    <a:pt x="2949" y="3825"/>
                  </a:lnTo>
                  <a:lnTo>
                    <a:pt x="3006" y="3793"/>
                  </a:lnTo>
                  <a:lnTo>
                    <a:pt x="3062" y="3760"/>
                  </a:lnTo>
                  <a:lnTo>
                    <a:pt x="3116" y="3725"/>
                  </a:lnTo>
                  <a:lnTo>
                    <a:pt x="3169" y="3690"/>
                  </a:lnTo>
                  <a:lnTo>
                    <a:pt x="3222" y="3653"/>
                  </a:lnTo>
                  <a:lnTo>
                    <a:pt x="3272" y="3614"/>
                  </a:lnTo>
                  <a:lnTo>
                    <a:pt x="3322" y="3575"/>
                  </a:lnTo>
                  <a:lnTo>
                    <a:pt x="3370" y="3534"/>
                  </a:lnTo>
                  <a:lnTo>
                    <a:pt x="3416" y="3491"/>
                  </a:lnTo>
                  <a:lnTo>
                    <a:pt x="3462" y="3447"/>
                  </a:lnTo>
                  <a:lnTo>
                    <a:pt x="3505" y="3402"/>
                  </a:lnTo>
                  <a:lnTo>
                    <a:pt x="3549" y="3356"/>
                  </a:lnTo>
                  <a:lnTo>
                    <a:pt x="3590" y="3308"/>
                  </a:lnTo>
                  <a:lnTo>
                    <a:pt x="3629" y="3259"/>
                  </a:lnTo>
                  <a:lnTo>
                    <a:pt x="3669" y="3208"/>
                  </a:lnTo>
                  <a:lnTo>
                    <a:pt x="3706" y="3156"/>
                  </a:lnTo>
                  <a:lnTo>
                    <a:pt x="3741" y="3104"/>
                  </a:lnTo>
                  <a:lnTo>
                    <a:pt x="3776" y="3049"/>
                  </a:lnTo>
                  <a:lnTo>
                    <a:pt x="3810" y="2994"/>
                  </a:lnTo>
                  <a:lnTo>
                    <a:pt x="3841" y="2936"/>
                  </a:lnTo>
                  <a:lnTo>
                    <a:pt x="3872" y="2878"/>
                  </a:lnTo>
                  <a:lnTo>
                    <a:pt x="3901" y="2819"/>
                  </a:lnTo>
                  <a:lnTo>
                    <a:pt x="3929" y="2758"/>
                  </a:lnTo>
                  <a:lnTo>
                    <a:pt x="3956" y="2696"/>
                  </a:lnTo>
                  <a:lnTo>
                    <a:pt x="3981" y="2632"/>
                  </a:lnTo>
                  <a:lnTo>
                    <a:pt x="4004" y="2567"/>
                  </a:lnTo>
                  <a:lnTo>
                    <a:pt x="4011" y="2548"/>
                  </a:lnTo>
                  <a:lnTo>
                    <a:pt x="4016" y="2528"/>
                  </a:lnTo>
                  <a:lnTo>
                    <a:pt x="4021" y="2508"/>
                  </a:lnTo>
                  <a:lnTo>
                    <a:pt x="4025" y="2488"/>
                  </a:lnTo>
                  <a:lnTo>
                    <a:pt x="4028" y="2468"/>
                  </a:lnTo>
                  <a:lnTo>
                    <a:pt x="4030" y="2448"/>
                  </a:lnTo>
                  <a:lnTo>
                    <a:pt x="4031" y="2428"/>
                  </a:lnTo>
                  <a:lnTo>
                    <a:pt x="4033" y="2408"/>
                  </a:lnTo>
                  <a:lnTo>
                    <a:pt x="4031" y="2388"/>
                  </a:lnTo>
                  <a:lnTo>
                    <a:pt x="4030" y="2370"/>
                  </a:lnTo>
                  <a:lnTo>
                    <a:pt x="4028" y="2351"/>
                  </a:lnTo>
                  <a:lnTo>
                    <a:pt x="4026" y="2333"/>
                  </a:lnTo>
                  <a:lnTo>
                    <a:pt x="4022" y="2314"/>
                  </a:lnTo>
                  <a:lnTo>
                    <a:pt x="4018" y="2296"/>
                  </a:lnTo>
                  <a:lnTo>
                    <a:pt x="4014" y="2278"/>
                  </a:lnTo>
                  <a:lnTo>
                    <a:pt x="4008" y="2260"/>
                  </a:lnTo>
                  <a:lnTo>
                    <a:pt x="4002" y="2242"/>
                  </a:lnTo>
                  <a:lnTo>
                    <a:pt x="3996" y="2225"/>
                  </a:lnTo>
                  <a:lnTo>
                    <a:pt x="3988" y="2208"/>
                  </a:lnTo>
                  <a:lnTo>
                    <a:pt x="3980" y="2191"/>
                  </a:lnTo>
                  <a:lnTo>
                    <a:pt x="3971" y="2174"/>
                  </a:lnTo>
                  <a:lnTo>
                    <a:pt x="3962" y="2157"/>
                  </a:lnTo>
                  <a:lnTo>
                    <a:pt x="3952" y="2141"/>
                  </a:lnTo>
                  <a:lnTo>
                    <a:pt x="3941" y="2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ïṧliḋê">
              <a:extLst>
                <a:ext uri="{FF2B5EF4-FFF2-40B4-BE49-F238E27FC236}">
                  <a16:creationId xmlns:a16="http://schemas.microsoft.com/office/drawing/2014/main" id="{9848B917-A7E2-4D5B-A341-D166E4567186}"/>
                </a:ext>
              </a:extLst>
            </p:cNvPr>
            <p:cNvSpPr/>
            <p:nvPr/>
          </p:nvSpPr>
          <p:spPr bwMode="auto">
            <a:xfrm>
              <a:off x="1035504" y="462190"/>
              <a:ext cx="253416" cy="253416"/>
            </a:xfrm>
            <a:custGeom>
              <a:avLst/>
              <a:gdLst>
                <a:gd name="T0" fmla="*/ 1728 w 16058"/>
                <a:gd name="T1" fmla="*/ 14638 h 16058"/>
                <a:gd name="T2" fmla="*/ 3386 w 16058"/>
                <a:gd name="T3" fmla="*/ 13906 h 16058"/>
                <a:gd name="T4" fmla="*/ 6601 w 16058"/>
                <a:gd name="T5" fmla="*/ 13102 h 16058"/>
                <a:gd name="T6" fmla="*/ 7078 w 16058"/>
                <a:gd name="T7" fmla="*/ 13353 h 16058"/>
                <a:gd name="T8" fmla="*/ 7587 w 16058"/>
                <a:gd name="T9" fmla="*/ 13508 h 16058"/>
                <a:gd name="T10" fmla="*/ 8129 w 16058"/>
                <a:gd name="T11" fmla="*/ 13547 h 16058"/>
                <a:gd name="T12" fmla="*/ 8659 w 16058"/>
                <a:gd name="T13" fmla="*/ 13463 h 16058"/>
                <a:gd name="T14" fmla="*/ 9157 w 16058"/>
                <a:gd name="T15" fmla="*/ 13272 h 16058"/>
                <a:gd name="T16" fmla="*/ 11208 w 16058"/>
                <a:gd name="T17" fmla="*/ 13452 h 16058"/>
                <a:gd name="T18" fmla="*/ 13356 w 16058"/>
                <a:gd name="T19" fmla="*/ 14177 h 16058"/>
                <a:gd name="T20" fmla="*/ 14695 w 16058"/>
                <a:gd name="T21" fmla="*/ 14838 h 16058"/>
                <a:gd name="T22" fmla="*/ 9777 w 16058"/>
                <a:gd name="T23" fmla="*/ 12192 h 16058"/>
                <a:gd name="T24" fmla="*/ 8416 w 16058"/>
                <a:gd name="T25" fmla="*/ 12945 h 16058"/>
                <a:gd name="T26" fmla="*/ 7006 w 16058"/>
                <a:gd name="T27" fmla="*/ 12723 h 16058"/>
                <a:gd name="T28" fmla="*/ 5634 w 16058"/>
                <a:gd name="T29" fmla="*/ 11403 h 16058"/>
                <a:gd name="T30" fmla="*/ 4552 w 16058"/>
                <a:gd name="T31" fmla="*/ 9346 h 16058"/>
                <a:gd name="T32" fmla="*/ 4053 w 16058"/>
                <a:gd name="T33" fmla="*/ 7080 h 16058"/>
                <a:gd name="T34" fmla="*/ 4198 w 16058"/>
                <a:gd name="T35" fmla="*/ 4790 h 16058"/>
                <a:gd name="T36" fmla="*/ 5024 w 16058"/>
                <a:gd name="T37" fmla="*/ 2717 h 16058"/>
                <a:gd name="T38" fmla="*/ 6605 w 16058"/>
                <a:gd name="T39" fmla="*/ 1301 h 16058"/>
                <a:gd name="T40" fmla="*/ 8884 w 16058"/>
                <a:gd name="T41" fmla="*/ 1104 h 16058"/>
                <a:gd name="T42" fmla="*/ 10680 w 16058"/>
                <a:gd name="T43" fmla="*/ 2241 h 16058"/>
                <a:gd name="T44" fmla="*/ 11706 w 16058"/>
                <a:gd name="T45" fmla="*/ 4191 h 16058"/>
                <a:gd name="T46" fmla="*/ 12030 w 16058"/>
                <a:gd name="T47" fmla="*/ 6447 h 16058"/>
                <a:gd name="T48" fmla="*/ 11702 w 16058"/>
                <a:gd name="T49" fmla="*/ 8742 h 16058"/>
                <a:gd name="T50" fmla="*/ 10773 w 16058"/>
                <a:gd name="T51" fmla="*/ 10872 h 16058"/>
                <a:gd name="T52" fmla="*/ 15305 w 16058"/>
                <a:gd name="T53" fmla="*/ 14031 h 16058"/>
                <a:gd name="T54" fmla="*/ 13948 w 16058"/>
                <a:gd name="T55" fmla="*/ 13341 h 16058"/>
                <a:gd name="T56" fmla="*/ 11699 w 16058"/>
                <a:gd name="T57" fmla="*/ 12544 h 16058"/>
                <a:gd name="T58" fmla="*/ 11640 w 16058"/>
                <a:gd name="T59" fmla="*/ 11349 h 16058"/>
                <a:gd name="T60" fmla="*/ 12357 w 16058"/>
                <a:gd name="T61" fmla="*/ 9858 h 16058"/>
                <a:gd name="T62" fmla="*/ 12814 w 16058"/>
                <a:gd name="T63" fmla="*/ 8482 h 16058"/>
                <a:gd name="T64" fmla="*/ 13046 w 16058"/>
                <a:gd name="T65" fmla="*/ 6642 h 16058"/>
                <a:gd name="T66" fmla="*/ 12760 w 16058"/>
                <a:gd name="T67" fmla="*/ 4210 h 16058"/>
                <a:gd name="T68" fmla="*/ 11731 w 16058"/>
                <a:gd name="T69" fmla="*/ 1892 h 16058"/>
                <a:gd name="T70" fmla="*/ 10669 w 16058"/>
                <a:gd name="T71" fmla="*/ 817 h 16058"/>
                <a:gd name="T72" fmla="*/ 9443 w 16058"/>
                <a:gd name="T73" fmla="*/ 207 h 16058"/>
                <a:gd name="T74" fmla="*/ 8029 w 16058"/>
                <a:gd name="T75" fmla="*/ 0 h 16058"/>
                <a:gd name="T76" fmla="*/ 6615 w 16058"/>
                <a:gd name="T77" fmla="*/ 207 h 16058"/>
                <a:gd name="T78" fmla="*/ 5389 w 16058"/>
                <a:gd name="T79" fmla="*/ 817 h 16058"/>
                <a:gd name="T80" fmla="*/ 4327 w 16058"/>
                <a:gd name="T81" fmla="*/ 1892 h 16058"/>
                <a:gd name="T82" fmla="*/ 3298 w 16058"/>
                <a:gd name="T83" fmla="*/ 4210 h 16058"/>
                <a:gd name="T84" fmla="*/ 3013 w 16058"/>
                <a:gd name="T85" fmla="*/ 6642 h 16058"/>
                <a:gd name="T86" fmla="*/ 3244 w 16058"/>
                <a:gd name="T87" fmla="*/ 8482 h 16058"/>
                <a:gd name="T88" fmla="*/ 3702 w 16058"/>
                <a:gd name="T89" fmla="*/ 9858 h 16058"/>
                <a:gd name="T90" fmla="*/ 4418 w 16058"/>
                <a:gd name="T91" fmla="*/ 11349 h 16058"/>
                <a:gd name="T92" fmla="*/ 4359 w 16058"/>
                <a:gd name="T93" fmla="*/ 12544 h 16058"/>
                <a:gd name="T94" fmla="*/ 2110 w 16058"/>
                <a:gd name="T95" fmla="*/ 13341 h 16058"/>
                <a:gd name="T96" fmla="*/ 753 w 16058"/>
                <a:gd name="T97" fmla="*/ 14031 h 16058"/>
                <a:gd name="T98" fmla="*/ 262 w 16058"/>
                <a:gd name="T99" fmla="*/ 14378 h 16058"/>
                <a:gd name="T100" fmla="*/ 46 w 16058"/>
                <a:gd name="T101" fmla="*/ 14753 h 16058"/>
                <a:gd name="T102" fmla="*/ 9 w 16058"/>
                <a:gd name="T103" fmla="*/ 15185 h 16058"/>
                <a:gd name="T104" fmla="*/ 163 w 16058"/>
                <a:gd name="T105" fmla="*/ 15602 h 16058"/>
                <a:gd name="T106" fmla="*/ 471 w 16058"/>
                <a:gd name="T107" fmla="*/ 15904 h 16058"/>
                <a:gd name="T108" fmla="*/ 881 w 16058"/>
                <a:gd name="T109" fmla="*/ 16050 h 16058"/>
                <a:gd name="T110" fmla="*/ 15334 w 16058"/>
                <a:gd name="T111" fmla="*/ 16018 h 16058"/>
                <a:gd name="T112" fmla="*/ 15714 w 16058"/>
                <a:gd name="T113" fmla="*/ 15811 h 16058"/>
                <a:gd name="T114" fmla="*/ 15972 w 16058"/>
                <a:gd name="T115" fmla="*/ 15461 h 16058"/>
                <a:gd name="T116" fmla="*/ 16057 w 16058"/>
                <a:gd name="T117" fmla="*/ 15025 h 16058"/>
                <a:gd name="T118" fmla="*/ 15953 w 16058"/>
                <a:gd name="T119" fmla="*/ 14607 h 16058"/>
                <a:gd name="T120" fmla="*/ 15678 w 16058"/>
                <a:gd name="T121" fmla="*/ 1426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58" h="16058">
                  <a:moveTo>
                    <a:pt x="1004" y="15054"/>
                  </a:moveTo>
                  <a:lnTo>
                    <a:pt x="1036" y="15033"/>
                  </a:lnTo>
                  <a:lnTo>
                    <a:pt x="1105" y="14990"/>
                  </a:lnTo>
                  <a:lnTo>
                    <a:pt x="1153" y="14961"/>
                  </a:lnTo>
                  <a:lnTo>
                    <a:pt x="1209" y="14927"/>
                  </a:lnTo>
                  <a:lnTo>
                    <a:pt x="1276" y="14888"/>
                  </a:lnTo>
                  <a:lnTo>
                    <a:pt x="1349" y="14845"/>
                  </a:lnTo>
                  <a:lnTo>
                    <a:pt x="1431" y="14798"/>
                  </a:lnTo>
                  <a:lnTo>
                    <a:pt x="1522" y="14748"/>
                  </a:lnTo>
                  <a:lnTo>
                    <a:pt x="1621" y="14694"/>
                  </a:lnTo>
                  <a:lnTo>
                    <a:pt x="1728" y="14638"/>
                  </a:lnTo>
                  <a:lnTo>
                    <a:pt x="1843" y="14579"/>
                  </a:lnTo>
                  <a:lnTo>
                    <a:pt x="1965" y="14517"/>
                  </a:lnTo>
                  <a:lnTo>
                    <a:pt x="2095" y="14453"/>
                  </a:lnTo>
                  <a:lnTo>
                    <a:pt x="2232" y="14388"/>
                  </a:lnTo>
                  <a:lnTo>
                    <a:pt x="2377" y="14322"/>
                  </a:lnTo>
                  <a:lnTo>
                    <a:pt x="2528" y="14253"/>
                  </a:lnTo>
                  <a:lnTo>
                    <a:pt x="2687" y="14184"/>
                  </a:lnTo>
                  <a:lnTo>
                    <a:pt x="2851" y="14115"/>
                  </a:lnTo>
                  <a:lnTo>
                    <a:pt x="3023" y="14045"/>
                  </a:lnTo>
                  <a:lnTo>
                    <a:pt x="3202" y="13975"/>
                  </a:lnTo>
                  <a:lnTo>
                    <a:pt x="3386" y="13906"/>
                  </a:lnTo>
                  <a:lnTo>
                    <a:pt x="3578" y="13837"/>
                  </a:lnTo>
                  <a:lnTo>
                    <a:pt x="3775" y="13769"/>
                  </a:lnTo>
                  <a:lnTo>
                    <a:pt x="3977" y="13702"/>
                  </a:lnTo>
                  <a:lnTo>
                    <a:pt x="4186" y="13637"/>
                  </a:lnTo>
                  <a:lnTo>
                    <a:pt x="4401" y="13574"/>
                  </a:lnTo>
                  <a:lnTo>
                    <a:pt x="4621" y="13513"/>
                  </a:lnTo>
                  <a:lnTo>
                    <a:pt x="4847" y="13453"/>
                  </a:lnTo>
                  <a:lnTo>
                    <a:pt x="5076" y="13397"/>
                  </a:lnTo>
                  <a:lnTo>
                    <a:pt x="5312" y="13345"/>
                  </a:lnTo>
                  <a:lnTo>
                    <a:pt x="6559" y="13075"/>
                  </a:lnTo>
                  <a:lnTo>
                    <a:pt x="6601" y="13102"/>
                  </a:lnTo>
                  <a:lnTo>
                    <a:pt x="6643" y="13128"/>
                  </a:lnTo>
                  <a:lnTo>
                    <a:pt x="6685" y="13154"/>
                  </a:lnTo>
                  <a:lnTo>
                    <a:pt x="6727" y="13179"/>
                  </a:lnTo>
                  <a:lnTo>
                    <a:pt x="6770" y="13204"/>
                  </a:lnTo>
                  <a:lnTo>
                    <a:pt x="6814" y="13228"/>
                  </a:lnTo>
                  <a:lnTo>
                    <a:pt x="6857" y="13250"/>
                  </a:lnTo>
                  <a:lnTo>
                    <a:pt x="6901" y="13272"/>
                  </a:lnTo>
                  <a:lnTo>
                    <a:pt x="6944" y="13294"/>
                  </a:lnTo>
                  <a:lnTo>
                    <a:pt x="6988" y="13314"/>
                  </a:lnTo>
                  <a:lnTo>
                    <a:pt x="7033" y="13334"/>
                  </a:lnTo>
                  <a:lnTo>
                    <a:pt x="7078" y="13353"/>
                  </a:lnTo>
                  <a:lnTo>
                    <a:pt x="7123" y="13371"/>
                  </a:lnTo>
                  <a:lnTo>
                    <a:pt x="7168" y="13389"/>
                  </a:lnTo>
                  <a:lnTo>
                    <a:pt x="7213" y="13405"/>
                  </a:lnTo>
                  <a:lnTo>
                    <a:pt x="7259" y="13421"/>
                  </a:lnTo>
                  <a:lnTo>
                    <a:pt x="7305" y="13436"/>
                  </a:lnTo>
                  <a:lnTo>
                    <a:pt x="7352" y="13450"/>
                  </a:lnTo>
                  <a:lnTo>
                    <a:pt x="7399" y="13463"/>
                  </a:lnTo>
                  <a:lnTo>
                    <a:pt x="7445" y="13476"/>
                  </a:lnTo>
                  <a:lnTo>
                    <a:pt x="7492" y="13488"/>
                  </a:lnTo>
                  <a:lnTo>
                    <a:pt x="7539" y="13498"/>
                  </a:lnTo>
                  <a:lnTo>
                    <a:pt x="7587" y="13508"/>
                  </a:lnTo>
                  <a:lnTo>
                    <a:pt x="7636" y="13516"/>
                  </a:lnTo>
                  <a:lnTo>
                    <a:pt x="7684" y="13524"/>
                  </a:lnTo>
                  <a:lnTo>
                    <a:pt x="7732" y="13531"/>
                  </a:lnTo>
                  <a:lnTo>
                    <a:pt x="7781" y="13536"/>
                  </a:lnTo>
                  <a:lnTo>
                    <a:pt x="7830" y="13541"/>
                  </a:lnTo>
                  <a:lnTo>
                    <a:pt x="7879" y="13544"/>
                  </a:lnTo>
                  <a:lnTo>
                    <a:pt x="7929" y="13547"/>
                  </a:lnTo>
                  <a:lnTo>
                    <a:pt x="7979" y="13549"/>
                  </a:lnTo>
                  <a:lnTo>
                    <a:pt x="8029" y="13549"/>
                  </a:lnTo>
                  <a:lnTo>
                    <a:pt x="8079" y="13549"/>
                  </a:lnTo>
                  <a:lnTo>
                    <a:pt x="8129" y="13547"/>
                  </a:lnTo>
                  <a:lnTo>
                    <a:pt x="8179" y="13544"/>
                  </a:lnTo>
                  <a:lnTo>
                    <a:pt x="8228" y="13541"/>
                  </a:lnTo>
                  <a:lnTo>
                    <a:pt x="8277" y="13536"/>
                  </a:lnTo>
                  <a:lnTo>
                    <a:pt x="8326" y="13531"/>
                  </a:lnTo>
                  <a:lnTo>
                    <a:pt x="8374" y="13524"/>
                  </a:lnTo>
                  <a:lnTo>
                    <a:pt x="8422" y="13516"/>
                  </a:lnTo>
                  <a:lnTo>
                    <a:pt x="8471" y="13508"/>
                  </a:lnTo>
                  <a:lnTo>
                    <a:pt x="8519" y="13498"/>
                  </a:lnTo>
                  <a:lnTo>
                    <a:pt x="8566" y="13488"/>
                  </a:lnTo>
                  <a:lnTo>
                    <a:pt x="8613" y="13476"/>
                  </a:lnTo>
                  <a:lnTo>
                    <a:pt x="8659" y="13463"/>
                  </a:lnTo>
                  <a:lnTo>
                    <a:pt x="8706" y="13450"/>
                  </a:lnTo>
                  <a:lnTo>
                    <a:pt x="8753" y="13436"/>
                  </a:lnTo>
                  <a:lnTo>
                    <a:pt x="8799" y="13421"/>
                  </a:lnTo>
                  <a:lnTo>
                    <a:pt x="8845" y="13405"/>
                  </a:lnTo>
                  <a:lnTo>
                    <a:pt x="8890" y="13389"/>
                  </a:lnTo>
                  <a:lnTo>
                    <a:pt x="8935" y="13371"/>
                  </a:lnTo>
                  <a:lnTo>
                    <a:pt x="8980" y="13353"/>
                  </a:lnTo>
                  <a:lnTo>
                    <a:pt x="9025" y="13334"/>
                  </a:lnTo>
                  <a:lnTo>
                    <a:pt x="9070" y="13314"/>
                  </a:lnTo>
                  <a:lnTo>
                    <a:pt x="9114" y="13294"/>
                  </a:lnTo>
                  <a:lnTo>
                    <a:pt x="9157" y="13272"/>
                  </a:lnTo>
                  <a:lnTo>
                    <a:pt x="9201" y="13250"/>
                  </a:lnTo>
                  <a:lnTo>
                    <a:pt x="9244" y="13228"/>
                  </a:lnTo>
                  <a:lnTo>
                    <a:pt x="9288" y="13204"/>
                  </a:lnTo>
                  <a:lnTo>
                    <a:pt x="9331" y="13179"/>
                  </a:lnTo>
                  <a:lnTo>
                    <a:pt x="9373" y="13154"/>
                  </a:lnTo>
                  <a:lnTo>
                    <a:pt x="9415" y="13128"/>
                  </a:lnTo>
                  <a:lnTo>
                    <a:pt x="9457" y="13102"/>
                  </a:lnTo>
                  <a:lnTo>
                    <a:pt x="9499" y="13075"/>
                  </a:lnTo>
                  <a:lnTo>
                    <a:pt x="10746" y="13345"/>
                  </a:lnTo>
                  <a:lnTo>
                    <a:pt x="10980" y="13397"/>
                  </a:lnTo>
                  <a:lnTo>
                    <a:pt x="11208" y="13452"/>
                  </a:lnTo>
                  <a:lnTo>
                    <a:pt x="11432" y="13511"/>
                  </a:lnTo>
                  <a:lnTo>
                    <a:pt x="11650" y="13572"/>
                  </a:lnTo>
                  <a:lnTo>
                    <a:pt x="11863" y="13635"/>
                  </a:lnTo>
                  <a:lnTo>
                    <a:pt x="12071" y="13699"/>
                  </a:lnTo>
                  <a:lnTo>
                    <a:pt x="12272" y="13766"/>
                  </a:lnTo>
                  <a:lnTo>
                    <a:pt x="12468" y="13833"/>
                  </a:lnTo>
                  <a:lnTo>
                    <a:pt x="12659" y="13901"/>
                  </a:lnTo>
                  <a:lnTo>
                    <a:pt x="12842" y="13969"/>
                  </a:lnTo>
                  <a:lnTo>
                    <a:pt x="13020" y="14039"/>
                  </a:lnTo>
                  <a:lnTo>
                    <a:pt x="13191" y="14108"/>
                  </a:lnTo>
                  <a:lnTo>
                    <a:pt x="13356" y="14177"/>
                  </a:lnTo>
                  <a:lnTo>
                    <a:pt x="13514" y="14246"/>
                  </a:lnTo>
                  <a:lnTo>
                    <a:pt x="13665" y="14314"/>
                  </a:lnTo>
                  <a:lnTo>
                    <a:pt x="13809" y="14380"/>
                  </a:lnTo>
                  <a:lnTo>
                    <a:pt x="13946" y="14445"/>
                  </a:lnTo>
                  <a:lnTo>
                    <a:pt x="14076" y="14508"/>
                  </a:lnTo>
                  <a:lnTo>
                    <a:pt x="14198" y="14571"/>
                  </a:lnTo>
                  <a:lnTo>
                    <a:pt x="14314" y="14630"/>
                  </a:lnTo>
                  <a:lnTo>
                    <a:pt x="14421" y="14686"/>
                  </a:lnTo>
                  <a:lnTo>
                    <a:pt x="14520" y="14739"/>
                  </a:lnTo>
                  <a:lnTo>
                    <a:pt x="14612" y="14790"/>
                  </a:lnTo>
                  <a:lnTo>
                    <a:pt x="14695" y="14838"/>
                  </a:lnTo>
                  <a:lnTo>
                    <a:pt x="14770" y="14881"/>
                  </a:lnTo>
                  <a:lnTo>
                    <a:pt x="14838" y="14920"/>
                  </a:lnTo>
                  <a:lnTo>
                    <a:pt x="14896" y="14955"/>
                  </a:lnTo>
                  <a:lnTo>
                    <a:pt x="14945" y="14985"/>
                  </a:lnTo>
                  <a:lnTo>
                    <a:pt x="15018" y="15031"/>
                  </a:lnTo>
                  <a:lnTo>
                    <a:pt x="15054" y="15054"/>
                  </a:lnTo>
                  <a:lnTo>
                    <a:pt x="1004" y="15054"/>
                  </a:lnTo>
                  <a:close/>
                  <a:moveTo>
                    <a:pt x="10170" y="11741"/>
                  </a:moveTo>
                  <a:lnTo>
                    <a:pt x="10005" y="11950"/>
                  </a:lnTo>
                  <a:lnTo>
                    <a:pt x="9893" y="12074"/>
                  </a:lnTo>
                  <a:lnTo>
                    <a:pt x="9777" y="12192"/>
                  </a:lnTo>
                  <a:lnTo>
                    <a:pt x="9660" y="12300"/>
                  </a:lnTo>
                  <a:lnTo>
                    <a:pt x="9541" y="12401"/>
                  </a:lnTo>
                  <a:lnTo>
                    <a:pt x="9421" y="12494"/>
                  </a:lnTo>
                  <a:lnTo>
                    <a:pt x="9300" y="12578"/>
                  </a:lnTo>
                  <a:lnTo>
                    <a:pt x="9176" y="12654"/>
                  </a:lnTo>
                  <a:lnTo>
                    <a:pt x="9052" y="12723"/>
                  </a:lnTo>
                  <a:lnTo>
                    <a:pt x="8926" y="12784"/>
                  </a:lnTo>
                  <a:lnTo>
                    <a:pt x="8800" y="12836"/>
                  </a:lnTo>
                  <a:lnTo>
                    <a:pt x="8672" y="12880"/>
                  </a:lnTo>
                  <a:lnTo>
                    <a:pt x="8545" y="12916"/>
                  </a:lnTo>
                  <a:lnTo>
                    <a:pt x="8416" y="12945"/>
                  </a:lnTo>
                  <a:lnTo>
                    <a:pt x="8287" y="12965"/>
                  </a:lnTo>
                  <a:lnTo>
                    <a:pt x="8158" y="12977"/>
                  </a:lnTo>
                  <a:lnTo>
                    <a:pt x="8029" y="12981"/>
                  </a:lnTo>
                  <a:lnTo>
                    <a:pt x="7900" y="12977"/>
                  </a:lnTo>
                  <a:lnTo>
                    <a:pt x="7771" y="12965"/>
                  </a:lnTo>
                  <a:lnTo>
                    <a:pt x="7642" y="12945"/>
                  </a:lnTo>
                  <a:lnTo>
                    <a:pt x="7513" y="12916"/>
                  </a:lnTo>
                  <a:lnTo>
                    <a:pt x="7386" y="12880"/>
                  </a:lnTo>
                  <a:lnTo>
                    <a:pt x="7258" y="12836"/>
                  </a:lnTo>
                  <a:lnTo>
                    <a:pt x="7132" y="12784"/>
                  </a:lnTo>
                  <a:lnTo>
                    <a:pt x="7006" y="12723"/>
                  </a:lnTo>
                  <a:lnTo>
                    <a:pt x="6882" y="12654"/>
                  </a:lnTo>
                  <a:lnTo>
                    <a:pt x="6758" y="12578"/>
                  </a:lnTo>
                  <a:lnTo>
                    <a:pt x="6637" y="12494"/>
                  </a:lnTo>
                  <a:lnTo>
                    <a:pt x="6517" y="12401"/>
                  </a:lnTo>
                  <a:lnTo>
                    <a:pt x="6398" y="12300"/>
                  </a:lnTo>
                  <a:lnTo>
                    <a:pt x="6281" y="12192"/>
                  </a:lnTo>
                  <a:lnTo>
                    <a:pt x="6165" y="12074"/>
                  </a:lnTo>
                  <a:lnTo>
                    <a:pt x="6053" y="11950"/>
                  </a:lnTo>
                  <a:lnTo>
                    <a:pt x="5888" y="11741"/>
                  </a:lnTo>
                  <a:lnTo>
                    <a:pt x="5759" y="11574"/>
                  </a:lnTo>
                  <a:lnTo>
                    <a:pt x="5634" y="11403"/>
                  </a:lnTo>
                  <a:lnTo>
                    <a:pt x="5514" y="11229"/>
                  </a:lnTo>
                  <a:lnTo>
                    <a:pt x="5397" y="11052"/>
                  </a:lnTo>
                  <a:lnTo>
                    <a:pt x="5285" y="10872"/>
                  </a:lnTo>
                  <a:lnTo>
                    <a:pt x="5178" y="10689"/>
                  </a:lnTo>
                  <a:lnTo>
                    <a:pt x="5074" y="10505"/>
                  </a:lnTo>
                  <a:lnTo>
                    <a:pt x="4976" y="10317"/>
                  </a:lnTo>
                  <a:lnTo>
                    <a:pt x="4883" y="10127"/>
                  </a:lnTo>
                  <a:lnTo>
                    <a:pt x="4792" y="9935"/>
                  </a:lnTo>
                  <a:lnTo>
                    <a:pt x="4708" y="9741"/>
                  </a:lnTo>
                  <a:lnTo>
                    <a:pt x="4628" y="9544"/>
                  </a:lnTo>
                  <a:lnTo>
                    <a:pt x="4552" y="9346"/>
                  </a:lnTo>
                  <a:lnTo>
                    <a:pt x="4482" y="9146"/>
                  </a:lnTo>
                  <a:lnTo>
                    <a:pt x="4416" y="8945"/>
                  </a:lnTo>
                  <a:lnTo>
                    <a:pt x="4356" y="8742"/>
                  </a:lnTo>
                  <a:lnTo>
                    <a:pt x="4300" y="8537"/>
                  </a:lnTo>
                  <a:lnTo>
                    <a:pt x="4249" y="8332"/>
                  </a:lnTo>
                  <a:lnTo>
                    <a:pt x="4203" y="8125"/>
                  </a:lnTo>
                  <a:lnTo>
                    <a:pt x="4163" y="7917"/>
                  </a:lnTo>
                  <a:lnTo>
                    <a:pt x="4128" y="7709"/>
                  </a:lnTo>
                  <a:lnTo>
                    <a:pt x="4098" y="7500"/>
                  </a:lnTo>
                  <a:lnTo>
                    <a:pt x="4073" y="7290"/>
                  </a:lnTo>
                  <a:lnTo>
                    <a:pt x="4053" y="7080"/>
                  </a:lnTo>
                  <a:lnTo>
                    <a:pt x="4039" y="6869"/>
                  </a:lnTo>
                  <a:lnTo>
                    <a:pt x="4031" y="6657"/>
                  </a:lnTo>
                  <a:lnTo>
                    <a:pt x="4028" y="6447"/>
                  </a:lnTo>
                  <a:lnTo>
                    <a:pt x="4030" y="6236"/>
                  </a:lnTo>
                  <a:lnTo>
                    <a:pt x="4038" y="6025"/>
                  </a:lnTo>
                  <a:lnTo>
                    <a:pt x="4051" y="5814"/>
                  </a:lnTo>
                  <a:lnTo>
                    <a:pt x="4071" y="5604"/>
                  </a:lnTo>
                  <a:lnTo>
                    <a:pt x="4096" y="5394"/>
                  </a:lnTo>
                  <a:lnTo>
                    <a:pt x="4124" y="5192"/>
                  </a:lnTo>
                  <a:lnTo>
                    <a:pt x="4158" y="4991"/>
                  </a:lnTo>
                  <a:lnTo>
                    <a:pt x="4198" y="4790"/>
                  </a:lnTo>
                  <a:lnTo>
                    <a:pt x="4243" y="4589"/>
                  </a:lnTo>
                  <a:lnTo>
                    <a:pt x="4295" y="4389"/>
                  </a:lnTo>
                  <a:lnTo>
                    <a:pt x="4352" y="4191"/>
                  </a:lnTo>
                  <a:lnTo>
                    <a:pt x="4415" y="3996"/>
                  </a:lnTo>
                  <a:lnTo>
                    <a:pt x="4484" y="3802"/>
                  </a:lnTo>
                  <a:lnTo>
                    <a:pt x="4558" y="3611"/>
                  </a:lnTo>
                  <a:lnTo>
                    <a:pt x="4640" y="3425"/>
                  </a:lnTo>
                  <a:lnTo>
                    <a:pt x="4727" y="3241"/>
                  </a:lnTo>
                  <a:lnTo>
                    <a:pt x="4820" y="3061"/>
                  </a:lnTo>
                  <a:lnTo>
                    <a:pt x="4919" y="2887"/>
                  </a:lnTo>
                  <a:lnTo>
                    <a:pt x="5024" y="2717"/>
                  </a:lnTo>
                  <a:lnTo>
                    <a:pt x="5137" y="2552"/>
                  </a:lnTo>
                  <a:lnTo>
                    <a:pt x="5254" y="2394"/>
                  </a:lnTo>
                  <a:lnTo>
                    <a:pt x="5378" y="2241"/>
                  </a:lnTo>
                  <a:lnTo>
                    <a:pt x="5509" y="2096"/>
                  </a:lnTo>
                  <a:lnTo>
                    <a:pt x="5645" y="1957"/>
                  </a:lnTo>
                  <a:lnTo>
                    <a:pt x="5789" y="1827"/>
                  </a:lnTo>
                  <a:lnTo>
                    <a:pt x="5939" y="1703"/>
                  </a:lnTo>
                  <a:lnTo>
                    <a:pt x="6095" y="1590"/>
                  </a:lnTo>
                  <a:lnTo>
                    <a:pt x="6259" y="1483"/>
                  </a:lnTo>
                  <a:lnTo>
                    <a:pt x="6428" y="1387"/>
                  </a:lnTo>
                  <a:lnTo>
                    <a:pt x="6605" y="1301"/>
                  </a:lnTo>
                  <a:lnTo>
                    <a:pt x="6788" y="1224"/>
                  </a:lnTo>
                  <a:lnTo>
                    <a:pt x="6977" y="1159"/>
                  </a:lnTo>
                  <a:lnTo>
                    <a:pt x="7174" y="1104"/>
                  </a:lnTo>
                  <a:lnTo>
                    <a:pt x="7378" y="1061"/>
                  </a:lnTo>
                  <a:lnTo>
                    <a:pt x="7587" y="1029"/>
                  </a:lnTo>
                  <a:lnTo>
                    <a:pt x="7805" y="1010"/>
                  </a:lnTo>
                  <a:lnTo>
                    <a:pt x="8029" y="1004"/>
                  </a:lnTo>
                  <a:lnTo>
                    <a:pt x="8253" y="1010"/>
                  </a:lnTo>
                  <a:lnTo>
                    <a:pt x="8471" y="1029"/>
                  </a:lnTo>
                  <a:lnTo>
                    <a:pt x="8681" y="1061"/>
                  </a:lnTo>
                  <a:lnTo>
                    <a:pt x="8884" y="1104"/>
                  </a:lnTo>
                  <a:lnTo>
                    <a:pt x="9081" y="1159"/>
                  </a:lnTo>
                  <a:lnTo>
                    <a:pt x="9270" y="1224"/>
                  </a:lnTo>
                  <a:lnTo>
                    <a:pt x="9453" y="1301"/>
                  </a:lnTo>
                  <a:lnTo>
                    <a:pt x="9630" y="1387"/>
                  </a:lnTo>
                  <a:lnTo>
                    <a:pt x="9799" y="1483"/>
                  </a:lnTo>
                  <a:lnTo>
                    <a:pt x="9963" y="1590"/>
                  </a:lnTo>
                  <a:lnTo>
                    <a:pt x="10119" y="1703"/>
                  </a:lnTo>
                  <a:lnTo>
                    <a:pt x="10269" y="1827"/>
                  </a:lnTo>
                  <a:lnTo>
                    <a:pt x="10413" y="1957"/>
                  </a:lnTo>
                  <a:lnTo>
                    <a:pt x="10549" y="2096"/>
                  </a:lnTo>
                  <a:lnTo>
                    <a:pt x="10680" y="2241"/>
                  </a:lnTo>
                  <a:lnTo>
                    <a:pt x="10804" y="2394"/>
                  </a:lnTo>
                  <a:lnTo>
                    <a:pt x="10921" y="2552"/>
                  </a:lnTo>
                  <a:lnTo>
                    <a:pt x="11034" y="2717"/>
                  </a:lnTo>
                  <a:lnTo>
                    <a:pt x="11139" y="2887"/>
                  </a:lnTo>
                  <a:lnTo>
                    <a:pt x="11238" y="3061"/>
                  </a:lnTo>
                  <a:lnTo>
                    <a:pt x="11331" y="3241"/>
                  </a:lnTo>
                  <a:lnTo>
                    <a:pt x="11418" y="3425"/>
                  </a:lnTo>
                  <a:lnTo>
                    <a:pt x="11500" y="3611"/>
                  </a:lnTo>
                  <a:lnTo>
                    <a:pt x="11574" y="3802"/>
                  </a:lnTo>
                  <a:lnTo>
                    <a:pt x="11643" y="3996"/>
                  </a:lnTo>
                  <a:lnTo>
                    <a:pt x="11706" y="4191"/>
                  </a:lnTo>
                  <a:lnTo>
                    <a:pt x="11763" y="4389"/>
                  </a:lnTo>
                  <a:lnTo>
                    <a:pt x="11815" y="4589"/>
                  </a:lnTo>
                  <a:lnTo>
                    <a:pt x="11860" y="4790"/>
                  </a:lnTo>
                  <a:lnTo>
                    <a:pt x="11900" y="4991"/>
                  </a:lnTo>
                  <a:lnTo>
                    <a:pt x="11934" y="5192"/>
                  </a:lnTo>
                  <a:lnTo>
                    <a:pt x="11962" y="5394"/>
                  </a:lnTo>
                  <a:lnTo>
                    <a:pt x="11987" y="5604"/>
                  </a:lnTo>
                  <a:lnTo>
                    <a:pt x="12006" y="5814"/>
                  </a:lnTo>
                  <a:lnTo>
                    <a:pt x="12020" y="6025"/>
                  </a:lnTo>
                  <a:lnTo>
                    <a:pt x="12028" y="6236"/>
                  </a:lnTo>
                  <a:lnTo>
                    <a:pt x="12030" y="6447"/>
                  </a:lnTo>
                  <a:lnTo>
                    <a:pt x="12027" y="6658"/>
                  </a:lnTo>
                  <a:lnTo>
                    <a:pt x="12018" y="6869"/>
                  </a:lnTo>
                  <a:lnTo>
                    <a:pt x="12004" y="7080"/>
                  </a:lnTo>
                  <a:lnTo>
                    <a:pt x="11985" y="7290"/>
                  </a:lnTo>
                  <a:lnTo>
                    <a:pt x="11960" y="7500"/>
                  </a:lnTo>
                  <a:lnTo>
                    <a:pt x="11930" y="7709"/>
                  </a:lnTo>
                  <a:lnTo>
                    <a:pt x="11895" y="7918"/>
                  </a:lnTo>
                  <a:lnTo>
                    <a:pt x="11854" y="8126"/>
                  </a:lnTo>
                  <a:lnTo>
                    <a:pt x="11809" y="8332"/>
                  </a:lnTo>
                  <a:lnTo>
                    <a:pt x="11757" y="8537"/>
                  </a:lnTo>
                  <a:lnTo>
                    <a:pt x="11702" y="8742"/>
                  </a:lnTo>
                  <a:lnTo>
                    <a:pt x="11642" y="8945"/>
                  </a:lnTo>
                  <a:lnTo>
                    <a:pt x="11576" y="9147"/>
                  </a:lnTo>
                  <a:lnTo>
                    <a:pt x="11506" y="9346"/>
                  </a:lnTo>
                  <a:lnTo>
                    <a:pt x="11430" y="9544"/>
                  </a:lnTo>
                  <a:lnTo>
                    <a:pt x="11350" y="9741"/>
                  </a:lnTo>
                  <a:lnTo>
                    <a:pt x="11266" y="9935"/>
                  </a:lnTo>
                  <a:lnTo>
                    <a:pt x="11176" y="10127"/>
                  </a:lnTo>
                  <a:lnTo>
                    <a:pt x="11082" y="10317"/>
                  </a:lnTo>
                  <a:lnTo>
                    <a:pt x="10984" y="10505"/>
                  </a:lnTo>
                  <a:lnTo>
                    <a:pt x="10880" y="10689"/>
                  </a:lnTo>
                  <a:lnTo>
                    <a:pt x="10773" y="10872"/>
                  </a:lnTo>
                  <a:lnTo>
                    <a:pt x="10661" y="11052"/>
                  </a:lnTo>
                  <a:lnTo>
                    <a:pt x="10545" y="11228"/>
                  </a:lnTo>
                  <a:lnTo>
                    <a:pt x="10424" y="11403"/>
                  </a:lnTo>
                  <a:lnTo>
                    <a:pt x="10299" y="11574"/>
                  </a:lnTo>
                  <a:lnTo>
                    <a:pt x="10170" y="11741"/>
                  </a:lnTo>
                  <a:close/>
                  <a:moveTo>
                    <a:pt x="15610" y="14219"/>
                  </a:moveTo>
                  <a:lnTo>
                    <a:pt x="15572" y="14194"/>
                  </a:lnTo>
                  <a:lnTo>
                    <a:pt x="15494" y="14145"/>
                  </a:lnTo>
                  <a:lnTo>
                    <a:pt x="15440" y="14112"/>
                  </a:lnTo>
                  <a:lnTo>
                    <a:pt x="15378" y="14074"/>
                  </a:lnTo>
                  <a:lnTo>
                    <a:pt x="15305" y="14031"/>
                  </a:lnTo>
                  <a:lnTo>
                    <a:pt x="15224" y="13984"/>
                  </a:lnTo>
                  <a:lnTo>
                    <a:pt x="15135" y="13933"/>
                  </a:lnTo>
                  <a:lnTo>
                    <a:pt x="15035" y="13878"/>
                  </a:lnTo>
                  <a:lnTo>
                    <a:pt x="14928" y="13820"/>
                  </a:lnTo>
                  <a:lnTo>
                    <a:pt x="14813" y="13758"/>
                  </a:lnTo>
                  <a:lnTo>
                    <a:pt x="14688" y="13693"/>
                  </a:lnTo>
                  <a:lnTo>
                    <a:pt x="14556" y="13627"/>
                  </a:lnTo>
                  <a:lnTo>
                    <a:pt x="14416" y="13558"/>
                  </a:lnTo>
                  <a:lnTo>
                    <a:pt x="14268" y="13488"/>
                  </a:lnTo>
                  <a:lnTo>
                    <a:pt x="14112" y="13415"/>
                  </a:lnTo>
                  <a:lnTo>
                    <a:pt x="13948" y="13341"/>
                  </a:lnTo>
                  <a:lnTo>
                    <a:pt x="13778" y="13267"/>
                  </a:lnTo>
                  <a:lnTo>
                    <a:pt x="13600" y="13191"/>
                  </a:lnTo>
                  <a:lnTo>
                    <a:pt x="13415" y="13116"/>
                  </a:lnTo>
                  <a:lnTo>
                    <a:pt x="13223" y="13041"/>
                  </a:lnTo>
                  <a:lnTo>
                    <a:pt x="13025" y="12967"/>
                  </a:lnTo>
                  <a:lnTo>
                    <a:pt x="12819" y="12892"/>
                  </a:lnTo>
                  <a:lnTo>
                    <a:pt x="12608" y="12819"/>
                  </a:lnTo>
                  <a:lnTo>
                    <a:pt x="12390" y="12748"/>
                  </a:lnTo>
                  <a:lnTo>
                    <a:pt x="12166" y="12678"/>
                  </a:lnTo>
                  <a:lnTo>
                    <a:pt x="11935" y="12609"/>
                  </a:lnTo>
                  <a:lnTo>
                    <a:pt x="11699" y="12544"/>
                  </a:lnTo>
                  <a:lnTo>
                    <a:pt x="11457" y="12481"/>
                  </a:lnTo>
                  <a:lnTo>
                    <a:pt x="11210" y="12421"/>
                  </a:lnTo>
                  <a:lnTo>
                    <a:pt x="10958" y="12363"/>
                  </a:lnTo>
                  <a:lnTo>
                    <a:pt x="11051" y="12244"/>
                  </a:lnTo>
                  <a:lnTo>
                    <a:pt x="11141" y="12122"/>
                  </a:lnTo>
                  <a:lnTo>
                    <a:pt x="11230" y="11997"/>
                  </a:lnTo>
                  <a:lnTo>
                    <a:pt x="11316" y="11871"/>
                  </a:lnTo>
                  <a:lnTo>
                    <a:pt x="11400" y="11742"/>
                  </a:lnTo>
                  <a:lnTo>
                    <a:pt x="11481" y="11613"/>
                  </a:lnTo>
                  <a:lnTo>
                    <a:pt x="11562" y="11481"/>
                  </a:lnTo>
                  <a:lnTo>
                    <a:pt x="11640" y="11349"/>
                  </a:lnTo>
                  <a:lnTo>
                    <a:pt x="11715" y="11214"/>
                  </a:lnTo>
                  <a:lnTo>
                    <a:pt x="11789" y="11080"/>
                  </a:lnTo>
                  <a:lnTo>
                    <a:pt x="11861" y="10944"/>
                  </a:lnTo>
                  <a:lnTo>
                    <a:pt x="11930" y="10809"/>
                  </a:lnTo>
                  <a:lnTo>
                    <a:pt x="11997" y="10672"/>
                  </a:lnTo>
                  <a:lnTo>
                    <a:pt x="12063" y="10536"/>
                  </a:lnTo>
                  <a:lnTo>
                    <a:pt x="12126" y="10400"/>
                  </a:lnTo>
                  <a:lnTo>
                    <a:pt x="12186" y="10264"/>
                  </a:lnTo>
                  <a:lnTo>
                    <a:pt x="12245" y="10128"/>
                  </a:lnTo>
                  <a:lnTo>
                    <a:pt x="12301" y="9993"/>
                  </a:lnTo>
                  <a:lnTo>
                    <a:pt x="12357" y="9858"/>
                  </a:lnTo>
                  <a:lnTo>
                    <a:pt x="12409" y="9725"/>
                  </a:lnTo>
                  <a:lnTo>
                    <a:pt x="12459" y="9592"/>
                  </a:lnTo>
                  <a:lnTo>
                    <a:pt x="12507" y="9462"/>
                  </a:lnTo>
                  <a:lnTo>
                    <a:pt x="12552" y="9332"/>
                  </a:lnTo>
                  <a:lnTo>
                    <a:pt x="12596" y="9204"/>
                  </a:lnTo>
                  <a:lnTo>
                    <a:pt x="12639" y="9078"/>
                  </a:lnTo>
                  <a:lnTo>
                    <a:pt x="12678" y="8954"/>
                  </a:lnTo>
                  <a:lnTo>
                    <a:pt x="12715" y="8832"/>
                  </a:lnTo>
                  <a:lnTo>
                    <a:pt x="12750" y="8713"/>
                  </a:lnTo>
                  <a:lnTo>
                    <a:pt x="12783" y="8597"/>
                  </a:lnTo>
                  <a:lnTo>
                    <a:pt x="12814" y="8482"/>
                  </a:lnTo>
                  <a:lnTo>
                    <a:pt x="12843" y="8372"/>
                  </a:lnTo>
                  <a:lnTo>
                    <a:pt x="12869" y="8263"/>
                  </a:lnTo>
                  <a:lnTo>
                    <a:pt x="12904" y="8113"/>
                  </a:lnTo>
                  <a:lnTo>
                    <a:pt x="12935" y="7952"/>
                  </a:lnTo>
                  <a:lnTo>
                    <a:pt x="12962" y="7785"/>
                  </a:lnTo>
                  <a:lnTo>
                    <a:pt x="12985" y="7610"/>
                  </a:lnTo>
                  <a:lnTo>
                    <a:pt x="13005" y="7428"/>
                  </a:lnTo>
                  <a:lnTo>
                    <a:pt x="13022" y="7240"/>
                  </a:lnTo>
                  <a:lnTo>
                    <a:pt x="13034" y="7046"/>
                  </a:lnTo>
                  <a:lnTo>
                    <a:pt x="13042" y="6846"/>
                  </a:lnTo>
                  <a:lnTo>
                    <a:pt x="13046" y="6642"/>
                  </a:lnTo>
                  <a:lnTo>
                    <a:pt x="13045" y="6434"/>
                  </a:lnTo>
                  <a:lnTo>
                    <a:pt x="13040" y="6221"/>
                  </a:lnTo>
                  <a:lnTo>
                    <a:pt x="13030" y="6005"/>
                  </a:lnTo>
                  <a:lnTo>
                    <a:pt x="13015" y="5785"/>
                  </a:lnTo>
                  <a:lnTo>
                    <a:pt x="12995" y="5564"/>
                  </a:lnTo>
                  <a:lnTo>
                    <a:pt x="12970" y="5341"/>
                  </a:lnTo>
                  <a:lnTo>
                    <a:pt x="12939" y="5116"/>
                  </a:lnTo>
                  <a:lnTo>
                    <a:pt x="12903" y="4890"/>
                  </a:lnTo>
                  <a:lnTo>
                    <a:pt x="12860" y="4663"/>
                  </a:lnTo>
                  <a:lnTo>
                    <a:pt x="12813" y="4436"/>
                  </a:lnTo>
                  <a:lnTo>
                    <a:pt x="12760" y="4210"/>
                  </a:lnTo>
                  <a:lnTo>
                    <a:pt x="12700" y="3985"/>
                  </a:lnTo>
                  <a:lnTo>
                    <a:pt x="12634" y="3762"/>
                  </a:lnTo>
                  <a:lnTo>
                    <a:pt x="12561" y="3539"/>
                  </a:lnTo>
                  <a:lnTo>
                    <a:pt x="12482" y="3320"/>
                  </a:lnTo>
                  <a:lnTo>
                    <a:pt x="12397" y="3103"/>
                  </a:lnTo>
                  <a:lnTo>
                    <a:pt x="12303" y="2891"/>
                  </a:lnTo>
                  <a:lnTo>
                    <a:pt x="12204" y="2681"/>
                  </a:lnTo>
                  <a:lnTo>
                    <a:pt x="12097" y="2476"/>
                  </a:lnTo>
                  <a:lnTo>
                    <a:pt x="11982" y="2275"/>
                  </a:lnTo>
                  <a:lnTo>
                    <a:pt x="11861" y="2081"/>
                  </a:lnTo>
                  <a:lnTo>
                    <a:pt x="11731" y="1892"/>
                  </a:lnTo>
                  <a:lnTo>
                    <a:pt x="11594" y="1709"/>
                  </a:lnTo>
                  <a:lnTo>
                    <a:pt x="11511" y="1606"/>
                  </a:lnTo>
                  <a:lnTo>
                    <a:pt x="11424" y="1506"/>
                  </a:lnTo>
                  <a:lnTo>
                    <a:pt x="11337" y="1409"/>
                  </a:lnTo>
                  <a:lnTo>
                    <a:pt x="11248" y="1315"/>
                  </a:lnTo>
                  <a:lnTo>
                    <a:pt x="11155" y="1223"/>
                  </a:lnTo>
                  <a:lnTo>
                    <a:pt x="11062" y="1136"/>
                  </a:lnTo>
                  <a:lnTo>
                    <a:pt x="10967" y="1052"/>
                  </a:lnTo>
                  <a:lnTo>
                    <a:pt x="10869" y="971"/>
                  </a:lnTo>
                  <a:lnTo>
                    <a:pt x="10770" y="892"/>
                  </a:lnTo>
                  <a:lnTo>
                    <a:pt x="10669" y="817"/>
                  </a:lnTo>
                  <a:lnTo>
                    <a:pt x="10566" y="746"/>
                  </a:lnTo>
                  <a:lnTo>
                    <a:pt x="10462" y="677"/>
                  </a:lnTo>
                  <a:lnTo>
                    <a:pt x="10355" y="612"/>
                  </a:lnTo>
                  <a:lnTo>
                    <a:pt x="10247" y="550"/>
                  </a:lnTo>
                  <a:lnTo>
                    <a:pt x="10137" y="491"/>
                  </a:lnTo>
                  <a:lnTo>
                    <a:pt x="10025" y="436"/>
                  </a:lnTo>
                  <a:lnTo>
                    <a:pt x="9912" y="383"/>
                  </a:lnTo>
                  <a:lnTo>
                    <a:pt x="9797" y="334"/>
                  </a:lnTo>
                  <a:lnTo>
                    <a:pt x="9681" y="288"/>
                  </a:lnTo>
                  <a:lnTo>
                    <a:pt x="9563" y="246"/>
                  </a:lnTo>
                  <a:lnTo>
                    <a:pt x="9443" y="207"/>
                  </a:lnTo>
                  <a:lnTo>
                    <a:pt x="9322" y="172"/>
                  </a:lnTo>
                  <a:lnTo>
                    <a:pt x="9198" y="139"/>
                  </a:lnTo>
                  <a:lnTo>
                    <a:pt x="9075" y="109"/>
                  </a:lnTo>
                  <a:lnTo>
                    <a:pt x="8948" y="84"/>
                  </a:lnTo>
                  <a:lnTo>
                    <a:pt x="8821" y="62"/>
                  </a:lnTo>
                  <a:lnTo>
                    <a:pt x="8692" y="43"/>
                  </a:lnTo>
                  <a:lnTo>
                    <a:pt x="8563" y="27"/>
                  </a:lnTo>
                  <a:lnTo>
                    <a:pt x="8431" y="16"/>
                  </a:lnTo>
                  <a:lnTo>
                    <a:pt x="8299" y="7"/>
                  </a:lnTo>
                  <a:lnTo>
                    <a:pt x="8164" y="2"/>
                  </a:lnTo>
                  <a:lnTo>
                    <a:pt x="8029" y="0"/>
                  </a:lnTo>
                  <a:lnTo>
                    <a:pt x="7894" y="2"/>
                  </a:lnTo>
                  <a:lnTo>
                    <a:pt x="7760" y="7"/>
                  </a:lnTo>
                  <a:lnTo>
                    <a:pt x="7627" y="16"/>
                  </a:lnTo>
                  <a:lnTo>
                    <a:pt x="7495" y="27"/>
                  </a:lnTo>
                  <a:lnTo>
                    <a:pt x="7366" y="43"/>
                  </a:lnTo>
                  <a:lnTo>
                    <a:pt x="7237" y="62"/>
                  </a:lnTo>
                  <a:lnTo>
                    <a:pt x="7110" y="84"/>
                  </a:lnTo>
                  <a:lnTo>
                    <a:pt x="6983" y="109"/>
                  </a:lnTo>
                  <a:lnTo>
                    <a:pt x="6860" y="139"/>
                  </a:lnTo>
                  <a:lnTo>
                    <a:pt x="6736" y="172"/>
                  </a:lnTo>
                  <a:lnTo>
                    <a:pt x="6615" y="207"/>
                  </a:lnTo>
                  <a:lnTo>
                    <a:pt x="6495" y="246"/>
                  </a:lnTo>
                  <a:lnTo>
                    <a:pt x="6377" y="288"/>
                  </a:lnTo>
                  <a:lnTo>
                    <a:pt x="6261" y="334"/>
                  </a:lnTo>
                  <a:lnTo>
                    <a:pt x="6146" y="383"/>
                  </a:lnTo>
                  <a:lnTo>
                    <a:pt x="6033" y="436"/>
                  </a:lnTo>
                  <a:lnTo>
                    <a:pt x="5921" y="491"/>
                  </a:lnTo>
                  <a:lnTo>
                    <a:pt x="5811" y="550"/>
                  </a:lnTo>
                  <a:lnTo>
                    <a:pt x="5703" y="612"/>
                  </a:lnTo>
                  <a:lnTo>
                    <a:pt x="5596" y="677"/>
                  </a:lnTo>
                  <a:lnTo>
                    <a:pt x="5492" y="746"/>
                  </a:lnTo>
                  <a:lnTo>
                    <a:pt x="5389" y="817"/>
                  </a:lnTo>
                  <a:lnTo>
                    <a:pt x="5288" y="892"/>
                  </a:lnTo>
                  <a:lnTo>
                    <a:pt x="5189" y="971"/>
                  </a:lnTo>
                  <a:lnTo>
                    <a:pt x="5091" y="1052"/>
                  </a:lnTo>
                  <a:lnTo>
                    <a:pt x="4996" y="1136"/>
                  </a:lnTo>
                  <a:lnTo>
                    <a:pt x="4903" y="1223"/>
                  </a:lnTo>
                  <a:lnTo>
                    <a:pt x="4810" y="1315"/>
                  </a:lnTo>
                  <a:lnTo>
                    <a:pt x="4721" y="1409"/>
                  </a:lnTo>
                  <a:lnTo>
                    <a:pt x="4634" y="1506"/>
                  </a:lnTo>
                  <a:lnTo>
                    <a:pt x="4547" y="1606"/>
                  </a:lnTo>
                  <a:lnTo>
                    <a:pt x="4464" y="1709"/>
                  </a:lnTo>
                  <a:lnTo>
                    <a:pt x="4327" y="1892"/>
                  </a:lnTo>
                  <a:lnTo>
                    <a:pt x="4197" y="2081"/>
                  </a:lnTo>
                  <a:lnTo>
                    <a:pt x="4076" y="2275"/>
                  </a:lnTo>
                  <a:lnTo>
                    <a:pt x="3961" y="2476"/>
                  </a:lnTo>
                  <a:lnTo>
                    <a:pt x="3854" y="2681"/>
                  </a:lnTo>
                  <a:lnTo>
                    <a:pt x="3755" y="2891"/>
                  </a:lnTo>
                  <a:lnTo>
                    <a:pt x="3661" y="3103"/>
                  </a:lnTo>
                  <a:lnTo>
                    <a:pt x="3576" y="3320"/>
                  </a:lnTo>
                  <a:lnTo>
                    <a:pt x="3497" y="3539"/>
                  </a:lnTo>
                  <a:lnTo>
                    <a:pt x="3424" y="3762"/>
                  </a:lnTo>
                  <a:lnTo>
                    <a:pt x="3358" y="3985"/>
                  </a:lnTo>
                  <a:lnTo>
                    <a:pt x="3298" y="4210"/>
                  </a:lnTo>
                  <a:lnTo>
                    <a:pt x="3245" y="4436"/>
                  </a:lnTo>
                  <a:lnTo>
                    <a:pt x="3198" y="4663"/>
                  </a:lnTo>
                  <a:lnTo>
                    <a:pt x="3155" y="4890"/>
                  </a:lnTo>
                  <a:lnTo>
                    <a:pt x="3119" y="5116"/>
                  </a:lnTo>
                  <a:lnTo>
                    <a:pt x="3088" y="5341"/>
                  </a:lnTo>
                  <a:lnTo>
                    <a:pt x="3063" y="5564"/>
                  </a:lnTo>
                  <a:lnTo>
                    <a:pt x="3043" y="5785"/>
                  </a:lnTo>
                  <a:lnTo>
                    <a:pt x="3028" y="6005"/>
                  </a:lnTo>
                  <a:lnTo>
                    <a:pt x="3018" y="6221"/>
                  </a:lnTo>
                  <a:lnTo>
                    <a:pt x="3013" y="6434"/>
                  </a:lnTo>
                  <a:lnTo>
                    <a:pt x="3013" y="6642"/>
                  </a:lnTo>
                  <a:lnTo>
                    <a:pt x="3016" y="6846"/>
                  </a:lnTo>
                  <a:lnTo>
                    <a:pt x="3024" y="7046"/>
                  </a:lnTo>
                  <a:lnTo>
                    <a:pt x="3036" y="7240"/>
                  </a:lnTo>
                  <a:lnTo>
                    <a:pt x="3053" y="7428"/>
                  </a:lnTo>
                  <a:lnTo>
                    <a:pt x="3073" y="7610"/>
                  </a:lnTo>
                  <a:lnTo>
                    <a:pt x="3096" y="7785"/>
                  </a:lnTo>
                  <a:lnTo>
                    <a:pt x="3123" y="7952"/>
                  </a:lnTo>
                  <a:lnTo>
                    <a:pt x="3154" y="8113"/>
                  </a:lnTo>
                  <a:lnTo>
                    <a:pt x="3189" y="8263"/>
                  </a:lnTo>
                  <a:lnTo>
                    <a:pt x="3215" y="8372"/>
                  </a:lnTo>
                  <a:lnTo>
                    <a:pt x="3244" y="8482"/>
                  </a:lnTo>
                  <a:lnTo>
                    <a:pt x="3275" y="8597"/>
                  </a:lnTo>
                  <a:lnTo>
                    <a:pt x="3308" y="8713"/>
                  </a:lnTo>
                  <a:lnTo>
                    <a:pt x="3343" y="8832"/>
                  </a:lnTo>
                  <a:lnTo>
                    <a:pt x="3380" y="8954"/>
                  </a:lnTo>
                  <a:lnTo>
                    <a:pt x="3419" y="9078"/>
                  </a:lnTo>
                  <a:lnTo>
                    <a:pt x="3462" y="9204"/>
                  </a:lnTo>
                  <a:lnTo>
                    <a:pt x="3506" y="9332"/>
                  </a:lnTo>
                  <a:lnTo>
                    <a:pt x="3551" y="9462"/>
                  </a:lnTo>
                  <a:lnTo>
                    <a:pt x="3599" y="9592"/>
                  </a:lnTo>
                  <a:lnTo>
                    <a:pt x="3649" y="9725"/>
                  </a:lnTo>
                  <a:lnTo>
                    <a:pt x="3702" y="9858"/>
                  </a:lnTo>
                  <a:lnTo>
                    <a:pt x="3757" y="9993"/>
                  </a:lnTo>
                  <a:lnTo>
                    <a:pt x="3813" y="10128"/>
                  </a:lnTo>
                  <a:lnTo>
                    <a:pt x="3872" y="10264"/>
                  </a:lnTo>
                  <a:lnTo>
                    <a:pt x="3932" y="10400"/>
                  </a:lnTo>
                  <a:lnTo>
                    <a:pt x="3995" y="10536"/>
                  </a:lnTo>
                  <a:lnTo>
                    <a:pt x="4061" y="10672"/>
                  </a:lnTo>
                  <a:lnTo>
                    <a:pt x="4128" y="10809"/>
                  </a:lnTo>
                  <a:lnTo>
                    <a:pt x="4197" y="10944"/>
                  </a:lnTo>
                  <a:lnTo>
                    <a:pt x="4269" y="11080"/>
                  </a:lnTo>
                  <a:lnTo>
                    <a:pt x="4343" y="11214"/>
                  </a:lnTo>
                  <a:lnTo>
                    <a:pt x="4418" y="11349"/>
                  </a:lnTo>
                  <a:lnTo>
                    <a:pt x="4496" y="11481"/>
                  </a:lnTo>
                  <a:lnTo>
                    <a:pt x="4577" y="11613"/>
                  </a:lnTo>
                  <a:lnTo>
                    <a:pt x="4658" y="11742"/>
                  </a:lnTo>
                  <a:lnTo>
                    <a:pt x="4742" y="11871"/>
                  </a:lnTo>
                  <a:lnTo>
                    <a:pt x="4828" y="11997"/>
                  </a:lnTo>
                  <a:lnTo>
                    <a:pt x="4917" y="12122"/>
                  </a:lnTo>
                  <a:lnTo>
                    <a:pt x="5007" y="12244"/>
                  </a:lnTo>
                  <a:lnTo>
                    <a:pt x="5100" y="12363"/>
                  </a:lnTo>
                  <a:lnTo>
                    <a:pt x="4848" y="12421"/>
                  </a:lnTo>
                  <a:lnTo>
                    <a:pt x="4601" y="12481"/>
                  </a:lnTo>
                  <a:lnTo>
                    <a:pt x="4359" y="12544"/>
                  </a:lnTo>
                  <a:lnTo>
                    <a:pt x="4123" y="12609"/>
                  </a:lnTo>
                  <a:lnTo>
                    <a:pt x="3892" y="12678"/>
                  </a:lnTo>
                  <a:lnTo>
                    <a:pt x="3668" y="12748"/>
                  </a:lnTo>
                  <a:lnTo>
                    <a:pt x="3450" y="12819"/>
                  </a:lnTo>
                  <a:lnTo>
                    <a:pt x="3239" y="12892"/>
                  </a:lnTo>
                  <a:lnTo>
                    <a:pt x="3033" y="12967"/>
                  </a:lnTo>
                  <a:lnTo>
                    <a:pt x="2835" y="13041"/>
                  </a:lnTo>
                  <a:lnTo>
                    <a:pt x="2643" y="13116"/>
                  </a:lnTo>
                  <a:lnTo>
                    <a:pt x="2458" y="13191"/>
                  </a:lnTo>
                  <a:lnTo>
                    <a:pt x="2280" y="13267"/>
                  </a:lnTo>
                  <a:lnTo>
                    <a:pt x="2110" y="13341"/>
                  </a:lnTo>
                  <a:lnTo>
                    <a:pt x="1946" y="13415"/>
                  </a:lnTo>
                  <a:lnTo>
                    <a:pt x="1790" y="13488"/>
                  </a:lnTo>
                  <a:lnTo>
                    <a:pt x="1642" y="13558"/>
                  </a:lnTo>
                  <a:lnTo>
                    <a:pt x="1502" y="13627"/>
                  </a:lnTo>
                  <a:lnTo>
                    <a:pt x="1370" y="13693"/>
                  </a:lnTo>
                  <a:lnTo>
                    <a:pt x="1245" y="13758"/>
                  </a:lnTo>
                  <a:lnTo>
                    <a:pt x="1130" y="13820"/>
                  </a:lnTo>
                  <a:lnTo>
                    <a:pt x="1023" y="13878"/>
                  </a:lnTo>
                  <a:lnTo>
                    <a:pt x="923" y="13933"/>
                  </a:lnTo>
                  <a:lnTo>
                    <a:pt x="834" y="13984"/>
                  </a:lnTo>
                  <a:lnTo>
                    <a:pt x="753" y="14031"/>
                  </a:lnTo>
                  <a:lnTo>
                    <a:pt x="680" y="14074"/>
                  </a:lnTo>
                  <a:lnTo>
                    <a:pt x="618" y="14112"/>
                  </a:lnTo>
                  <a:lnTo>
                    <a:pt x="564" y="14145"/>
                  </a:lnTo>
                  <a:lnTo>
                    <a:pt x="486" y="14194"/>
                  </a:lnTo>
                  <a:lnTo>
                    <a:pt x="448" y="14219"/>
                  </a:lnTo>
                  <a:lnTo>
                    <a:pt x="413" y="14243"/>
                  </a:lnTo>
                  <a:lnTo>
                    <a:pt x="380" y="14267"/>
                  </a:lnTo>
                  <a:lnTo>
                    <a:pt x="349" y="14294"/>
                  </a:lnTo>
                  <a:lnTo>
                    <a:pt x="319" y="14321"/>
                  </a:lnTo>
                  <a:lnTo>
                    <a:pt x="290" y="14349"/>
                  </a:lnTo>
                  <a:lnTo>
                    <a:pt x="262" y="14378"/>
                  </a:lnTo>
                  <a:lnTo>
                    <a:pt x="236" y="14408"/>
                  </a:lnTo>
                  <a:lnTo>
                    <a:pt x="211" y="14439"/>
                  </a:lnTo>
                  <a:lnTo>
                    <a:pt x="187" y="14471"/>
                  </a:lnTo>
                  <a:lnTo>
                    <a:pt x="165" y="14504"/>
                  </a:lnTo>
                  <a:lnTo>
                    <a:pt x="144" y="14537"/>
                  </a:lnTo>
                  <a:lnTo>
                    <a:pt x="123" y="14572"/>
                  </a:lnTo>
                  <a:lnTo>
                    <a:pt x="105" y="14607"/>
                  </a:lnTo>
                  <a:lnTo>
                    <a:pt x="88" y="14643"/>
                  </a:lnTo>
                  <a:lnTo>
                    <a:pt x="73" y="14679"/>
                  </a:lnTo>
                  <a:lnTo>
                    <a:pt x="59" y="14715"/>
                  </a:lnTo>
                  <a:lnTo>
                    <a:pt x="46" y="14753"/>
                  </a:lnTo>
                  <a:lnTo>
                    <a:pt x="35" y="14790"/>
                  </a:lnTo>
                  <a:lnTo>
                    <a:pt x="26" y="14828"/>
                  </a:lnTo>
                  <a:lnTo>
                    <a:pt x="18" y="14868"/>
                  </a:lnTo>
                  <a:lnTo>
                    <a:pt x="11" y="14907"/>
                  </a:lnTo>
                  <a:lnTo>
                    <a:pt x="6" y="14946"/>
                  </a:lnTo>
                  <a:lnTo>
                    <a:pt x="3" y="14985"/>
                  </a:lnTo>
                  <a:lnTo>
                    <a:pt x="1" y="15025"/>
                  </a:lnTo>
                  <a:lnTo>
                    <a:pt x="0" y="15065"/>
                  </a:lnTo>
                  <a:lnTo>
                    <a:pt x="1" y="15106"/>
                  </a:lnTo>
                  <a:lnTo>
                    <a:pt x="4" y="15145"/>
                  </a:lnTo>
                  <a:lnTo>
                    <a:pt x="9" y="15185"/>
                  </a:lnTo>
                  <a:lnTo>
                    <a:pt x="15" y="15225"/>
                  </a:lnTo>
                  <a:lnTo>
                    <a:pt x="23" y="15265"/>
                  </a:lnTo>
                  <a:lnTo>
                    <a:pt x="32" y="15305"/>
                  </a:lnTo>
                  <a:lnTo>
                    <a:pt x="43" y="15345"/>
                  </a:lnTo>
                  <a:lnTo>
                    <a:pt x="56" y="15385"/>
                  </a:lnTo>
                  <a:lnTo>
                    <a:pt x="70" y="15423"/>
                  </a:lnTo>
                  <a:lnTo>
                    <a:pt x="86" y="15461"/>
                  </a:lnTo>
                  <a:lnTo>
                    <a:pt x="103" y="15497"/>
                  </a:lnTo>
                  <a:lnTo>
                    <a:pt x="121" y="15533"/>
                  </a:lnTo>
                  <a:lnTo>
                    <a:pt x="142" y="15568"/>
                  </a:lnTo>
                  <a:lnTo>
                    <a:pt x="163" y="15602"/>
                  </a:lnTo>
                  <a:lnTo>
                    <a:pt x="186" y="15635"/>
                  </a:lnTo>
                  <a:lnTo>
                    <a:pt x="209" y="15667"/>
                  </a:lnTo>
                  <a:lnTo>
                    <a:pt x="234" y="15698"/>
                  </a:lnTo>
                  <a:lnTo>
                    <a:pt x="260" y="15728"/>
                  </a:lnTo>
                  <a:lnTo>
                    <a:pt x="287" y="15757"/>
                  </a:lnTo>
                  <a:lnTo>
                    <a:pt x="315" y="15784"/>
                  </a:lnTo>
                  <a:lnTo>
                    <a:pt x="344" y="15811"/>
                  </a:lnTo>
                  <a:lnTo>
                    <a:pt x="374" y="15836"/>
                  </a:lnTo>
                  <a:lnTo>
                    <a:pt x="405" y="15860"/>
                  </a:lnTo>
                  <a:lnTo>
                    <a:pt x="438" y="15883"/>
                  </a:lnTo>
                  <a:lnTo>
                    <a:pt x="471" y="15904"/>
                  </a:lnTo>
                  <a:lnTo>
                    <a:pt x="505" y="15926"/>
                  </a:lnTo>
                  <a:lnTo>
                    <a:pt x="540" y="15944"/>
                  </a:lnTo>
                  <a:lnTo>
                    <a:pt x="575" y="15962"/>
                  </a:lnTo>
                  <a:lnTo>
                    <a:pt x="611" y="15978"/>
                  </a:lnTo>
                  <a:lnTo>
                    <a:pt x="647" y="15993"/>
                  </a:lnTo>
                  <a:lnTo>
                    <a:pt x="685" y="16006"/>
                  </a:lnTo>
                  <a:lnTo>
                    <a:pt x="724" y="16018"/>
                  </a:lnTo>
                  <a:lnTo>
                    <a:pt x="762" y="16029"/>
                  </a:lnTo>
                  <a:lnTo>
                    <a:pt x="801" y="16037"/>
                  </a:lnTo>
                  <a:lnTo>
                    <a:pt x="841" y="16045"/>
                  </a:lnTo>
                  <a:lnTo>
                    <a:pt x="881" y="16050"/>
                  </a:lnTo>
                  <a:lnTo>
                    <a:pt x="921" y="16055"/>
                  </a:lnTo>
                  <a:lnTo>
                    <a:pt x="962" y="16057"/>
                  </a:lnTo>
                  <a:lnTo>
                    <a:pt x="1004" y="16058"/>
                  </a:lnTo>
                  <a:lnTo>
                    <a:pt x="15054" y="16058"/>
                  </a:lnTo>
                  <a:lnTo>
                    <a:pt x="15096" y="16057"/>
                  </a:lnTo>
                  <a:lnTo>
                    <a:pt x="15137" y="16055"/>
                  </a:lnTo>
                  <a:lnTo>
                    <a:pt x="15177" y="16050"/>
                  </a:lnTo>
                  <a:lnTo>
                    <a:pt x="15217" y="16045"/>
                  </a:lnTo>
                  <a:lnTo>
                    <a:pt x="15257" y="16037"/>
                  </a:lnTo>
                  <a:lnTo>
                    <a:pt x="15296" y="16029"/>
                  </a:lnTo>
                  <a:lnTo>
                    <a:pt x="15334" y="16018"/>
                  </a:lnTo>
                  <a:lnTo>
                    <a:pt x="15373" y="16006"/>
                  </a:lnTo>
                  <a:lnTo>
                    <a:pt x="15411" y="15993"/>
                  </a:lnTo>
                  <a:lnTo>
                    <a:pt x="15447" y="15978"/>
                  </a:lnTo>
                  <a:lnTo>
                    <a:pt x="15483" y="15962"/>
                  </a:lnTo>
                  <a:lnTo>
                    <a:pt x="15519" y="15944"/>
                  </a:lnTo>
                  <a:lnTo>
                    <a:pt x="15553" y="15926"/>
                  </a:lnTo>
                  <a:lnTo>
                    <a:pt x="15587" y="15904"/>
                  </a:lnTo>
                  <a:lnTo>
                    <a:pt x="15620" y="15883"/>
                  </a:lnTo>
                  <a:lnTo>
                    <a:pt x="15653" y="15860"/>
                  </a:lnTo>
                  <a:lnTo>
                    <a:pt x="15684" y="15836"/>
                  </a:lnTo>
                  <a:lnTo>
                    <a:pt x="15714" y="15811"/>
                  </a:lnTo>
                  <a:lnTo>
                    <a:pt x="15743" y="15784"/>
                  </a:lnTo>
                  <a:lnTo>
                    <a:pt x="15771" y="15757"/>
                  </a:lnTo>
                  <a:lnTo>
                    <a:pt x="15798" y="15728"/>
                  </a:lnTo>
                  <a:lnTo>
                    <a:pt x="15824" y="15698"/>
                  </a:lnTo>
                  <a:lnTo>
                    <a:pt x="15849" y="15667"/>
                  </a:lnTo>
                  <a:lnTo>
                    <a:pt x="15872" y="15635"/>
                  </a:lnTo>
                  <a:lnTo>
                    <a:pt x="15895" y="15602"/>
                  </a:lnTo>
                  <a:lnTo>
                    <a:pt x="15916" y="15568"/>
                  </a:lnTo>
                  <a:lnTo>
                    <a:pt x="15937" y="15533"/>
                  </a:lnTo>
                  <a:lnTo>
                    <a:pt x="15955" y="15497"/>
                  </a:lnTo>
                  <a:lnTo>
                    <a:pt x="15972" y="15461"/>
                  </a:lnTo>
                  <a:lnTo>
                    <a:pt x="15988" y="15423"/>
                  </a:lnTo>
                  <a:lnTo>
                    <a:pt x="16002" y="15385"/>
                  </a:lnTo>
                  <a:lnTo>
                    <a:pt x="16015" y="15345"/>
                  </a:lnTo>
                  <a:lnTo>
                    <a:pt x="16026" y="15305"/>
                  </a:lnTo>
                  <a:lnTo>
                    <a:pt x="16035" y="15265"/>
                  </a:lnTo>
                  <a:lnTo>
                    <a:pt x="16043" y="15225"/>
                  </a:lnTo>
                  <a:lnTo>
                    <a:pt x="16049" y="15185"/>
                  </a:lnTo>
                  <a:lnTo>
                    <a:pt x="16054" y="15145"/>
                  </a:lnTo>
                  <a:lnTo>
                    <a:pt x="16057" y="15106"/>
                  </a:lnTo>
                  <a:lnTo>
                    <a:pt x="16058" y="15065"/>
                  </a:lnTo>
                  <a:lnTo>
                    <a:pt x="16057" y="15025"/>
                  </a:lnTo>
                  <a:lnTo>
                    <a:pt x="16056" y="14985"/>
                  </a:lnTo>
                  <a:lnTo>
                    <a:pt x="16052" y="14946"/>
                  </a:lnTo>
                  <a:lnTo>
                    <a:pt x="16047" y="14907"/>
                  </a:lnTo>
                  <a:lnTo>
                    <a:pt x="16040" y="14868"/>
                  </a:lnTo>
                  <a:lnTo>
                    <a:pt x="16032" y="14828"/>
                  </a:lnTo>
                  <a:lnTo>
                    <a:pt x="16023" y="14790"/>
                  </a:lnTo>
                  <a:lnTo>
                    <a:pt x="16012" y="14753"/>
                  </a:lnTo>
                  <a:lnTo>
                    <a:pt x="15999" y="14715"/>
                  </a:lnTo>
                  <a:lnTo>
                    <a:pt x="15985" y="14679"/>
                  </a:lnTo>
                  <a:lnTo>
                    <a:pt x="15970" y="14643"/>
                  </a:lnTo>
                  <a:lnTo>
                    <a:pt x="15953" y="14607"/>
                  </a:lnTo>
                  <a:lnTo>
                    <a:pt x="15935" y="14572"/>
                  </a:lnTo>
                  <a:lnTo>
                    <a:pt x="15914" y="14537"/>
                  </a:lnTo>
                  <a:lnTo>
                    <a:pt x="15893" y="14504"/>
                  </a:lnTo>
                  <a:lnTo>
                    <a:pt x="15871" y="14471"/>
                  </a:lnTo>
                  <a:lnTo>
                    <a:pt x="15847" y="14439"/>
                  </a:lnTo>
                  <a:lnTo>
                    <a:pt x="15822" y="14408"/>
                  </a:lnTo>
                  <a:lnTo>
                    <a:pt x="15796" y="14378"/>
                  </a:lnTo>
                  <a:lnTo>
                    <a:pt x="15768" y="14349"/>
                  </a:lnTo>
                  <a:lnTo>
                    <a:pt x="15739" y="14321"/>
                  </a:lnTo>
                  <a:lnTo>
                    <a:pt x="15709" y="14294"/>
                  </a:lnTo>
                  <a:lnTo>
                    <a:pt x="15678" y="14267"/>
                  </a:lnTo>
                  <a:lnTo>
                    <a:pt x="15645" y="14243"/>
                  </a:lnTo>
                  <a:lnTo>
                    <a:pt x="15610" y="142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ísḷïḋè">
              <a:extLst>
                <a:ext uri="{FF2B5EF4-FFF2-40B4-BE49-F238E27FC236}">
                  <a16:creationId xmlns:a16="http://schemas.microsoft.com/office/drawing/2014/main" id="{2BAFCAB9-40F6-498A-9DDC-8B7383EC11AD}"/>
                </a:ext>
              </a:extLst>
            </p:cNvPr>
            <p:cNvSpPr/>
            <p:nvPr/>
          </p:nvSpPr>
          <p:spPr bwMode="auto">
            <a:xfrm>
              <a:off x="1275039" y="21043"/>
              <a:ext cx="537200" cy="611928"/>
            </a:xfrm>
            <a:custGeom>
              <a:avLst/>
              <a:gdLst>
                <a:gd name="T0" fmla="*/ 1013 w 14097"/>
                <a:gd name="T1" fmla="*/ 3436 h 16058"/>
                <a:gd name="T2" fmla="*/ 1079 w 14097"/>
                <a:gd name="T3" fmla="*/ 3253 h 16058"/>
                <a:gd name="T4" fmla="*/ 1209 w 14097"/>
                <a:gd name="T5" fmla="*/ 3111 h 16058"/>
                <a:gd name="T6" fmla="*/ 1385 w 14097"/>
                <a:gd name="T7" fmla="*/ 3027 h 16058"/>
                <a:gd name="T8" fmla="*/ 12638 w 14097"/>
                <a:gd name="T9" fmla="*/ 3014 h 16058"/>
                <a:gd name="T10" fmla="*/ 12827 w 14097"/>
                <a:gd name="T11" fmla="*/ 3072 h 16058"/>
                <a:gd name="T12" fmla="*/ 12975 w 14097"/>
                <a:gd name="T13" fmla="*/ 3194 h 16058"/>
                <a:gd name="T14" fmla="*/ 13068 w 14097"/>
                <a:gd name="T15" fmla="*/ 3364 h 16058"/>
                <a:gd name="T16" fmla="*/ 12083 w 14097"/>
                <a:gd name="T17" fmla="*/ 14051 h 16058"/>
                <a:gd name="T18" fmla="*/ 12004 w 14097"/>
                <a:gd name="T19" fmla="*/ 14441 h 16058"/>
                <a:gd name="T20" fmla="*/ 11788 w 14097"/>
                <a:gd name="T21" fmla="*/ 14760 h 16058"/>
                <a:gd name="T22" fmla="*/ 11468 w 14097"/>
                <a:gd name="T23" fmla="*/ 14975 h 16058"/>
                <a:gd name="T24" fmla="*/ 11076 w 14097"/>
                <a:gd name="T25" fmla="*/ 15054 h 16058"/>
                <a:gd name="T26" fmla="*/ 2675 w 14097"/>
                <a:gd name="T27" fmla="*/ 14993 h 16058"/>
                <a:gd name="T28" fmla="*/ 2344 w 14097"/>
                <a:gd name="T29" fmla="*/ 14793 h 16058"/>
                <a:gd name="T30" fmla="*/ 2114 w 14097"/>
                <a:gd name="T31" fmla="*/ 14485 h 16058"/>
                <a:gd name="T32" fmla="*/ 2015 w 14097"/>
                <a:gd name="T33" fmla="*/ 14102 h 16058"/>
                <a:gd name="T34" fmla="*/ 4034 w 14097"/>
                <a:gd name="T35" fmla="*/ 1429 h 16058"/>
                <a:gd name="T36" fmla="*/ 4100 w 14097"/>
                <a:gd name="T37" fmla="*/ 1245 h 16058"/>
                <a:gd name="T38" fmla="*/ 4230 w 14097"/>
                <a:gd name="T39" fmla="*/ 1104 h 16058"/>
                <a:gd name="T40" fmla="*/ 4405 w 14097"/>
                <a:gd name="T41" fmla="*/ 1020 h 16058"/>
                <a:gd name="T42" fmla="*/ 9617 w 14097"/>
                <a:gd name="T43" fmla="*/ 1007 h 16058"/>
                <a:gd name="T44" fmla="*/ 9806 w 14097"/>
                <a:gd name="T45" fmla="*/ 1065 h 16058"/>
                <a:gd name="T46" fmla="*/ 9954 w 14097"/>
                <a:gd name="T47" fmla="*/ 1186 h 16058"/>
                <a:gd name="T48" fmla="*/ 10047 w 14097"/>
                <a:gd name="T49" fmla="*/ 1357 h 16058"/>
                <a:gd name="T50" fmla="*/ 4028 w 14097"/>
                <a:gd name="T51" fmla="*/ 2007 h 16058"/>
                <a:gd name="T52" fmla="*/ 13999 w 14097"/>
                <a:gd name="T53" fmla="*/ 2998 h 16058"/>
                <a:gd name="T54" fmla="*/ 13716 w 14097"/>
                <a:gd name="T55" fmla="*/ 2519 h 16058"/>
                <a:gd name="T56" fmla="*/ 13281 w 14097"/>
                <a:gd name="T57" fmla="*/ 2177 h 16058"/>
                <a:gd name="T58" fmla="*/ 12736 w 14097"/>
                <a:gd name="T59" fmla="*/ 2015 h 16058"/>
                <a:gd name="T60" fmla="*/ 11059 w 14097"/>
                <a:gd name="T61" fmla="*/ 1277 h 16058"/>
                <a:gd name="T62" fmla="*/ 10858 w 14097"/>
                <a:gd name="T63" fmla="*/ 725 h 16058"/>
                <a:gd name="T64" fmla="*/ 10470 w 14097"/>
                <a:gd name="T65" fmla="*/ 299 h 16058"/>
                <a:gd name="T66" fmla="*/ 9943 w 14097"/>
                <a:gd name="T67" fmla="*/ 47 h 16058"/>
                <a:gd name="T68" fmla="*/ 4377 w 14097"/>
                <a:gd name="T69" fmla="*/ 8 h 16058"/>
                <a:gd name="T70" fmla="*/ 3811 w 14097"/>
                <a:gd name="T71" fmla="*/ 182 h 16058"/>
                <a:gd name="T72" fmla="*/ 3366 w 14097"/>
                <a:gd name="T73" fmla="*/ 548 h 16058"/>
                <a:gd name="T74" fmla="*/ 3088 w 14097"/>
                <a:gd name="T75" fmla="*/ 1058 h 16058"/>
                <a:gd name="T76" fmla="*/ 3021 w 14097"/>
                <a:gd name="T77" fmla="*/ 2007 h 16058"/>
                <a:gd name="T78" fmla="*/ 1010 w 14097"/>
                <a:gd name="T79" fmla="*/ 2093 h 16058"/>
                <a:gd name="T80" fmla="*/ 529 w 14097"/>
                <a:gd name="T81" fmla="*/ 2373 h 16058"/>
                <a:gd name="T82" fmla="*/ 183 w 14097"/>
                <a:gd name="T83" fmla="*/ 2805 h 16058"/>
                <a:gd name="T84" fmla="*/ 16 w 14097"/>
                <a:gd name="T85" fmla="*/ 3347 h 16058"/>
                <a:gd name="T86" fmla="*/ 20 w 14097"/>
                <a:gd name="T87" fmla="*/ 4719 h 16058"/>
                <a:gd name="T88" fmla="*/ 172 w 14097"/>
                <a:gd name="T89" fmla="*/ 5077 h 16058"/>
                <a:gd name="T90" fmla="*/ 444 w 14097"/>
                <a:gd name="T91" fmla="*/ 5348 h 16058"/>
                <a:gd name="T92" fmla="*/ 805 w 14097"/>
                <a:gd name="T93" fmla="*/ 5500 h 16058"/>
                <a:gd name="T94" fmla="*/ 1030 w 14097"/>
                <a:gd name="T95" fmla="*/ 14357 h 16058"/>
                <a:gd name="T96" fmla="*/ 1299 w 14097"/>
                <a:gd name="T97" fmla="*/ 15092 h 16058"/>
                <a:gd name="T98" fmla="*/ 1815 w 14097"/>
                <a:gd name="T99" fmla="*/ 15660 h 16058"/>
                <a:gd name="T100" fmla="*/ 2517 w 14097"/>
                <a:gd name="T101" fmla="*/ 15995 h 16058"/>
                <a:gd name="T102" fmla="*/ 11283 w 14097"/>
                <a:gd name="T103" fmla="*/ 16048 h 16058"/>
                <a:gd name="T104" fmla="*/ 12036 w 14097"/>
                <a:gd name="T105" fmla="*/ 15816 h 16058"/>
                <a:gd name="T106" fmla="*/ 12630 w 14097"/>
                <a:gd name="T107" fmla="*/ 15327 h 16058"/>
                <a:gd name="T108" fmla="*/ 12999 w 14097"/>
                <a:gd name="T109" fmla="*/ 14648 h 16058"/>
                <a:gd name="T110" fmla="*/ 13141 w 14097"/>
                <a:gd name="T111" fmla="*/ 5519 h 16058"/>
                <a:gd name="T112" fmla="*/ 13526 w 14097"/>
                <a:gd name="T113" fmla="*/ 5421 h 16058"/>
                <a:gd name="T114" fmla="*/ 13835 w 14097"/>
                <a:gd name="T115" fmla="*/ 5191 h 16058"/>
                <a:gd name="T116" fmla="*/ 14036 w 14097"/>
                <a:gd name="T117" fmla="*/ 4862 h 16058"/>
                <a:gd name="T118" fmla="*/ 14097 w 14097"/>
                <a:gd name="T119" fmla="*/ 401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97" h="16058">
                  <a:moveTo>
                    <a:pt x="13090" y="4015"/>
                  </a:moveTo>
                  <a:lnTo>
                    <a:pt x="13090" y="4516"/>
                  </a:lnTo>
                  <a:lnTo>
                    <a:pt x="1007" y="4516"/>
                  </a:lnTo>
                  <a:lnTo>
                    <a:pt x="1007" y="4015"/>
                  </a:lnTo>
                  <a:lnTo>
                    <a:pt x="1007" y="3514"/>
                  </a:lnTo>
                  <a:lnTo>
                    <a:pt x="1008" y="3488"/>
                  </a:lnTo>
                  <a:lnTo>
                    <a:pt x="1010" y="3462"/>
                  </a:lnTo>
                  <a:lnTo>
                    <a:pt x="1013" y="3436"/>
                  </a:lnTo>
                  <a:lnTo>
                    <a:pt x="1017" y="3412"/>
                  </a:lnTo>
                  <a:lnTo>
                    <a:pt x="1023" y="3387"/>
                  </a:lnTo>
                  <a:lnTo>
                    <a:pt x="1029" y="3364"/>
                  </a:lnTo>
                  <a:lnTo>
                    <a:pt x="1037" y="3340"/>
                  </a:lnTo>
                  <a:lnTo>
                    <a:pt x="1046" y="3318"/>
                  </a:lnTo>
                  <a:lnTo>
                    <a:pt x="1056" y="3296"/>
                  </a:lnTo>
                  <a:lnTo>
                    <a:pt x="1067" y="3274"/>
                  </a:lnTo>
                  <a:lnTo>
                    <a:pt x="1079" y="3253"/>
                  </a:lnTo>
                  <a:lnTo>
                    <a:pt x="1093" y="3233"/>
                  </a:lnTo>
                  <a:lnTo>
                    <a:pt x="1107" y="3213"/>
                  </a:lnTo>
                  <a:lnTo>
                    <a:pt x="1122" y="3194"/>
                  </a:lnTo>
                  <a:lnTo>
                    <a:pt x="1138" y="3175"/>
                  </a:lnTo>
                  <a:lnTo>
                    <a:pt x="1154" y="3158"/>
                  </a:lnTo>
                  <a:lnTo>
                    <a:pt x="1172" y="3141"/>
                  </a:lnTo>
                  <a:lnTo>
                    <a:pt x="1190" y="3126"/>
                  </a:lnTo>
                  <a:lnTo>
                    <a:pt x="1209" y="3111"/>
                  </a:lnTo>
                  <a:lnTo>
                    <a:pt x="1228" y="3097"/>
                  </a:lnTo>
                  <a:lnTo>
                    <a:pt x="1250" y="3084"/>
                  </a:lnTo>
                  <a:lnTo>
                    <a:pt x="1271" y="3072"/>
                  </a:lnTo>
                  <a:lnTo>
                    <a:pt x="1292" y="3061"/>
                  </a:lnTo>
                  <a:lnTo>
                    <a:pt x="1314" y="3051"/>
                  </a:lnTo>
                  <a:lnTo>
                    <a:pt x="1337" y="3042"/>
                  </a:lnTo>
                  <a:lnTo>
                    <a:pt x="1360" y="3034"/>
                  </a:lnTo>
                  <a:lnTo>
                    <a:pt x="1385" y="3027"/>
                  </a:lnTo>
                  <a:lnTo>
                    <a:pt x="1409" y="3022"/>
                  </a:lnTo>
                  <a:lnTo>
                    <a:pt x="1434" y="3017"/>
                  </a:lnTo>
                  <a:lnTo>
                    <a:pt x="1459" y="3014"/>
                  </a:lnTo>
                  <a:lnTo>
                    <a:pt x="1484" y="3012"/>
                  </a:lnTo>
                  <a:lnTo>
                    <a:pt x="1510" y="3012"/>
                  </a:lnTo>
                  <a:lnTo>
                    <a:pt x="12587" y="3012"/>
                  </a:lnTo>
                  <a:lnTo>
                    <a:pt x="12613" y="3012"/>
                  </a:lnTo>
                  <a:lnTo>
                    <a:pt x="12638" y="3014"/>
                  </a:lnTo>
                  <a:lnTo>
                    <a:pt x="12663" y="3017"/>
                  </a:lnTo>
                  <a:lnTo>
                    <a:pt x="12688" y="3022"/>
                  </a:lnTo>
                  <a:lnTo>
                    <a:pt x="12712" y="3027"/>
                  </a:lnTo>
                  <a:lnTo>
                    <a:pt x="12737" y="3034"/>
                  </a:lnTo>
                  <a:lnTo>
                    <a:pt x="12760" y="3042"/>
                  </a:lnTo>
                  <a:lnTo>
                    <a:pt x="12783" y="3051"/>
                  </a:lnTo>
                  <a:lnTo>
                    <a:pt x="12805" y="3061"/>
                  </a:lnTo>
                  <a:lnTo>
                    <a:pt x="12827" y="3072"/>
                  </a:lnTo>
                  <a:lnTo>
                    <a:pt x="12847" y="3084"/>
                  </a:lnTo>
                  <a:lnTo>
                    <a:pt x="12869" y="3097"/>
                  </a:lnTo>
                  <a:lnTo>
                    <a:pt x="12888" y="3111"/>
                  </a:lnTo>
                  <a:lnTo>
                    <a:pt x="12907" y="3126"/>
                  </a:lnTo>
                  <a:lnTo>
                    <a:pt x="12925" y="3141"/>
                  </a:lnTo>
                  <a:lnTo>
                    <a:pt x="12943" y="3158"/>
                  </a:lnTo>
                  <a:lnTo>
                    <a:pt x="12959" y="3175"/>
                  </a:lnTo>
                  <a:lnTo>
                    <a:pt x="12975" y="3194"/>
                  </a:lnTo>
                  <a:lnTo>
                    <a:pt x="12990" y="3213"/>
                  </a:lnTo>
                  <a:lnTo>
                    <a:pt x="13004" y="3233"/>
                  </a:lnTo>
                  <a:lnTo>
                    <a:pt x="13018" y="3253"/>
                  </a:lnTo>
                  <a:lnTo>
                    <a:pt x="13030" y="3274"/>
                  </a:lnTo>
                  <a:lnTo>
                    <a:pt x="13041" y="3296"/>
                  </a:lnTo>
                  <a:lnTo>
                    <a:pt x="13051" y="3318"/>
                  </a:lnTo>
                  <a:lnTo>
                    <a:pt x="13060" y="3340"/>
                  </a:lnTo>
                  <a:lnTo>
                    <a:pt x="13068" y="3364"/>
                  </a:lnTo>
                  <a:lnTo>
                    <a:pt x="13074" y="3387"/>
                  </a:lnTo>
                  <a:lnTo>
                    <a:pt x="13080" y="3412"/>
                  </a:lnTo>
                  <a:lnTo>
                    <a:pt x="13084" y="3436"/>
                  </a:lnTo>
                  <a:lnTo>
                    <a:pt x="13087" y="3462"/>
                  </a:lnTo>
                  <a:lnTo>
                    <a:pt x="13089" y="3488"/>
                  </a:lnTo>
                  <a:lnTo>
                    <a:pt x="13090" y="3514"/>
                  </a:lnTo>
                  <a:lnTo>
                    <a:pt x="13090" y="4015"/>
                  </a:lnTo>
                  <a:close/>
                  <a:moveTo>
                    <a:pt x="12083" y="14051"/>
                  </a:moveTo>
                  <a:lnTo>
                    <a:pt x="12082" y="14102"/>
                  </a:lnTo>
                  <a:lnTo>
                    <a:pt x="12078" y="14153"/>
                  </a:lnTo>
                  <a:lnTo>
                    <a:pt x="12071" y="14203"/>
                  </a:lnTo>
                  <a:lnTo>
                    <a:pt x="12063" y="14252"/>
                  </a:lnTo>
                  <a:lnTo>
                    <a:pt x="12051" y="14302"/>
                  </a:lnTo>
                  <a:lnTo>
                    <a:pt x="12038" y="14349"/>
                  </a:lnTo>
                  <a:lnTo>
                    <a:pt x="12022" y="14396"/>
                  </a:lnTo>
                  <a:lnTo>
                    <a:pt x="12004" y="14441"/>
                  </a:lnTo>
                  <a:lnTo>
                    <a:pt x="11983" y="14485"/>
                  </a:lnTo>
                  <a:lnTo>
                    <a:pt x="11961" y="14528"/>
                  </a:lnTo>
                  <a:lnTo>
                    <a:pt x="11937" y="14571"/>
                  </a:lnTo>
                  <a:lnTo>
                    <a:pt x="11911" y="14612"/>
                  </a:lnTo>
                  <a:lnTo>
                    <a:pt x="11883" y="14651"/>
                  </a:lnTo>
                  <a:lnTo>
                    <a:pt x="11853" y="14689"/>
                  </a:lnTo>
                  <a:lnTo>
                    <a:pt x="11821" y="14725"/>
                  </a:lnTo>
                  <a:lnTo>
                    <a:pt x="11788" y="14760"/>
                  </a:lnTo>
                  <a:lnTo>
                    <a:pt x="11753" y="14793"/>
                  </a:lnTo>
                  <a:lnTo>
                    <a:pt x="11717" y="14825"/>
                  </a:lnTo>
                  <a:lnTo>
                    <a:pt x="11678" y="14855"/>
                  </a:lnTo>
                  <a:lnTo>
                    <a:pt x="11639" y="14883"/>
                  </a:lnTo>
                  <a:lnTo>
                    <a:pt x="11598" y="14909"/>
                  </a:lnTo>
                  <a:lnTo>
                    <a:pt x="11556" y="14933"/>
                  </a:lnTo>
                  <a:lnTo>
                    <a:pt x="11512" y="14955"/>
                  </a:lnTo>
                  <a:lnTo>
                    <a:pt x="11468" y="14975"/>
                  </a:lnTo>
                  <a:lnTo>
                    <a:pt x="11423" y="14993"/>
                  </a:lnTo>
                  <a:lnTo>
                    <a:pt x="11375" y="15009"/>
                  </a:lnTo>
                  <a:lnTo>
                    <a:pt x="11328" y="15022"/>
                  </a:lnTo>
                  <a:lnTo>
                    <a:pt x="11279" y="15034"/>
                  </a:lnTo>
                  <a:lnTo>
                    <a:pt x="11229" y="15042"/>
                  </a:lnTo>
                  <a:lnTo>
                    <a:pt x="11179" y="15049"/>
                  </a:lnTo>
                  <a:lnTo>
                    <a:pt x="11128" y="15053"/>
                  </a:lnTo>
                  <a:lnTo>
                    <a:pt x="11076" y="15054"/>
                  </a:lnTo>
                  <a:lnTo>
                    <a:pt x="3021" y="15054"/>
                  </a:lnTo>
                  <a:lnTo>
                    <a:pt x="2969" y="15053"/>
                  </a:lnTo>
                  <a:lnTo>
                    <a:pt x="2918" y="15049"/>
                  </a:lnTo>
                  <a:lnTo>
                    <a:pt x="2868" y="15042"/>
                  </a:lnTo>
                  <a:lnTo>
                    <a:pt x="2818" y="15034"/>
                  </a:lnTo>
                  <a:lnTo>
                    <a:pt x="2769" y="15022"/>
                  </a:lnTo>
                  <a:lnTo>
                    <a:pt x="2722" y="15009"/>
                  </a:lnTo>
                  <a:lnTo>
                    <a:pt x="2675" y="14993"/>
                  </a:lnTo>
                  <a:lnTo>
                    <a:pt x="2629" y="14975"/>
                  </a:lnTo>
                  <a:lnTo>
                    <a:pt x="2585" y="14955"/>
                  </a:lnTo>
                  <a:lnTo>
                    <a:pt x="2541" y="14933"/>
                  </a:lnTo>
                  <a:lnTo>
                    <a:pt x="2499" y="14909"/>
                  </a:lnTo>
                  <a:lnTo>
                    <a:pt x="2458" y="14883"/>
                  </a:lnTo>
                  <a:lnTo>
                    <a:pt x="2419" y="14855"/>
                  </a:lnTo>
                  <a:lnTo>
                    <a:pt x="2380" y="14825"/>
                  </a:lnTo>
                  <a:lnTo>
                    <a:pt x="2344" y="14793"/>
                  </a:lnTo>
                  <a:lnTo>
                    <a:pt x="2309" y="14760"/>
                  </a:lnTo>
                  <a:lnTo>
                    <a:pt x="2276" y="14725"/>
                  </a:lnTo>
                  <a:lnTo>
                    <a:pt x="2244" y="14689"/>
                  </a:lnTo>
                  <a:lnTo>
                    <a:pt x="2214" y="14651"/>
                  </a:lnTo>
                  <a:lnTo>
                    <a:pt x="2186" y="14612"/>
                  </a:lnTo>
                  <a:lnTo>
                    <a:pt x="2160" y="14571"/>
                  </a:lnTo>
                  <a:lnTo>
                    <a:pt x="2136" y="14528"/>
                  </a:lnTo>
                  <a:lnTo>
                    <a:pt x="2114" y="14485"/>
                  </a:lnTo>
                  <a:lnTo>
                    <a:pt x="2093" y="14441"/>
                  </a:lnTo>
                  <a:lnTo>
                    <a:pt x="2075" y="14396"/>
                  </a:lnTo>
                  <a:lnTo>
                    <a:pt x="2059" y="14349"/>
                  </a:lnTo>
                  <a:lnTo>
                    <a:pt x="2046" y="14302"/>
                  </a:lnTo>
                  <a:lnTo>
                    <a:pt x="2034" y="14252"/>
                  </a:lnTo>
                  <a:lnTo>
                    <a:pt x="2026" y="14203"/>
                  </a:lnTo>
                  <a:lnTo>
                    <a:pt x="2019" y="14153"/>
                  </a:lnTo>
                  <a:lnTo>
                    <a:pt x="2015" y="14102"/>
                  </a:lnTo>
                  <a:lnTo>
                    <a:pt x="2014" y="14051"/>
                  </a:lnTo>
                  <a:lnTo>
                    <a:pt x="2014" y="5520"/>
                  </a:lnTo>
                  <a:lnTo>
                    <a:pt x="12083" y="5520"/>
                  </a:lnTo>
                  <a:lnTo>
                    <a:pt x="12083" y="14051"/>
                  </a:lnTo>
                  <a:close/>
                  <a:moveTo>
                    <a:pt x="4028" y="1506"/>
                  </a:moveTo>
                  <a:lnTo>
                    <a:pt x="4029" y="1480"/>
                  </a:lnTo>
                  <a:lnTo>
                    <a:pt x="4031" y="1454"/>
                  </a:lnTo>
                  <a:lnTo>
                    <a:pt x="4034" y="1429"/>
                  </a:lnTo>
                  <a:lnTo>
                    <a:pt x="4038" y="1405"/>
                  </a:lnTo>
                  <a:lnTo>
                    <a:pt x="4044" y="1380"/>
                  </a:lnTo>
                  <a:lnTo>
                    <a:pt x="4050" y="1357"/>
                  </a:lnTo>
                  <a:lnTo>
                    <a:pt x="4058" y="1334"/>
                  </a:lnTo>
                  <a:lnTo>
                    <a:pt x="4067" y="1311"/>
                  </a:lnTo>
                  <a:lnTo>
                    <a:pt x="4077" y="1289"/>
                  </a:lnTo>
                  <a:lnTo>
                    <a:pt x="4088" y="1267"/>
                  </a:lnTo>
                  <a:lnTo>
                    <a:pt x="4100" y="1245"/>
                  </a:lnTo>
                  <a:lnTo>
                    <a:pt x="4113" y="1225"/>
                  </a:lnTo>
                  <a:lnTo>
                    <a:pt x="4127" y="1205"/>
                  </a:lnTo>
                  <a:lnTo>
                    <a:pt x="4143" y="1186"/>
                  </a:lnTo>
                  <a:lnTo>
                    <a:pt x="4159" y="1168"/>
                  </a:lnTo>
                  <a:lnTo>
                    <a:pt x="4175" y="1151"/>
                  </a:lnTo>
                  <a:lnTo>
                    <a:pt x="4193" y="1134"/>
                  </a:lnTo>
                  <a:lnTo>
                    <a:pt x="4211" y="1119"/>
                  </a:lnTo>
                  <a:lnTo>
                    <a:pt x="4230" y="1104"/>
                  </a:lnTo>
                  <a:lnTo>
                    <a:pt x="4249" y="1090"/>
                  </a:lnTo>
                  <a:lnTo>
                    <a:pt x="4270" y="1077"/>
                  </a:lnTo>
                  <a:lnTo>
                    <a:pt x="4292" y="1065"/>
                  </a:lnTo>
                  <a:lnTo>
                    <a:pt x="4313" y="1054"/>
                  </a:lnTo>
                  <a:lnTo>
                    <a:pt x="4335" y="1044"/>
                  </a:lnTo>
                  <a:lnTo>
                    <a:pt x="4358" y="1035"/>
                  </a:lnTo>
                  <a:lnTo>
                    <a:pt x="4381" y="1027"/>
                  </a:lnTo>
                  <a:lnTo>
                    <a:pt x="4405" y="1020"/>
                  </a:lnTo>
                  <a:lnTo>
                    <a:pt x="4429" y="1015"/>
                  </a:lnTo>
                  <a:lnTo>
                    <a:pt x="4455" y="1010"/>
                  </a:lnTo>
                  <a:lnTo>
                    <a:pt x="4480" y="1007"/>
                  </a:lnTo>
                  <a:lnTo>
                    <a:pt x="4505" y="1005"/>
                  </a:lnTo>
                  <a:lnTo>
                    <a:pt x="4531" y="1005"/>
                  </a:lnTo>
                  <a:lnTo>
                    <a:pt x="9566" y="1005"/>
                  </a:lnTo>
                  <a:lnTo>
                    <a:pt x="9592" y="1005"/>
                  </a:lnTo>
                  <a:lnTo>
                    <a:pt x="9617" y="1007"/>
                  </a:lnTo>
                  <a:lnTo>
                    <a:pt x="9642" y="1010"/>
                  </a:lnTo>
                  <a:lnTo>
                    <a:pt x="9668" y="1015"/>
                  </a:lnTo>
                  <a:lnTo>
                    <a:pt x="9692" y="1020"/>
                  </a:lnTo>
                  <a:lnTo>
                    <a:pt x="9716" y="1027"/>
                  </a:lnTo>
                  <a:lnTo>
                    <a:pt x="9739" y="1035"/>
                  </a:lnTo>
                  <a:lnTo>
                    <a:pt x="9762" y="1044"/>
                  </a:lnTo>
                  <a:lnTo>
                    <a:pt x="9784" y="1054"/>
                  </a:lnTo>
                  <a:lnTo>
                    <a:pt x="9806" y="1065"/>
                  </a:lnTo>
                  <a:lnTo>
                    <a:pt x="9827" y="1077"/>
                  </a:lnTo>
                  <a:lnTo>
                    <a:pt x="9848" y="1090"/>
                  </a:lnTo>
                  <a:lnTo>
                    <a:pt x="9867" y="1104"/>
                  </a:lnTo>
                  <a:lnTo>
                    <a:pt x="9886" y="1119"/>
                  </a:lnTo>
                  <a:lnTo>
                    <a:pt x="9904" y="1134"/>
                  </a:lnTo>
                  <a:lnTo>
                    <a:pt x="9922" y="1151"/>
                  </a:lnTo>
                  <a:lnTo>
                    <a:pt x="9938" y="1168"/>
                  </a:lnTo>
                  <a:lnTo>
                    <a:pt x="9954" y="1186"/>
                  </a:lnTo>
                  <a:lnTo>
                    <a:pt x="9970" y="1205"/>
                  </a:lnTo>
                  <a:lnTo>
                    <a:pt x="9984" y="1225"/>
                  </a:lnTo>
                  <a:lnTo>
                    <a:pt x="9997" y="1245"/>
                  </a:lnTo>
                  <a:lnTo>
                    <a:pt x="10009" y="1267"/>
                  </a:lnTo>
                  <a:lnTo>
                    <a:pt x="10020" y="1289"/>
                  </a:lnTo>
                  <a:lnTo>
                    <a:pt x="10030" y="1311"/>
                  </a:lnTo>
                  <a:lnTo>
                    <a:pt x="10039" y="1334"/>
                  </a:lnTo>
                  <a:lnTo>
                    <a:pt x="10047" y="1357"/>
                  </a:lnTo>
                  <a:lnTo>
                    <a:pt x="10053" y="1380"/>
                  </a:lnTo>
                  <a:lnTo>
                    <a:pt x="10059" y="1405"/>
                  </a:lnTo>
                  <a:lnTo>
                    <a:pt x="10063" y="1429"/>
                  </a:lnTo>
                  <a:lnTo>
                    <a:pt x="10066" y="1454"/>
                  </a:lnTo>
                  <a:lnTo>
                    <a:pt x="10068" y="1480"/>
                  </a:lnTo>
                  <a:lnTo>
                    <a:pt x="10069" y="1506"/>
                  </a:lnTo>
                  <a:lnTo>
                    <a:pt x="10069" y="2007"/>
                  </a:lnTo>
                  <a:lnTo>
                    <a:pt x="4028" y="2007"/>
                  </a:lnTo>
                  <a:lnTo>
                    <a:pt x="4028" y="1506"/>
                  </a:lnTo>
                  <a:close/>
                  <a:moveTo>
                    <a:pt x="14087" y="3421"/>
                  </a:moveTo>
                  <a:lnTo>
                    <a:pt x="14081" y="3347"/>
                  </a:lnTo>
                  <a:lnTo>
                    <a:pt x="14072" y="3275"/>
                  </a:lnTo>
                  <a:lnTo>
                    <a:pt x="14059" y="3204"/>
                  </a:lnTo>
                  <a:lnTo>
                    <a:pt x="14042" y="3134"/>
                  </a:lnTo>
                  <a:lnTo>
                    <a:pt x="14022" y="3065"/>
                  </a:lnTo>
                  <a:lnTo>
                    <a:pt x="13999" y="2998"/>
                  </a:lnTo>
                  <a:lnTo>
                    <a:pt x="13974" y="2932"/>
                  </a:lnTo>
                  <a:lnTo>
                    <a:pt x="13946" y="2867"/>
                  </a:lnTo>
                  <a:lnTo>
                    <a:pt x="13914" y="2805"/>
                  </a:lnTo>
                  <a:lnTo>
                    <a:pt x="13880" y="2744"/>
                  </a:lnTo>
                  <a:lnTo>
                    <a:pt x="13842" y="2685"/>
                  </a:lnTo>
                  <a:lnTo>
                    <a:pt x="13803" y="2627"/>
                  </a:lnTo>
                  <a:lnTo>
                    <a:pt x="13761" y="2572"/>
                  </a:lnTo>
                  <a:lnTo>
                    <a:pt x="13716" y="2519"/>
                  </a:lnTo>
                  <a:lnTo>
                    <a:pt x="13669" y="2468"/>
                  </a:lnTo>
                  <a:lnTo>
                    <a:pt x="13620" y="2419"/>
                  </a:lnTo>
                  <a:lnTo>
                    <a:pt x="13568" y="2373"/>
                  </a:lnTo>
                  <a:lnTo>
                    <a:pt x="13515" y="2328"/>
                  </a:lnTo>
                  <a:lnTo>
                    <a:pt x="13460" y="2286"/>
                  </a:lnTo>
                  <a:lnTo>
                    <a:pt x="13401" y="2247"/>
                  </a:lnTo>
                  <a:lnTo>
                    <a:pt x="13342" y="2211"/>
                  </a:lnTo>
                  <a:lnTo>
                    <a:pt x="13281" y="2177"/>
                  </a:lnTo>
                  <a:lnTo>
                    <a:pt x="13218" y="2146"/>
                  </a:lnTo>
                  <a:lnTo>
                    <a:pt x="13154" y="2118"/>
                  </a:lnTo>
                  <a:lnTo>
                    <a:pt x="13087" y="2093"/>
                  </a:lnTo>
                  <a:lnTo>
                    <a:pt x="13020" y="2070"/>
                  </a:lnTo>
                  <a:lnTo>
                    <a:pt x="12950" y="2051"/>
                  </a:lnTo>
                  <a:lnTo>
                    <a:pt x="12880" y="2036"/>
                  </a:lnTo>
                  <a:lnTo>
                    <a:pt x="12808" y="2023"/>
                  </a:lnTo>
                  <a:lnTo>
                    <a:pt x="12736" y="2015"/>
                  </a:lnTo>
                  <a:lnTo>
                    <a:pt x="12661" y="2009"/>
                  </a:lnTo>
                  <a:lnTo>
                    <a:pt x="12587" y="2007"/>
                  </a:lnTo>
                  <a:lnTo>
                    <a:pt x="11076" y="2007"/>
                  </a:lnTo>
                  <a:lnTo>
                    <a:pt x="11076" y="1506"/>
                  </a:lnTo>
                  <a:lnTo>
                    <a:pt x="11076" y="1505"/>
                  </a:lnTo>
                  <a:lnTo>
                    <a:pt x="11074" y="1428"/>
                  </a:lnTo>
                  <a:lnTo>
                    <a:pt x="11068" y="1352"/>
                  </a:lnTo>
                  <a:lnTo>
                    <a:pt x="11059" y="1277"/>
                  </a:lnTo>
                  <a:lnTo>
                    <a:pt x="11046" y="1202"/>
                  </a:lnTo>
                  <a:lnTo>
                    <a:pt x="11029" y="1129"/>
                  </a:lnTo>
                  <a:lnTo>
                    <a:pt x="11009" y="1058"/>
                  </a:lnTo>
                  <a:lnTo>
                    <a:pt x="10985" y="988"/>
                  </a:lnTo>
                  <a:lnTo>
                    <a:pt x="10957" y="919"/>
                  </a:lnTo>
                  <a:lnTo>
                    <a:pt x="10927" y="853"/>
                  </a:lnTo>
                  <a:lnTo>
                    <a:pt x="10894" y="788"/>
                  </a:lnTo>
                  <a:lnTo>
                    <a:pt x="10858" y="725"/>
                  </a:lnTo>
                  <a:lnTo>
                    <a:pt x="10818" y="663"/>
                  </a:lnTo>
                  <a:lnTo>
                    <a:pt x="10776" y="605"/>
                  </a:lnTo>
                  <a:lnTo>
                    <a:pt x="10732" y="548"/>
                  </a:lnTo>
                  <a:lnTo>
                    <a:pt x="10684" y="493"/>
                  </a:lnTo>
                  <a:lnTo>
                    <a:pt x="10634" y="441"/>
                  </a:lnTo>
                  <a:lnTo>
                    <a:pt x="10582" y="391"/>
                  </a:lnTo>
                  <a:lnTo>
                    <a:pt x="10526" y="344"/>
                  </a:lnTo>
                  <a:lnTo>
                    <a:pt x="10470" y="299"/>
                  </a:lnTo>
                  <a:lnTo>
                    <a:pt x="10411" y="257"/>
                  </a:lnTo>
                  <a:lnTo>
                    <a:pt x="10349" y="218"/>
                  </a:lnTo>
                  <a:lnTo>
                    <a:pt x="10286" y="182"/>
                  </a:lnTo>
                  <a:lnTo>
                    <a:pt x="10220" y="149"/>
                  </a:lnTo>
                  <a:lnTo>
                    <a:pt x="10154" y="118"/>
                  </a:lnTo>
                  <a:lnTo>
                    <a:pt x="10085" y="91"/>
                  </a:lnTo>
                  <a:lnTo>
                    <a:pt x="10015" y="67"/>
                  </a:lnTo>
                  <a:lnTo>
                    <a:pt x="9943" y="47"/>
                  </a:lnTo>
                  <a:lnTo>
                    <a:pt x="9870" y="30"/>
                  </a:lnTo>
                  <a:lnTo>
                    <a:pt x="9796" y="17"/>
                  </a:lnTo>
                  <a:lnTo>
                    <a:pt x="9720" y="8"/>
                  </a:lnTo>
                  <a:lnTo>
                    <a:pt x="9643" y="2"/>
                  </a:lnTo>
                  <a:lnTo>
                    <a:pt x="9566" y="0"/>
                  </a:lnTo>
                  <a:lnTo>
                    <a:pt x="4531" y="0"/>
                  </a:lnTo>
                  <a:lnTo>
                    <a:pt x="4454" y="2"/>
                  </a:lnTo>
                  <a:lnTo>
                    <a:pt x="4377" y="8"/>
                  </a:lnTo>
                  <a:lnTo>
                    <a:pt x="4302" y="17"/>
                  </a:lnTo>
                  <a:lnTo>
                    <a:pt x="4227" y="30"/>
                  </a:lnTo>
                  <a:lnTo>
                    <a:pt x="4154" y="47"/>
                  </a:lnTo>
                  <a:lnTo>
                    <a:pt x="4082" y="67"/>
                  </a:lnTo>
                  <a:lnTo>
                    <a:pt x="4012" y="91"/>
                  </a:lnTo>
                  <a:lnTo>
                    <a:pt x="3943" y="118"/>
                  </a:lnTo>
                  <a:lnTo>
                    <a:pt x="3877" y="149"/>
                  </a:lnTo>
                  <a:lnTo>
                    <a:pt x="3811" y="182"/>
                  </a:lnTo>
                  <a:lnTo>
                    <a:pt x="3748" y="218"/>
                  </a:lnTo>
                  <a:lnTo>
                    <a:pt x="3686" y="257"/>
                  </a:lnTo>
                  <a:lnTo>
                    <a:pt x="3628" y="299"/>
                  </a:lnTo>
                  <a:lnTo>
                    <a:pt x="3571" y="344"/>
                  </a:lnTo>
                  <a:lnTo>
                    <a:pt x="3515" y="391"/>
                  </a:lnTo>
                  <a:lnTo>
                    <a:pt x="3463" y="441"/>
                  </a:lnTo>
                  <a:lnTo>
                    <a:pt x="3413" y="493"/>
                  </a:lnTo>
                  <a:lnTo>
                    <a:pt x="3366" y="548"/>
                  </a:lnTo>
                  <a:lnTo>
                    <a:pt x="3321" y="605"/>
                  </a:lnTo>
                  <a:lnTo>
                    <a:pt x="3279" y="663"/>
                  </a:lnTo>
                  <a:lnTo>
                    <a:pt x="3239" y="725"/>
                  </a:lnTo>
                  <a:lnTo>
                    <a:pt x="3203" y="788"/>
                  </a:lnTo>
                  <a:lnTo>
                    <a:pt x="3170" y="853"/>
                  </a:lnTo>
                  <a:lnTo>
                    <a:pt x="3140" y="919"/>
                  </a:lnTo>
                  <a:lnTo>
                    <a:pt x="3112" y="988"/>
                  </a:lnTo>
                  <a:lnTo>
                    <a:pt x="3088" y="1058"/>
                  </a:lnTo>
                  <a:lnTo>
                    <a:pt x="3068" y="1129"/>
                  </a:lnTo>
                  <a:lnTo>
                    <a:pt x="3051" y="1202"/>
                  </a:lnTo>
                  <a:lnTo>
                    <a:pt x="3038" y="1277"/>
                  </a:lnTo>
                  <a:lnTo>
                    <a:pt x="3029" y="1352"/>
                  </a:lnTo>
                  <a:lnTo>
                    <a:pt x="3023" y="1428"/>
                  </a:lnTo>
                  <a:lnTo>
                    <a:pt x="3021" y="1505"/>
                  </a:lnTo>
                  <a:lnTo>
                    <a:pt x="3021" y="1506"/>
                  </a:lnTo>
                  <a:lnTo>
                    <a:pt x="3021" y="2007"/>
                  </a:lnTo>
                  <a:lnTo>
                    <a:pt x="1510" y="2007"/>
                  </a:lnTo>
                  <a:lnTo>
                    <a:pt x="1436" y="2009"/>
                  </a:lnTo>
                  <a:lnTo>
                    <a:pt x="1361" y="2015"/>
                  </a:lnTo>
                  <a:lnTo>
                    <a:pt x="1289" y="2023"/>
                  </a:lnTo>
                  <a:lnTo>
                    <a:pt x="1217" y="2036"/>
                  </a:lnTo>
                  <a:lnTo>
                    <a:pt x="1147" y="2051"/>
                  </a:lnTo>
                  <a:lnTo>
                    <a:pt x="1077" y="2070"/>
                  </a:lnTo>
                  <a:lnTo>
                    <a:pt x="1010" y="2093"/>
                  </a:lnTo>
                  <a:lnTo>
                    <a:pt x="943" y="2118"/>
                  </a:lnTo>
                  <a:lnTo>
                    <a:pt x="879" y="2146"/>
                  </a:lnTo>
                  <a:lnTo>
                    <a:pt x="817" y="2177"/>
                  </a:lnTo>
                  <a:lnTo>
                    <a:pt x="755" y="2211"/>
                  </a:lnTo>
                  <a:lnTo>
                    <a:pt x="696" y="2247"/>
                  </a:lnTo>
                  <a:lnTo>
                    <a:pt x="637" y="2286"/>
                  </a:lnTo>
                  <a:lnTo>
                    <a:pt x="582" y="2328"/>
                  </a:lnTo>
                  <a:lnTo>
                    <a:pt x="529" y="2373"/>
                  </a:lnTo>
                  <a:lnTo>
                    <a:pt x="477" y="2419"/>
                  </a:lnTo>
                  <a:lnTo>
                    <a:pt x="428" y="2468"/>
                  </a:lnTo>
                  <a:lnTo>
                    <a:pt x="381" y="2519"/>
                  </a:lnTo>
                  <a:lnTo>
                    <a:pt x="336" y="2572"/>
                  </a:lnTo>
                  <a:lnTo>
                    <a:pt x="294" y="2627"/>
                  </a:lnTo>
                  <a:lnTo>
                    <a:pt x="255" y="2685"/>
                  </a:lnTo>
                  <a:lnTo>
                    <a:pt x="217" y="2744"/>
                  </a:lnTo>
                  <a:lnTo>
                    <a:pt x="183" y="2805"/>
                  </a:lnTo>
                  <a:lnTo>
                    <a:pt x="152" y="2867"/>
                  </a:lnTo>
                  <a:lnTo>
                    <a:pt x="123" y="2932"/>
                  </a:lnTo>
                  <a:lnTo>
                    <a:pt x="98" y="2998"/>
                  </a:lnTo>
                  <a:lnTo>
                    <a:pt x="75" y="3065"/>
                  </a:lnTo>
                  <a:lnTo>
                    <a:pt x="55" y="3134"/>
                  </a:lnTo>
                  <a:lnTo>
                    <a:pt x="38" y="3204"/>
                  </a:lnTo>
                  <a:lnTo>
                    <a:pt x="25" y="3275"/>
                  </a:lnTo>
                  <a:lnTo>
                    <a:pt x="16" y="3347"/>
                  </a:lnTo>
                  <a:lnTo>
                    <a:pt x="10" y="3421"/>
                  </a:lnTo>
                  <a:lnTo>
                    <a:pt x="0" y="3421"/>
                  </a:lnTo>
                  <a:lnTo>
                    <a:pt x="0" y="4015"/>
                  </a:lnTo>
                  <a:lnTo>
                    <a:pt x="0" y="4516"/>
                  </a:lnTo>
                  <a:lnTo>
                    <a:pt x="1" y="4567"/>
                  </a:lnTo>
                  <a:lnTo>
                    <a:pt x="5" y="4619"/>
                  </a:lnTo>
                  <a:lnTo>
                    <a:pt x="12" y="4669"/>
                  </a:lnTo>
                  <a:lnTo>
                    <a:pt x="20" y="4719"/>
                  </a:lnTo>
                  <a:lnTo>
                    <a:pt x="32" y="4767"/>
                  </a:lnTo>
                  <a:lnTo>
                    <a:pt x="45" y="4814"/>
                  </a:lnTo>
                  <a:lnTo>
                    <a:pt x="61" y="4862"/>
                  </a:lnTo>
                  <a:lnTo>
                    <a:pt x="80" y="4907"/>
                  </a:lnTo>
                  <a:lnTo>
                    <a:pt x="100" y="4951"/>
                  </a:lnTo>
                  <a:lnTo>
                    <a:pt x="122" y="4995"/>
                  </a:lnTo>
                  <a:lnTo>
                    <a:pt x="146" y="5036"/>
                  </a:lnTo>
                  <a:lnTo>
                    <a:pt x="172" y="5077"/>
                  </a:lnTo>
                  <a:lnTo>
                    <a:pt x="200" y="5116"/>
                  </a:lnTo>
                  <a:lnTo>
                    <a:pt x="230" y="5155"/>
                  </a:lnTo>
                  <a:lnTo>
                    <a:pt x="262" y="5191"/>
                  </a:lnTo>
                  <a:lnTo>
                    <a:pt x="295" y="5226"/>
                  </a:lnTo>
                  <a:lnTo>
                    <a:pt x="330" y="5259"/>
                  </a:lnTo>
                  <a:lnTo>
                    <a:pt x="367" y="5291"/>
                  </a:lnTo>
                  <a:lnTo>
                    <a:pt x="405" y="5320"/>
                  </a:lnTo>
                  <a:lnTo>
                    <a:pt x="444" y="5348"/>
                  </a:lnTo>
                  <a:lnTo>
                    <a:pt x="485" y="5374"/>
                  </a:lnTo>
                  <a:lnTo>
                    <a:pt x="527" y="5398"/>
                  </a:lnTo>
                  <a:lnTo>
                    <a:pt x="571" y="5421"/>
                  </a:lnTo>
                  <a:lnTo>
                    <a:pt x="615" y="5441"/>
                  </a:lnTo>
                  <a:lnTo>
                    <a:pt x="661" y="5459"/>
                  </a:lnTo>
                  <a:lnTo>
                    <a:pt x="708" y="5475"/>
                  </a:lnTo>
                  <a:lnTo>
                    <a:pt x="755" y="5488"/>
                  </a:lnTo>
                  <a:lnTo>
                    <a:pt x="805" y="5500"/>
                  </a:lnTo>
                  <a:lnTo>
                    <a:pt x="854" y="5508"/>
                  </a:lnTo>
                  <a:lnTo>
                    <a:pt x="904" y="5515"/>
                  </a:lnTo>
                  <a:lnTo>
                    <a:pt x="956" y="5519"/>
                  </a:lnTo>
                  <a:lnTo>
                    <a:pt x="1007" y="5520"/>
                  </a:lnTo>
                  <a:lnTo>
                    <a:pt x="1007" y="14051"/>
                  </a:lnTo>
                  <a:lnTo>
                    <a:pt x="1010" y="14154"/>
                  </a:lnTo>
                  <a:lnTo>
                    <a:pt x="1017" y="14256"/>
                  </a:lnTo>
                  <a:lnTo>
                    <a:pt x="1030" y="14357"/>
                  </a:lnTo>
                  <a:lnTo>
                    <a:pt x="1048" y="14455"/>
                  </a:lnTo>
                  <a:lnTo>
                    <a:pt x="1070" y="14553"/>
                  </a:lnTo>
                  <a:lnTo>
                    <a:pt x="1098" y="14648"/>
                  </a:lnTo>
                  <a:lnTo>
                    <a:pt x="1129" y="14741"/>
                  </a:lnTo>
                  <a:lnTo>
                    <a:pt x="1165" y="14832"/>
                  </a:lnTo>
                  <a:lnTo>
                    <a:pt x="1205" y="14921"/>
                  </a:lnTo>
                  <a:lnTo>
                    <a:pt x="1250" y="15007"/>
                  </a:lnTo>
                  <a:lnTo>
                    <a:pt x="1299" y="15092"/>
                  </a:lnTo>
                  <a:lnTo>
                    <a:pt x="1351" y="15173"/>
                  </a:lnTo>
                  <a:lnTo>
                    <a:pt x="1407" y="15252"/>
                  </a:lnTo>
                  <a:lnTo>
                    <a:pt x="1467" y="15327"/>
                  </a:lnTo>
                  <a:lnTo>
                    <a:pt x="1531" y="15401"/>
                  </a:lnTo>
                  <a:lnTo>
                    <a:pt x="1597" y="15470"/>
                  </a:lnTo>
                  <a:lnTo>
                    <a:pt x="1666" y="15536"/>
                  </a:lnTo>
                  <a:lnTo>
                    <a:pt x="1740" y="15599"/>
                  </a:lnTo>
                  <a:lnTo>
                    <a:pt x="1815" y="15660"/>
                  </a:lnTo>
                  <a:lnTo>
                    <a:pt x="1895" y="15715"/>
                  </a:lnTo>
                  <a:lnTo>
                    <a:pt x="1977" y="15767"/>
                  </a:lnTo>
                  <a:lnTo>
                    <a:pt x="2061" y="15816"/>
                  </a:lnTo>
                  <a:lnTo>
                    <a:pt x="2148" y="15860"/>
                  </a:lnTo>
                  <a:lnTo>
                    <a:pt x="2237" y="15900"/>
                  </a:lnTo>
                  <a:lnTo>
                    <a:pt x="2328" y="15937"/>
                  </a:lnTo>
                  <a:lnTo>
                    <a:pt x="2422" y="15968"/>
                  </a:lnTo>
                  <a:lnTo>
                    <a:pt x="2517" y="15995"/>
                  </a:lnTo>
                  <a:lnTo>
                    <a:pt x="2615" y="16017"/>
                  </a:lnTo>
                  <a:lnTo>
                    <a:pt x="2714" y="16035"/>
                  </a:lnTo>
                  <a:lnTo>
                    <a:pt x="2815" y="16048"/>
                  </a:lnTo>
                  <a:lnTo>
                    <a:pt x="2917" y="16055"/>
                  </a:lnTo>
                  <a:lnTo>
                    <a:pt x="3021" y="16058"/>
                  </a:lnTo>
                  <a:lnTo>
                    <a:pt x="11076" y="16058"/>
                  </a:lnTo>
                  <a:lnTo>
                    <a:pt x="11180" y="16055"/>
                  </a:lnTo>
                  <a:lnTo>
                    <a:pt x="11283" y="16048"/>
                  </a:lnTo>
                  <a:lnTo>
                    <a:pt x="11383" y="16035"/>
                  </a:lnTo>
                  <a:lnTo>
                    <a:pt x="11482" y="16017"/>
                  </a:lnTo>
                  <a:lnTo>
                    <a:pt x="11580" y="15995"/>
                  </a:lnTo>
                  <a:lnTo>
                    <a:pt x="11675" y="15968"/>
                  </a:lnTo>
                  <a:lnTo>
                    <a:pt x="11769" y="15937"/>
                  </a:lnTo>
                  <a:lnTo>
                    <a:pt x="11861" y="15900"/>
                  </a:lnTo>
                  <a:lnTo>
                    <a:pt x="11949" y="15860"/>
                  </a:lnTo>
                  <a:lnTo>
                    <a:pt x="12036" y="15816"/>
                  </a:lnTo>
                  <a:lnTo>
                    <a:pt x="12120" y="15767"/>
                  </a:lnTo>
                  <a:lnTo>
                    <a:pt x="12202" y="15715"/>
                  </a:lnTo>
                  <a:lnTo>
                    <a:pt x="12282" y="15660"/>
                  </a:lnTo>
                  <a:lnTo>
                    <a:pt x="12357" y="15599"/>
                  </a:lnTo>
                  <a:lnTo>
                    <a:pt x="12431" y="15536"/>
                  </a:lnTo>
                  <a:lnTo>
                    <a:pt x="12500" y="15470"/>
                  </a:lnTo>
                  <a:lnTo>
                    <a:pt x="12566" y="15401"/>
                  </a:lnTo>
                  <a:lnTo>
                    <a:pt x="12630" y="15327"/>
                  </a:lnTo>
                  <a:lnTo>
                    <a:pt x="12690" y="15252"/>
                  </a:lnTo>
                  <a:lnTo>
                    <a:pt x="12746" y="15173"/>
                  </a:lnTo>
                  <a:lnTo>
                    <a:pt x="12799" y="15092"/>
                  </a:lnTo>
                  <a:lnTo>
                    <a:pt x="12847" y="15007"/>
                  </a:lnTo>
                  <a:lnTo>
                    <a:pt x="12892" y="14921"/>
                  </a:lnTo>
                  <a:lnTo>
                    <a:pt x="12932" y="14832"/>
                  </a:lnTo>
                  <a:lnTo>
                    <a:pt x="12968" y="14741"/>
                  </a:lnTo>
                  <a:lnTo>
                    <a:pt x="12999" y="14648"/>
                  </a:lnTo>
                  <a:lnTo>
                    <a:pt x="13027" y="14553"/>
                  </a:lnTo>
                  <a:lnTo>
                    <a:pt x="13049" y="14455"/>
                  </a:lnTo>
                  <a:lnTo>
                    <a:pt x="13067" y="14357"/>
                  </a:lnTo>
                  <a:lnTo>
                    <a:pt x="13080" y="14256"/>
                  </a:lnTo>
                  <a:lnTo>
                    <a:pt x="13087" y="14154"/>
                  </a:lnTo>
                  <a:lnTo>
                    <a:pt x="13090" y="14051"/>
                  </a:lnTo>
                  <a:lnTo>
                    <a:pt x="13090" y="5520"/>
                  </a:lnTo>
                  <a:lnTo>
                    <a:pt x="13141" y="5519"/>
                  </a:lnTo>
                  <a:lnTo>
                    <a:pt x="13193" y="5515"/>
                  </a:lnTo>
                  <a:lnTo>
                    <a:pt x="13243" y="5508"/>
                  </a:lnTo>
                  <a:lnTo>
                    <a:pt x="13293" y="5500"/>
                  </a:lnTo>
                  <a:lnTo>
                    <a:pt x="13342" y="5488"/>
                  </a:lnTo>
                  <a:lnTo>
                    <a:pt x="13389" y="5475"/>
                  </a:lnTo>
                  <a:lnTo>
                    <a:pt x="13436" y="5459"/>
                  </a:lnTo>
                  <a:lnTo>
                    <a:pt x="13482" y="5441"/>
                  </a:lnTo>
                  <a:lnTo>
                    <a:pt x="13526" y="5421"/>
                  </a:lnTo>
                  <a:lnTo>
                    <a:pt x="13570" y="5398"/>
                  </a:lnTo>
                  <a:lnTo>
                    <a:pt x="13612" y="5374"/>
                  </a:lnTo>
                  <a:lnTo>
                    <a:pt x="13653" y="5348"/>
                  </a:lnTo>
                  <a:lnTo>
                    <a:pt x="13692" y="5320"/>
                  </a:lnTo>
                  <a:lnTo>
                    <a:pt x="13730" y="5291"/>
                  </a:lnTo>
                  <a:lnTo>
                    <a:pt x="13767" y="5259"/>
                  </a:lnTo>
                  <a:lnTo>
                    <a:pt x="13802" y="5226"/>
                  </a:lnTo>
                  <a:lnTo>
                    <a:pt x="13835" y="5191"/>
                  </a:lnTo>
                  <a:lnTo>
                    <a:pt x="13867" y="5155"/>
                  </a:lnTo>
                  <a:lnTo>
                    <a:pt x="13897" y="5116"/>
                  </a:lnTo>
                  <a:lnTo>
                    <a:pt x="13925" y="5077"/>
                  </a:lnTo>
                  <a:lnTo>
                    <a:pt x="13951" y="5036"/>
                  </a:lnTo>
                  <a:lnTo>
                    <a:pt x="13975" y="4995"/>
                  </a:lnTo>
                  <a:lnTo>
                    <a:pt x="13997" y="4951"/>
                  </a:lnTo>
                  <a:lnTo>
                    <a:pt x="14017" y="4907"/>
                  </a:lnTo>
                  <a:lnTo>
                    <a:pt x="14036" y="4862"/>
                  </a:lnTo>
                  <a:lnTo>
                    <a:pt x="14052" y="4814"/>
                  </a:lnTo>
                  <a:lnTo>
                    <a:pt x="14065" y="4767"/>
                  </a:lnTo>
                  <a:lnTo>
                    <a:pt x="14077" y="4719"/>
                  </a:lnTo>
                  <a:lnTo>
                    <a:pt x="14085" y="4669"/>
                  </a:lnTo>
                  <a:lnTo>
                    <a:pt x="14092" y="4619"/>
                  </a:lnTo>
                  <a:lnTo>
                    <a:pt x="14096" y="4567"/>
                  </a:lnTo>
                  <a:lnTo>
                    <a:pt x="14097" y="4516"/>
                  </a:lnTo>
                  <a:lnTo>
                    <a:pt x="14097" y="4015"/>
                  </a:lnTo>
                  <a:lnTo>
                    <a:pt x="14097" y="3421"/>
                  </a:lnTo>
                  <a:lnTo>
                    <a:pt x="14087" y="3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ïṡľïďè">
              <a:extLst>
                <a:ext uri="{FF2B5EF4-FFF2-40B4-BE49-F238E27FC236}">
                  <a16:creationId xmlns:a16="http://schemas.microsoft.com/office/drawing/2014/main" id="{D363507B-DA39-4C7B-9E74-9FEDB180CE38}"/>
                </a:ext>
              </a:extLst>
            </p:cNvPr>
            <p:cNvSpPr/>
            <p:nvPr/>
          </p:nvSpPr>
          <p:spPr bwMode="auto">
            <a:xfrm>
              <a:off x="1390657" y="269198"/>
              <a:ext cx="76139" cy="287634"/>
            </a:xfrm>
            <a:custGeom>
              <a:avLst/>
              <a:gdLst>
                <a:gd name="T0" fmla="*/ 1510 w 2014"/>
                <a:gd name="T1" fmla="*/ 7025 h 7527"/>
                <a:gd name="T2" fmla="*/ 503 w 2014"/>
                <a:gd name="T3" fmla="*/ 7527 h 7527"/>
                <a:gd name="T4" fmla="*/ 1562 w 2014"/>
                <a:gd name="T5" fmla="*/ 7524 h 7527"/>
                <a:gd name="T6" fmla="*/ 1636 w 2014"/>
                <a:gd name="T7" fmla="*/ 7511 h 7527"/>
                <a:gd name="T8" fmla="*/ 1707 w 2014"/>
                <a:gd name="T9" fmla="*/ 7488 h 7527"/>
                <a:gd name="T10" fmla="*/ 1771 w 2014"/>
                <a:gd name="T11" fmla="*/ 7454 h 7527"/>
                <a:gd name="T12" fmla="*/ 1830 w 2014"/>
                <a:gd name="T13" fmla="*/ 7412 h 7527"/>
                <a:gd name="T14" fmla="*/ 1883 w 2014"/>
                <a:gd name="T15" fmla="*/ 7362 h 7527"/>
                <a:gd name="T16" fmla="*/ 1928 w 2014"/>
                <a:gd name="T17" fmla="*/ 7306 h 7527"/>
                <a:gd name="T18" fmla="*/ 1964 w 2014"/>
                <a:gd name="T19" fmla="*/ 7243 h 7527"/>
                <a:gd name="T20" fmla="*/ 1991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4 w 2014"/>
                <a:gd name="T31" fmla="*/ 306 h 7527"/>
                <a:gd name="T32" fmla="*/ 1941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2 w 2014"/>
                <a:gd name="T39" fmla="*/ 85 h 7527"/>
                <a:gd name="T40" fmla="*/ 1729 w 2014"/>
                <a:gd name="T41" fmla="*/ 49 h 7527"/>
                <a:gd name="T42" fmla="*/ 1660 w 2014"/>
                <a:gd name="T43" fmla="*/ 22 h 7527"/>
                <a:gd name="T44" fmla="*/ 1587 w 2014"/>
                <a:gd name="T45" fmla="*/ 6 h 7527"/>
                <a:gd name="T46" fmla="*/ 1510 w 2014"/>
                <a:gd name="T47" fmla="*/ 0 h 7527"/>
                <a:gd name="T48" fmla="*/ 452 w 2014"/>
                <a:gd name="T49" fmla="*/ 3 h 7527"/>
                <a:gd name="T50" fmla="*/ 377 w 2014"/>
                <a:gd name="T51" fmla="*/ 16 h 7527"/>
                <a:gd name="T52" fmla="*/ 307 w 2014"/>
                <a:gd name="T53" fmla="*/ 39 h 7527"/>
                <a:gd name="T54" fmla="*/ 242 w 2014"/>
                <a:gd name="T55" fmla="*/ 72 h 7527"/>
                <a:gd name="T56" fmla="*/ 183 w 2014"/>
                <a:gd name="T57" fmla="*/ 114 h 7527"/>
                <a:gd name="T58" fmla="*/ 131 w 2014"/>
                <a:gd name="T59" fmla="*/ 164 h 7527"/>
                <a:gd name="T60" fmla="*/ 85 w 2014"/>
                <a:gd name="T61" fmla="*/ 220 h 7527"/>
                <a:gd name="T62" fmla="*/ 49 w 2014"/>
                <a:gd name="T63" fmla="*/ 284 h 7527"/>
                <a:gd name="T64" fmla="*/ 22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39 w 2014"/>
                <a:gd name="T75" fmla="*/ 7221 h 7527"/>
                <a:gd name="T76" fmla="*/ 72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1 w 2014"/>
                <a:gd name="T83" fmla="*/ 7441 h 7527"/>
                <a:gd name="T84" fmla="*/ 285 w 2014"/>
                <a:gd name="T85" fmla="*/ 7478 h 7527"/>
                <a:gd name="T86" fmla="*/ 353 w 2014"/>
                <a:gd name="T87" fmla="*/ 7505 h 7527"/>
                <a:gd name="T88" fmla="*/ 427 w 2014"/>
                <a:gd name="T89" fmla="*/ 7521 h 7527"/>
                <a:gd name="T90" fmla="*/ 503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2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ïśḷiḍé">
              <a:extLst>
                <a:ext uri="{FF2B5EF4-FFF2-40B4-BE49-F238E27FC236}">
                  <a16:creationId xmlns:a16="http://schemas.microsoft.com/office/drawing/2014/main" id="{D568BB84-0CDF-472D-A186-4CC46A3C688A}"/>
                </a:ext>
              </a:extLst>
            </p:cNvPr>
            <p:cNvSpPr/>
            <p:nvPr/>
          </p:nvSpPr>
          <p:spPr bwMode="auto">
            <a:xfrm>
              <a:off x="1504865" y="269198"/>
              <a:ext cx="77549" cy="287634"/>
            </a:xfrm>
            <a:custGeom>
              <a:avLst/>
              <a:gdLst>
                <a:gd name="T0" fmla="*/ 1510 w 2013"/>
                <a:gd name="T1" fmla="*/ 7025 h 7527"/>
                <a:gd name="T2" fmla="*/ 503 w 2013"/>
                <a:gd name="T3" fmla="*/ 7527 h 7527"/>
                <a:gd name="T4" fmla="*/ 1561 w 2013"/>
                <a:gd name="T5" fmla="*/ 7524 h 7527"/>
                <a:gd name="T6" fmla="*/ 1636 w 2013"/>
                <a:gd name="T7" fmla="*/ 7511 h 7527"/>
                <a:gd name="T8" fmla="*/ 1706 w 2013"/>
                <a:gd name="T9" fmla="*/ 7488 h 7527"/>
                <a:gd name="T10" fmla="*/ 1771 w 2013"/>
                <a:gd name="T11" fmla="*/ 7454 h 7527"/>
                <a:gd name="T12" fmla="*/ 1830 w 2013"/>
                <a:gd name="T13" fmla="*/ 7412 h 7527"/>
                <a:gd name="T14" fmla="*/ 1883 w 2013"/>
                <a:gd name="T15" fmla="*/ 7362 h 7527"/>
                <a:gd name="T16" fmla="*/ 1928 w 2013"/>
                <a:gd name="T17" fmla="*/ 7306 h 7527"/>
                <a:gd name="T18" fmla="*/ 1964 w 2013"/>
                <a:gd name="T19" fmla="*/ 7243 h 7527"/>
                <a:gd name="T20" fmla="*/ 1991 w 2013"/>
                <a:gd name="T21" fmla="*/ 7174 h 7527"/>
                <a:gd name="T22" fmla="*/ 2007 w 2013"/>
                <a:gd name="T23" fmla="*/ 7101 h 7527"/>
                <a:gd name="T24" fmla="*/ 2013 w 2013"/>
                <a:gd name="T25" fmla="*/ 7025 h 7527"/>
                <a:gd name="T26" fmla="*/ 2010 w 2013"/>
                <a:gd name="T27" fmla="*/ 450 h 7527"/>
                <a:gd name="T28" fmla="*/ 1997 w 2013"/>
                <a:gd name="T29" fmla="*/ 376 h 7527"/>
                <a:gd name="T30" fmla="*/ 1974 w 2013"/>
                <a:gd name="T31" fmla="*/ 306 h 7527"/>
                <a:gd name="T32" fmla="*/ 1941 w 2013"/>
                <a:gd name="T33" fmla="*/ 241 h 7527"/>
                <a:gd name="T34" fmla="*/ 1899 w 2013"/>
                <a:gd name="T35" fmla="*/ 182 h 7527"/>
                <a:gd name="T36" fmla="*/ 1848 w 2013"/>
                <a:gd name="T37" fmla="*/ 130 h 7527"/>
                <a:gd name="T38" fmla="*/ 1792 w 2013"/>
                <a:gd name="T39" fmla="*/ 85 h 7527"/>
                <a:gd name="T40" fmla="*/ 1728 w 2013"/>
                <a:gd name="T41" fmla="*/ 49 h 7527"/>
                <a:gd name="T42" fmla="*/ 1660 w 2013"/>
                <a:gd name="T43" fmla="*/ 22 h 7527"/>
                <a:gd name="T44" fmla="*/ 1586 w 2013"/>
                <a:gd name="T45" fmla="*/ 6 h 7527"/>
                <a:gd name="T46" fmla="*/ 1510 w 2013"/>
                <a:gd name="T47" fmla="*/ 0 h 7527"/>
                <a:gd name="T48" fmla="*/ 452 w 2013"/>
                <a:gd name="T49" fmla="*/ 3 h 7527"/>
                <a:gd name="T50" fmla="*/ 377 w 2013"/>
                <a:gd name="T51" fmla="*/ 16 h 7527"/>
                <a:gd name="T52" fmla="*/ 307 w 2013"/>
                <a:gd name="T53" fmla="*/ 39 h 7527"/>
                <a:gd name="T54" fmla="*/ 242 w 2013"/>
                <a:gd name="T55" fmla="*/ 72 h 7527"/>
                <a:gd name="T56" fmla="*/ 183 w 2013"/>
                <a:gd name="T57" fmla="*/ 114 h 7527"/>
                <a:gd name="T58" fmla="*/ 130 w 2013"/>
                <a:gd name="T59" fmla="*/ 164 h 7527"/>
                <a:gd name="T60" fmla="*/ 85 w 2013"/>
                <a:gd name="T61" fmla="*/ 220 h 7527"/>
                <a:gd name="T62" fmla="*/ 49 w 2013"/>
                <a:gd name="T63" fmla="*/ 284 h 7527"/>
                <a:gd name="T64" fmla="*/ 23 w 2013"/>
                <a:gd name="T65" fmla="*/ 352 h 7527"/>
                <a:gd name="T66" fmla="*/ 6 w 2013"/>
                <a:gd name="T67" fmla="*/ 425 h 7527"/>
                <a:gd name="T68" fmla="*/ 0 w 2013"/>
                <a:gd name="T69" fmla="*/ 501 h 7527"/>
                <a:gd name="T70" fmla="*/ 3 w 2013"/>
                <a:gd name="T71" fmla="*/ 7076 h 7527"/>
                <a:gd name="T72" fmla="*/ 16 w 2013"/>
                <a:gd name="T73" fmla="*/ 7150 h 7527"/>
                <a:gd name="T74" fmla="*/ 39 w 2013"/>
                <a:gd name="T75" fmla="*/ 7221 h 7527"/>
                <a:gd name="T76" fmla="*/ 72 w 2013"/>
                <a:gd name="T77" fmla="*/ 7285 h 7527"/>
                <a:gd name="T78" fmla="*/ 114 w 2013"/>
                <a:gd name="T79" fmla="*/ 7344 h 7527"/>
                <a:gd name="T80" fmla="*/ 165 w 2013"/>
                <a:gd name="T81" fmla="*/ 7396 h 7527"/>
                <a:gd name="T82" fmla="*/ 221 w 2013"/>
                <a:gd name="T83" fmla="*/ 7441 h 7527"/>
                <a:gd name="T84" fmla="*/ 285 w 2013"/>
                <a:gd name="T85" fmla="*/ 7478 h 7527"/>
                <a:gd name="T86" fmla="*/ 353 w 2013"/>
                <a:gd name="T87" fmla="*/ 7505 h 7527"/>
                <a:gd name="T88" fmla="*/ 427 w 2013"/>
                <a:gd name="T89" fmla="*/ 7521 h 7527"/>
                <a:gd name="T90" fmla="*/ 503 w 2013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3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1" y="7524"/>
                  </a:lnTo>
                  <a:lnTo>
                    <a:pt x="1586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6" y="7488"/>
                  </a:lnTo>
                  <a:lnTo>
                    <a:pt x="1728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8" y="7396"/>
                  </a:lnTo>
                  <a:lnTo>
                    <a:pt x="1866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7" y="7150"/>
                  </a:lnTo>
                  <a:lnTo>
                    <a:pt x="2003" y="7126"/>
                  </a:lnTo>
                  <a:lnTo>
                    <a:pt x="2007" y="7101"/>
                  </a:lnTo>
                  <a:lnTo>
                    <a:pt x="2010" y="7076"/>
                  </a:lnTo>
                  <a:lnTo>
                    <a:pt x="2012" y="7051"/>
                  </a:lnTo>
                  <a:lnTo>
                    <a:pt x="2013" y="7025"/>
                  </a:lnTo>
                  <a:lnTo>
                    <a:pt x="2013" y="501"/>
                  </a:lnTo>
                  <a:lnTo>
                    <a:pt x="2012" y="475"/>
                  </a:lnTo>
                  <a:lnTo>
                    <a:pt x="2010" y="450"/>
                  </a:lnTo>
                  <a:lnTo>
                    <a:pt x="2007" y="425"/>
                  </a:lnTo>
                  <a:lnTo>
                    <a:pt x="2003" y="400"/>
                  </a:lnTo>
                  <a:lnTo>
                    <a:pt x="1997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6" y="146"/>
                  </a:lnTo>
                  <a:lnTo>
                    <a:pt x="1848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8" y="49"/>
                  </a:lnTo>
                  <a:lnTo>
                    <a:pt x="1706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6" y="6"/>
                  </a:lnTo>
                  <a:lnTo>
                    <a:pt x="1561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0" y="164"/>
                  </a:lnTo>
                  <a:lnTo>
                    <a:pt x="114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4" y="7344"/>
                  </a:lnTo>
                  <a:lnTo>
                    <a:pt x="130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3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1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" name="íṡ1ïḑe">
              <a:extLst>
                <a:ext uri="{FF2B5EF4-FFF2-40B4-BE49-F238E27FC236}">
                  <a16:creationId xmlns:a16="http://schemas.microsoft.com/office/drawing/2014/main" id="{F5FFB133-8F53-4271-BAB1-2C1A70422157}"/>
                </a:ext>
              </a:extLst>
            </p:cNvPr>
            <p:cNvSpPr/>
            <p:nvPr/>
          </p:nvSpPr>
          <p:spPr bwMode="auto">
            <a:xfrm>
              <a:off x="1620483" y="269198"/>
              <a:ext cx="76139" cy="287634"/>
            </a:xfrm>
            <a:custGeom>
              <a:avLst/>
              <a:gdLst>
                <a:gd name="T0" fmla="*/ 1511 w 2014"/>
                <a:gd name="T1" fmla="*/ 7025 h 7527"/>
                <a:gd name="T2" fmla="*/ 504 w 2014"/>
                <a:gd name="T3" fmla="*/ 7527 h 7527"/>
                <a:gd name="T4" fmla="*/ 1562 w 2014"/>
                <a:gd name="T5" fmla="*/ 7524 h 7527"/>
                <a:gd name="T6" fmla="*/ 1637 w 2014"/>
                <a:gd name="T7" fmla="*/ 7511 h 7527"/>
                <a:gd name="T8" fmla="*/ 1707 w 2014"/>
                <a:gd name="T9" fmla="*/ 7488 h 7527"/>
                <a:gd name="T10" fmla="*/ 1772 w 2014"/>
                <a:gd name="T11" fmla="*/ 7454 h 7527"/>
                <a:gd name="T12" fmla="*/ 1831 w 2014"/>
                <a:gd name="T13" fmla="*/ 7412 h 7527"/>
                <a:gd name="T14" fmla="*/ 1883 w 2014"/>
                <a:gd name="T15" fmla="*/ 7362 h 7527"/>
                <a:gd name="T16" fmla="*/ 1929 w 2014"/>
                <a:gd name="T17" fmla="*/ 7306 h 7527"/>
                <a:gd name="T18" fmla="*/ 1965 w 2014"/>
                <a:gd name="T19" fmla="*/ 7243 h 7527"/>
                <a:gd name="T20" fmla="*/ 1992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5 w 2014"/>
                <a:gd name="T31" fmla="*/ 306 h 7527"/>
                <a:gd name="T32" fmla="*/ 1942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3 w 2014"/>
                <a:gd name="T39" fmla="*/ 85 h 7527"/>
                <a:gd name="T40" fmla="*/ 1729 w 2014"/>
                <a:gd name="T41" fmla="*/ 49 h 7527"/>
                <a:gd name="T42" fmla="*/ 1661 w 2014"/>
                <a:gd name="T43" fmla="*/ 22 h 7527"/>
                <a:gd name="T44" fmla="*/ 1587 w 2014"/>
                <a:gd name="T45" fmla="*/ 6 h 7527"/>
                <a:gd name="T46" fmla="*/ 1511 w 2014"/>
                <a:gd name="T47" fmla="*/ 0 h 7527"/>
                <a:gd name="T48" fmla="*/ 452 w 2014"/>
                <a:gd name="T49" fmla="*/ 3 h 7527"/>
                <a:gd name="T50" fmla="*/ 378 w 2014"/>
                <a:gd name="T51" fmla="*/ 16 h 7527"/>
                <a:gd name="T52" fmla="*/ 307 w 2014"/>
                <a:gd name="T53" fmla="*/ 39 h 7527"/>
                <a:gd name="T54" fmla="*/ 243 w 2014"/>
                <a:gd name="T55" fmla="*/ 72 h 7527"/>
                <a:gd name="T56" fmla="*/ 184 w 2014"/>
                <a:gd name="T57" fmla="*/ 114 h 7527"/>
                <a:gd name="T58" fmla="*/ 131 w 2014"/>
                <a:gd name="T59" fmla="*/ 164 h 7527"/>
                <a:gd name="T60" fmla="*/ 86 w 2014"/>
                <a:gd name="T61" fmla="*/ 220 h 7527"/>
                <a:gd name="T62" fmla="*/ 50 w 2014"/>
                <a:gd name="T63" fmla="*/ 284 h 7527"/>
                <a:gd name="T64" fmla="*/ 23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40 w 2014"/>
                <a:gd name="T75" fmla="*/ 7221 h 7527"/>
                <a:gd name="T76" fmla="*/ 73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2 w 2014"/>
                <a:gd name="T83" fmla="*/ 7441 h 7527"/>
                <a:gd name="T84" fmla="*/ 285 w 2014"/>
                <a:gd name="T85" fmla="*/ 7478 h 7527"/>
                <a:gd name="T86" fmla="*/ 354 w 2014"/>
                <a:gd name="T87" fmla="*/ 7505 h 7527"/>
                <a:gd name="T88" fmla="*/ 427 w 2014"/>
                <a:gd name="T89" fmla="*/ 7521 h 7527"/>
                <a:gd name="T90" fmla="*/ 504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4" y="501"/>
                  </a:moveTo>
                  <a:lnTo>
                    <a:pt x="1511" y="501"/>
                  </a:lnTo>
                  <a:lnTo>
                    <a:pt x="1511" y="7025"/>
                  </a:lnTo>
                  <a:lnTo>
                    <a:pt x="504" y="7025"/>
                  </a:lnTo>
                  <a:lnTo>
                    <a:pt x="504" y="501"/>
                  </a:lnTo>
                  <a:close/>
                  <a:moveTo>
                    <a:pt x="504" y="7527"/>
                  </a:moveTo>
                  <a:lnTo>
                    <a:pt x="1511" y="7527"/>
                  </a:lnTo>
                  <a:lnTo>
                    <a:pt x="1537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7" y="7511"/>
                  </a:lnTo>
                  <a:lnTo>
                    <a:pt x="1661" y="7505"/>
                  </a:lnTo>
                  <a:lnTo>
                    <a:pt x="1684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1" y="7467"/>
                  </a:lnTo>
                  <a:lnTo>
                    <a:pt x="1772" y="7454"/>
                  </a:lnTo>
                  <a:lnTo>
                    <a:pt x="1793" y="7441"/>
                  </a:lnTo>
                  <a:lnTo>
                    <a:pt x="1812" y="7427"/>
                  </a:lnTo>
                  <a:lnTo>
                    <a:pt x="1831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5" y="7325"/>
                  </a:lnTo>
                  <a:lnTo>
                    <a:pt x="1929" y="7306"/>
                  </a:lnTo>
                  <a:lnTo>
                    <a:pt x="1942" y="7285"/>
                  </a:lnTo>
                  <a:lnTo>
                    <a:pt x="1954" y="7264"/>
                  </a:lnTo>
                  <a:lnTo>
                    <a:pt x="1965" y="7243"/>
                  </a:lnTo>
                  <a:lnTo>
                    <a:pt x="1975" y="7221"/>
                  </a:lnTo>
                  <a:lnTo>
                    <a:pt x="1984" y="7198"/>
                  </a:lnTo>
                  <a:lnTo>
                    <a:pt x="1992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2" y="352"/>
                  </a:lnTo>
                  <a:lnTo>
                    <a:pt x="1984" y="329"/>
                  </a:lnTo>
                  <a:lnTo>
                    <a:pt x="1975" y="306"/>
                  </a:lnTo>
                  <a:lnTo>
                    <a:pt x="1965" y="284"/>
                  </a:lnTo>
                  <a:lnTo>
                    <a:pt x="1954" y="263"/>
                  </a:lnTo>
                  <a:lnTo>
                    <a:pt x="1942" y="241"/>
                  </a:lnTo>
                  <a:lnTo>
                    <a:pt x="1929" y="220"/>
                  </a:lnTo>
                  <a:lnTo>
                    <a:pt x="1915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1" y="114"/>
                  </a:lnTo>
                  <a:lnTo>
                    <a:pt x="1812" y="99"/>
                  </a:lnTo>
                  <a:lnTo>
                    <a:pt x="1793" y="85"/>
                  </a:lnTo>
                  <a:lnTo>
                    <a:pt x="1772" y="72"/>
                  </a:lnTo>
                  <a:lnTo>
                    <a:pt x="1751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4" y="30"/>
                  </a:lnTo>
                  <a:lnTo>
                    <a:pt x="1661" y="22"/>
                  </a:lnTo>
                  <a:lnTo>
                    <a:pt x="1637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7" y="1"/>
                  </a:lnTo>
                  <a:lnTo>
                    <a:pt x="1511" y="0"/>
                  </a:lnTo>
                  <a:lnTo>
                    <a:pt x="504" y="0"/>
                  </a:lnTo>
                  <a:lnTo>
                    <a:pt x="478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8" y="16"/>
                  </a:lnTo>
                  <a:lnTo>
                    <a:pt x="354" y="22"/>
                  </a:lnTo>
                  <a:lnTo>
                    <a:pt x="331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2" y="85"/>
                  </a:lnTo>
                  <a:lnTo>
                    <a:pt x="203" y="99"/>
                  </a:lnTo>
                  <a:lnTo>
                    <a:pt x="184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100" y="201"/>
                  </a:lnTo>
                  <a:lnTo>
                    <a:pt x="86" y="220"/>
                  </a:lnTo>
                  <a:lnTo>
                    <a:pt x="73" y="241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1" y="7198"/>
                  </a:lnTo>
                  <a:lnTo>
                    <a:pt x="40" y="7221"/>
                  </a:lnTo>
                  <a:lnTo>
                    <a:pt x="50" y="7243"/>
                  </a:lnTo>
                  <a:lnTo>
                    <a:pt x="61" y="7264"/>
                  </a:lnTo>
                  <a:lnTo>
                    <a:pt x="73" y="7285"/>
                  </a:lnTo>
                  <a:lnTo>
                    <a:pt x="86" y="7306"/>
                  </a:lnTo>
                  <a:lnTo>
                    <a:pt x="100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4" y="7412"/>
                  </a:lnTo>
                  <a:lnTo>
                    <a:pt x="203" y="7427"/>
                  </a:lnTo>
                  <a:lnTo>
                    <a:pt x="222" y="7441"/>
                  </a:lnTo>
                  <a:lnTo>
                    <a:pt x="243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1" y="7497"/>
                  </a:lnTo>
                  <a:lnTo>
                    <a:pt x="354" y="7505"/>
                  </a:lnTo>
                  <a:lnTo>
                    <a:pt x="378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8" y="7526"/>
                  </a:lnTo>
                  <a:lnTo>
                    <a:pt x="504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" name="íṧḻïdè">
              <a:extLst>
                <a:ext uri="{FF2B5EF4-FFF2-40B4-BE49-F238E27FC236}">
                  <a16:creationId xmlns:a16="http://schemas.microsoft.com/office/drawing/2014/main" id="{B1F823D7-728A-404E-B4EE-CC6F243A3ADB}"/>
                </a:ext>
              </a:extLst>
            </p:cNvPr>
            <p:cNvSpPr/>
            <p:nvPr/>
          </p:nvSpPr>
          <p:spPr bwMode="auto">
            <a:xfrm>
              <a:off x="738227" y="505408"/>
              <a:ext cx="246409" cy="168804"/>
            </a:xfrm>
            <a:custGeom>
              <a:avLst/>
              <a:gdLst>
                <a:gd name="T0" fmla="*/ 12071 w 16095"/>
                <a:gd name="T1" fmla="*/ 4009 h 11026"/>
                <a:gd name="T2" fmla="*/ 1458 w 16095"/>
                <a:gd name="T3" fmla="*/ 10021 h 11026"/>
                <a:gd name="T4" fmla="*/ 1291 w 16095"/>
                <a:gd name="T5" fmla="*/ 9975 h 11026"/>
                <a:gd name="T6" fmla="*/ 1153 w 16095"/>
                <a:gd name="T7" fmla="*/ 9876 h 11026"/>
                <a:gd name="T8" fmla="*/ 1055 w 16095"/>
                <a:gd name="T9" fmla="*/ 9739 h 11026"/>
                <a:gd name="T10" fmla="*/ 1009 w 16095"/>
                <a:gd name="T11" fmla="*/ 9574 h 11026"/>
                <a:gd name="T12" fmla="*/ 1016 w 16095"/>
                <a:gd name="T13" fmla="*/ 1402 h 11026"/>
                <a:gd name="T14" fmla="*/ 1078 w 16095"/>
                <a:gd name="T15" fmla="*/ 1244 h 11026"/>
                <a:gd name="T16" fmla="*/ 1189 w 16095"/>
                <a:gd name="T17" fmla="*/ 1117 h 11026"/>
                <a:gd name="T18" fmla="*/ 1336 w 16095"/>
                <a:gd name="T19" fmla="*/ 1032 h 11026"/>
                <a:gd name="T20" fmla="*/ 1509 w 16095"/>
                <a:gd name="T21" fmla="*/ 1002 h 11026"/>
                <a:gd name="T22" fmla="*/ 11214 w 16095"/>
                <a:gd name="T23" fmla="*/ 1024 h 11026"/>
                <a:gd name="T24" fmla="*/ 11366 w 16095"/>
                <a:gd name="T25" fmla="*/ 1102 h 11026"/>
                <a:gd name="T26" fmla="*/ 11482 w 16095"/>
                <a:gd name="T27" fmla="*/ 1223 h 11026"/>
                <a:gd name="T28" fmla="*/ 11552 w 16095"/>
                <a:gd name="T29" fmla="*/ 1378 h 11026"/>
                <a:gd name="T30" fmla="*/ 11567 w 16095"/>
                <a:gd name="T31" fmla="*/ 9549 h 11026"/>
                <a:gd name="T32" fmla="*/ 11529 w 16095"/>
                <a:gd name="T33" fmla="*/ 9717 h 11026"/>
                <a:gd name="T34" fmla="*/ 11438 w 16095"/>
                <a:gd name="T35" fmla="*/ 9859 h 11026"/>
                <a:gd name="T36" fmla="*/ 11305 w 16095"/>
                <a:gd name="T37" fmla="*/ 9962 h 11026"/>
                <a:gd name="T38" fmla="*/ 11142 w 16095"/>
                <a:gd name="T39" fmla="*/ 10018 h 11026"/>
                <a:gd name="T40" fmla="*/ 14618 w 16095"/>
                <a:gd name="T41" fmla="*/ 501 h 11026"/>
                <a:gd name="T42" fmla="*/ 14447 w 16095"/>
                <a:gd name="T43" fmla="*/ 520 h 11026"/>
                <a:gd name="T44" fmla="*/ 14284 w 16095"/>
                <a:gd name="T45" fmla="*/ 567 h 11026"/>
                <a:gd name="T46" fmla="*/ 14131 w 16095"/>
                <a:gd name="T47" fmla="*/ 641 h 11026"/>
                <a:gd name="T48" fmla="*/ 13992 w 16095"/>
                <a:gd name="T49" fmla="*/ 740 h 11026"/>
                <a:gd name="T50" fmla="*/ 12566 w 16095"/>
                <a:gd name="T51" fmla="*/ 1349 h 11026"/>
                <a:gd name="T52" fmla="*/ 12425 w 16095"/>
                <a:gd name="T53" fmla="*/ 851 h 11026"/>
                <a:gd name="T54" fmla="*/ 12132 w 16095"/>
                <a:gd name="T55" fmla="*/ 440 h 11026"/>
                <a:gd name="T56" fmla="*/ 11719 w 16095"/>
                <a:gd name="T57" fmla="*/ 148 h 11026"/>
                <a:gd name="T58" fmla="*/ 11219 w 16095"/>
                <a:gd name="T59" fmla="*/ 8 h 11026"/>
                <a:gd name="T60" fmla="*/ 1205 w 16095"/>
                <a:gd name="T61" fmla="*/ 31 h 11026"/>
                <a:gd name="T62" fmla="*/ 727 w 16095"/>
                <a:gd name="T63" fmla="*/ 218 h 11026"/>
                <a:gd name="T64" fmla="*/ 345 w 16095"/>
                <a:gd name="T65" fmla="*/ 547 h 11026"/>
                <a:gd name="T66" fmla="*/ 92 w 16095"/>
                <a:gd name="T67" fmla="*/ 987 h 11026"/>
                <a:gd name="T68" fmla="*/ 0 w 16095"/>
                <a:gd name="T69" fmla="*/ 1504 h 11026"/>
                <a:gd name="T70" fmla="*/ 47 w 16095"/>
                <a:gd name="T71" fmla="*/ 9898 h 11026"/>
                <a:gd name="T72" fmla="*/ 258 w 16095"/>
                <a:gd name="T73" fmla="*/ 10363 h 11026"/>
                <a:gd name="T74" fmla="*/ 606 w 16095"/>
                <a:gd name="T75" fmla="*/ 10727 h 11026"/>
                <a:gd name="T76" fmla="*/ 1060 w 16095"/>
                <a:gd name="T77" fmla="*/ 10959 h 11026"/>
                <a:gd name="T78" fmla="*/ 11065 w 16095"/>
                <a:gd name="T79" fmla="*/ 11026 h 11026"/>
                <a:gd name="T80" fmla="*/ 11584 w 16095"/>
                <a:gd name="T81" fmla="*/ 10935 h 11026"/>
                <a:gd name="T82" fmla="*/ 12025 w 16095"/>
                <a:gd name="T83" fmla="*/ 10682 h 11026"/>
                <a:gd name="T84" fmla="*/ 12356 w 16095"/>
                <a:gd name="T85" fmla="*/ 10302 h 11026"/>
                <a:gd name="T86" fmla="*/ 12543 w 16095"/>
                <a:gd name="T87" fmla="*/ 9825 h 11026"/>
                <a:gd name="T88" fmla="*/ 13954 w 16095"/>
                <a:gd name="T89" fmla="*/ 10267 h 11026"/>
                <a:gd name="T90" fmla="*/ 14089 w 16095"/>
                <a:gd name="T91" fmla="*/ 10373 h 11026"/>
                <a:gd name="T92" fmla="*/ 14239 w 16095"/>
                <a:gd name="T93" fmla="*/ 10455 h 11026"/>
                <a:gd name="T94" fmla="*/ 14400 w 16095"/>
                <a:gd name="T95" fmla="*/ 10509 h 11026"/>
                <a:gd name="T96" fmla="*/ 14569 w 16095"/>
                <a:gd name="T97" fmla="*/ 10536 h 11026"/>
                <a:gd name="T98" fmla="*/ 15242 w 16095"/>
                <a:gd name="T99" fmla="*/ 10527 h 11026"/>
                <a:gd name="T100" fmla="*/ 15569 w 16095"/>
                <a:gd name="T101" fmla="*/ 10418 h 11026"/>
                <a:gd name="T102" fmla="*/ 15833 w 16095"/>
                <a:gd name="T103" fmla="*/ 10210 h 11026"/>
                <a:gd name="T104" fmla="*/ 16016 w 16095"/>
                <a:gd name="T105" fmla="*/ 9926 h 11026"/>
                <a:gd name="T106" fmla="*/ 16094 w 16095"/>
                <a:gd name="T107" fmla="*/ 9588 h 11026"/>
                <a:gd name="T108" fmla="*/ 16063 w 16095"/>
                <a:gd name="T109" fmla="*/ 1253 h 11026"/>
                <a:gd name="T110" fmla="*/ 15923 w 16095"/>
                <a:gd name="T111" fmla="*/ 943 h 11026"/>
                <a:gd name="T112" fmla="*/ 15691 w 16095"/>
                <a:gd name="T113" fmla="*/ 701 h 11026"/>
                <a:gd name="T114" fmla="*/ 15388 w 16095"/>
                <a:gd name="T115" fmla="*/ 546 h 1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1026">
                  <a:moveTo>
                    <a:pt x="15089" y="9536"/>
                  </a:moveTo>
                  <a:lnTo>
                    <a:pt x="14642" y="9536"/>
                  </a:lnTo>
                  <a:lnTo>
                    <a:pt x="14586" y="9536"/>
                  </a:lnTo>
                  <a:lnTo>
                    <a:pt x="12574" y="7532"/>
                  </a:lnTo>
                  <a:lnTo>
                    <a:pt x="12574" y="7518"/>
                  </a:lnTo>
                  <a:lnTo>
                    <a:pt x="12071" y="7017"/>
                  </a:lnTo>
                  <a:lnTo>
                    <a:pt x="12071" y="4009"/>
                  </a:lnTo>
                  <a:lnTo>
                    <a:pt x="14586" y="1504"/>
                  </a:lnTo>
                  <a:lnTo>
                    <a:pt x="14642" y="1504"/>
                  </a:lnTo>
                  <a:lnTo>
                    <a:pt x="15089" y="1504"/>
                  </a:lnTo>
                  <a:lnTo>
                    <a:pt x="15089" y="9536"/>
                  </a:lnTo>
                  <a:close/>
                  <a:moveTo>
                    <a:pt x="1509" y="10024"/>
                  </a:moveTo>
                  <a:lnTo>
                    <a:pt x="1483" y="10023"/>
                  </a:lnTo>
                  <a:lnTo>
                    <a:pt x="1458" y="10021"/>
                  </a:lnTo>
                  <a:lnTo>
                    <a:pt x="1432" y="10018"/>
                  </a:lnTo>
                  <a:lnTo>
                    <a:pt x="1407" y="10014"/>
                  </a:lnTo>
                  <a:lnTo>
                    <a:pt x="1383" y="10008"/>
                  </a:lnTo>
                  <a:lnTo>
                    <a:pt x="1359" y="10001"/>
                  </a:lnTo>
                  <a:lnTo>
                    <a:pt x="1336" y="9993"/>
                  </a:lnTo>
                  <a:lnTo>
                    <a:pt x="1313" y="9985"/>
                  </a:lnTo>
                  <a:lnTo>
                    <a:pt x="1291" y="9975"/>
                  </a:lnTo>
                  <a:lnTo>
                    <a:pt x="1268" y="9962"/>
                  </a:lnTo>
                  <a:lnTo>
                    <a:pt x="1248" y="9950"/>
                  </a:lnTo>
                  <a:lnTo>
                    <a:pt x="1227" y="9937"/>
                  </a:lnTo>
                  <a:lnTo>
                    <a:pt x="1208" y="9923"/>
                  </a:lnTo>
                  <a:lnTo>
                    <a:pt x="1189" y="9909"/>
                  </a:lnTo>
                  <a:lnTo>
                    <a:pt x="1171" y="9893"/>
                  </a:lnTo>
                  <a:lnTo>
                    <a:pt x="1153" y="9876"/>
                  </a:lnTo>
                  <a:lnTo>
                    <a:pt x="1137" y="9859"/>
                  </a:lnTo>
                  <a:lnTo>
                    <a:pt x="1121" y="9841"/>
                  </a:lnTo>
                  <a:lnTo>
                    <a:pt x="1106" y="9822"/>
                  </a:lnTo>
                  <a:lnTo>
                    <a:pt x="1091" y="9802"/>
                  </a:lnTo>
                  <a:lnTo>
                    <a:pt x="1078" y="9782"/>
                  </a:lnTo>
                  <a:lnTo>
                    <a:pt x="1066" y="9761"/>
                  </a:lnTo>
                  <a:lnTo>
                    <a:pt x="1055" y="9739"/>
                  </a:lnTo>
                  <a:lnTo>
                    <a:pt x="1045" y="9717"/>
                  </a:lnTo>
                  <a:lnTo>
                    <a:pt x="1036" y="9695"/>
                  </a:lnTo>
                  <a:lnTo>
                    <a:pt x="1028" y="9671"/>
                  </a:lnTo>
                  <a:lnTo>
                    <a:pt x="1022" y="9648"/>
                  </a:lnTo>
                  <a:lnTo>
                    <a:pt x="1016" y="9624"/>
                  </a:lnTo>
                  <a:lnTo>
                    <a:pt x="1012" y="9599"/>
                  </a:lnTo>
                  <a:lnTo>
                    <a:pt x="1009" y="9574"/>
                  </a:lnTo>
                  <a:lnTo>
                    <a:pt x="1007" y="9549"/>
                  </a:lnTo>
                  <a:lnTo>
                    <a:pt x="1006" y="9522"/>
                  </a:lnTo>
                  <a:lnTo>
                    <a:pt x="1006" y="1504"/>
                  </a:lnTo>
                  <a:lnTo>
                    <a:pt x="1007" y="1477"/>
                  </a:lnTo>
                  <a:lnTo>
                    <a:pt x="1009" y="1452"/>
                  </a:lnTo>
                  <a:lnTo>
                    <a:pt x="1012" y="1427"/>
                  </a:lnTo>
                  <a:lnTo>
                    <a:pt x="1016" y="1402"/>
                  </a:lnTo>
                  <a:lnTo>
                    <a:pt x="1022" y="1378"/>
                  </a:lnTo>
                  <a:lnTo>
                    <a:pt x="1028" y="1354"/>
                  </a:lnTo>
                  <a:lnTo>
                    <a:pt x="1036" y="1331"/>
                  </a:lnTo>
                  <a:lnTo>
                    <a:pt x="1045" y="1308"/>
                  </a:lnTo>
                  <a:lnTo>
                    <a:pt x="1055" y="1286"/>
                  </a:lnTo>
                  <a:lnTo>
                    <a:pt x="1066" y="1264"/>
                  </a:lnTo>
                  <a:lnTo>
                    <a:pt x="1078" y="1244"/>
                  </a:lnTo>
                  <a:lnTo>
                    <a:pt x="1091" y="1223"/>
                  </a:lnTo>
                  <a:lnTo>
                    <a:pt x="1106" y="1204"/>
                  </a:lnTo>
                  <a:lnTo>
                    <a:pt x="1121" y="1185"/>
                  </a:lnTo>
                  <a:lnTo>
                    <a:pt x="1137" y="1167"/>
                  </a:lnTo>
                  <a:lnTo>
                    <a:pt x="1153" y="1149"/>
                  </a:lnTo>
                  <a:lnTo>
                    <a:pt x="1171" y="1133"/>
                  </a:lnTo>
                  <a:lnTo>
                    <a:pt x="1189" y="1117"/>
                  </a:lnTo>
                  <a:lnTo>
                    <a:pt x="1208" y="1102"/>
                  </a:lnTo>
                  <a:lnTo>
                    <a:pt x="1227" y="1088"/>
                  </a:lnTo>
                  <a:lnTo>
                    <a:pt x="1248" y="1075"/>
                  </a:lnTo>
                  <a:lnTo>
                    <a:pt x="1268" y="1063"/>
                  </a:lnTo>
                  <a:lnTo>
                    <a:pt x="1291" y="1051"/>
                  </a:lnTo>
                  <a:lnTo>
                    <a:pt x="1313" y="1041"/>
                  </a:lnTo>
                  <a:lnTo>
                    <a:pt x="1336" y="1032"/>
                  </a:lnTo>
                  <a:lnTo>
                    <a:pt x="1359" y="1024"/>
                  </a:lnTo>
                  <a:lnTo>
                    <a:pt x="1383" y="1018"/>
                  </a:lnTo>
                  <a:lnTo>
                    <a:pt x="1407" y="1012"/>
                  </a:lnTo>
                  <a:lnTo>
                    <a:pt x="1432" y="1008"/>
                  </a:lnTo>
                  <a:lnTo>
                    <a:pt x="1458" y="1005"/>
                  </a:lnTo>
                  <a:lnTo>
                    <a:pt x="1483" y="1003"/>
                  </a:lnTo>
                  <a:lnTo>
                    <a:pt x="1509" y="1002"/>
                  </a:lnTo>
                  <a:lnTo>
                    <a:pt x="11065" y="1002"/>
                  </a:lnTo>
                  <a:lnTo>
                    <a:pt x="11091" y="1003"/>
                  </a:lnTo>
                  <a:lnTo>
                    <a:pt x="11117" y="1005"/>
                  </a:lnTo>
                  <a:lnTo>
                    <a:pt x="11142" y="1008"/>
                  </a:lnTo>
                  <a:lnTo>
                    <a:pt x="11167" y="1012"/>
                  </a:lnTo>
                  <a:lnTo>
                    <a:pt x="11191" y="1018"/>
                  </a:lnTo>
                  <a:lnTo>
                    <a:pt x="11214" y="1024"/>
                  </a:lnTo>
                  <a:lnTo>
                    <a:pt x="11238" y="1032"/>
                  </a:lnTo>
                  <a:lnTo>
                    <a:pt x="11260" y="1041"/>
                  </a:lnTo>
                  <a:lnTo>
                    <a:pt x="11283" y="1051"/>
                  </a:lnTo>
                  <a:lnTo>
                    <a:pt x="11305" y="1063"/>
                  </a:lnTo>
                  <a:lnTo>
                    <a:pt x="11326" y="1075"/>
                  </a:lnTo>
                  <a:lnTo>
                    <a:pt x="11346" y="1088"/>
                  </a:lnTo>
                  <a:lnTo>
                    <a:pt x="11366" y="1102"/>
                  </a:lnTo>
                  <a:lnTo>
                    <a:pt x="11385" y="1117"/>
                  </a:lnTo>
                  <a:lnTo>
                    <a:pt x="11403" y="1133"/>
                  </a:lnTo>
                  <a:lnTo>
                    <a:pt x="11420" y="1149"/>
                  </a:lnTo>
                  <a:lnTo>
                    <a:pt x="11438" y="1167"/>
                  </a:lnTo>
                  <a:lnTo>
                    <a:pt x="11454" y="1185"/>
                  </a:lnTo>
                  <a:lnTo>
                    <a:pt x="11468" y="1204"/>
                  </a:lnTo>
                  <a:lnTo>
                    <a:pt x="11482" y="1223"/>
                  </a:lnTo>
                  <a:lnTo>
                    <a:pt x="11496" y="1244"/>
                  </a:lnTo>
                  <a:lnTo>
                    <a:pt x="11508" y="1265"/>
                  </a:lnTo>
                  <a:lnTo>
                    <a:pt x="11519" y="1286"/>
                  </a:lnTo>
                  <a:lnTo>
                    <a:pt x="11529" y="1308"/>
                  </a:lnTo>
                  <a:lnTo>
                    <a:pt x="11538" y="1331"/>
                  </a:lnTo>
                  <a:lnTo>
                    <a:pt x="11545" y="1354"/>
                  </a:lnTo>
                  <a:lnTo>
                    <a:pt x="11552" y="1378"/>
                  </a:lnTo>
                  <a:lnTo>
                    <a:pt x="11558" y="1402"/>
                  </a:lnTo>
                  <a:lnTo>
                    <a:pt x="11562" y="1427"/>
                  </a:lnTo>
                  <a:lnTo>
                    <a:pt x="11565" y="1452"/>
                  </a:lnTo>
                  <a:lnTo>
                    <a:pt x="11567" y="1477"/>
                  </a:lnTo>
                  <a:lnTo>
                    <a:pt x="11568" y="1504"/>
                  </a:lnTo>
                  <a:lnTo>
                    <a:pt x="11568" y="9522"/>
                  </a:lnTo>
                  <a:lnTo>
                    <a:pt x="11567" y="9549"/>
                  </a:lnTo>
                  <a:lnTo>
                    <a:pt x="11565" y="9574"/>
                  </a:lnTo>
                  <a:lnTo>
                    <a:pt x="11562" y="9599"/>
                  </a:lnTo>
                  <a:lnTo>
                    <a:pt x="11558" y="9624"/>
                  </a:lnTo>
                  <a:lnTo>
                    <a:pt x="11552" y="9648"/>
                  </a:lnTo>
                  <a:lnTo>
                    <a:pt x="11545" y="9671"/>
                  </a:lnTo>
                  <a:lnTo>
                    <a:pt x="11538" y="9695"/>
                  </a:lnTo>
                  <a:lnTo>
                    <a:pt x="11529" y="9717"/>
                  </a:lnTo>
                  <a:lnTo>
                    <a:pt x="11519" y="9739"/>
                  </a:lnTo>
                  <a:lnTo>
                    <a:pt x="11508" y="9761"/>
                  </a:lnTo>
                  <a:lnTo>
                    <a:pt x="11496" y="9782"/>
                  </a:lnTo>
                  <a:lnTo>
                    <a:pt x="11482" y="9802"/>
                  </a:lnTo>
                  <a:lnTo>
                    <a:pt x="11468" y="9822"/>
                  </a:lnTo>
                  <a:lnTo>
                    <a:pt x="11454" y="9841"/>
                  </a:lnTo>
                  <a:lnTo>
                    <a:pt x="11438" y="9859"/>
                  </a:lnTo>
                  <a:lnTo>
                    <a:pt x="11420" y="9876"/>
                  </a:lnTo>
                  <a:lnTo>
                    <a:pt x="11403" y="9893"/>
                  </a:lnTo>
                  <a:lnTo>
                    <a:pt x="11385" y="9909"/>
                  </a:lnTo>
                  <a:lnTo>
                    <a:pt x="11366" y="9923"/>
                  </a:lnTo>
                  <a:lnTo>
                    <a:pt x="11346" y="9937"/>
                  </a:lnTo>
                  <a:lnTo>
                    <a:pt x="11326" y="9950"/>
                  </a:lnTo>
                  <a:lnTo>
                    <a:pt x="11305" y="9962"/>
                  </a:lnTo>
                  <a:lnTo>
                    <a:pt x="11283" y="9975"/>
                  </a:lnTo>
                  <a:lnTo>
                    <a:pt x="11260" y="9985"/>
                  </a:lnTo>
                  <a:lnTo>
                    <a:pt x="11238" y="9993"/>
                  </a:lnTo>
                  <a:lnTo>
                    <a:pt x="11214" y="10001"/>
                  </a:lnTo>
                  <a:lnTo>
                    <a:pt x="11191" y="10008"/>
                  </a:lnTo>
                  <a:lnTo>
                    <a:pt x="11167" y="10014"/>
                  </a:lnTo>
                  <a:lnTo>
                    <a:pt x="11142" y="10018"/>
                  </a:lnTo>
                  <a:lnTo>
                    <a:pt x="11117" y="10021"/>
                  </a:lnTo>
                  <a:lnTo>
                    <a:pt x="11091" y="10023"/>
                  </a:lnTo>
                  <a:lnTo>
                    <a:pt x="11065" y="10024"/>
                  </a:lnTo>
                  <a:lnTo>
                    <a:pt x="1509" y="10024"/>
                  </a:lnTo>
                  <a:close/>
                  <a:moveTo>
                    <a:pt x="15089" y="501"/>
                  </a:moveTo>
                  <a:lnTo>
                    <a:pt x="14642" y="501"/>
                  </a:lnTo>
                  <a:lnTo>
                    <a:pt x="14618" y="501"/>
                  </a:lnTo>
                  <a:lnTo>
                    <a:pt x="14593" y="502"/>
                  </a:lnTo>
                  <a:lnTo>
                    <a:pt x="14569" y="504"/>
                  </a:lnTo>
                  <a:lnTo>
                    <a:pt x="14545" y="506"/>
                  </a:lnTo>
                  <a:lnTo>
                    <a:pt x="14520" y="509"/>
                  </a:lnTo>
                  <a:lnTo>
                    <a:pt x="14496" y="512"/>
                  </a:lnTo>
                  <a:lnTo>
                    <a:pt x="14471" y="516"/>
                  </a:lnTo>
                  <a:lnTo>
                    <a:pt x="14447" y="520"/>
                  </a:lnTo>
                  <a:lnTo>
                    <a:pt x="14424" y="525"/>
                  </a:lnTo>
                  <a:lnTo>
                    <a:pt x="14400" y="531"/>
                  </a:lnTo>
                  <a:lnTo>
                    <a:pt x="14377" y="537"/>
                  </a:lnTo>
                  <a:lnTo>
                    <a:pt x="14353" y="543"/>
                  </a:lnTo>
                  <a:lnTo>
                    <a:pt x="14330" y="551"/>
                  </a:lnTo>
                  <a:lnTo>
                    <a:pt x="14307" y="559"/>
                  </a:lnTo>
                  <a:lnTo>
                    <a:pt x="14284" y="567"/>
                  </a:lnTo>
                  <a:lnTo>
                    <a:pt x="14261" y="576"/>
                  </a:lnTo>
                  <a:lnTo>
                    <a:pt x="14239" y="585"/>
                  </a:lnTo>
                  <a:lnTo>
                    <a:pt x="14217" y="595"/>
                  </a:lnTo>
                  <a:lnTo>
                    <a:pt x="14195" y="606"/>
                  </a:lnTo>
                  <a:lnTo>
                    <a:pt x="14174" y="617"/>
                  </a:lnTo>
                  <a:lnTo>
                    <a:pt x="14153" y="628"/>
                  </a:lnTo>
                  <a:lnTo>
                    <a:pt x="14131" y="641"/>
                  </a:lnTo>
                  <a:lnTo>
                    <a:pt x="14110" y="654"/>
                  </a:lnTo>
                  <a:lnTo>
                    <a:pt x="14089" y="667"/>
                  </a:lnTo>
                  <a:lnTo>
                    <a:pt x="14069" y="681"/>
                  </a:lnTo>
                  <a:lnTo>
                    <a:pt x="14049" y="695"/>
                  </a:lnTo>
                  <a:lnTo>
                    <a:pt x="14030" y="710"/>
                  </a:lnTo>
                  <a:lnTo>
                    <a:pt x="14011" y="725"/>
                  </a:lnTo>
                  <a:lnTo>
                    <a:pt x="13992" y="740"/>
                  </a:lnTo>
                  <a:lnTo>
                    <a:pt x="13972" y="756"/>
                  </a:lnTo>
                  <a:lnTo>
                    <a:pt x="13954" y="773"/>
                  </a:lnTo>
                  <a:lnTo>
                    <a:pt x="13936" y="790"/>
                  </a:lnTo>
                  <a:lnTo>
                    <a:pt x="12574" y="2129"/>
                  </a:lnTo>
                  <a:lnTo>
                    <a:pt x="12574" y="1504"/>
                  </a:lnTo>
                  <a:lnTo>
                    <a:pt x="12572" y="1426"/>
                  </a:lnTo>
                  <a:lnTo>
                    <a:pt x="12566" y="1349"/>
                  </a:lnTo>
                  <a:lnTo>
                    <a:pt x="12557" y="1274"/>
                  </a:lnTo>
                  <a:lnTo>
                    <a:pt x="12543" y="1200"/>
                  </a:lnTo>
                  <a:lnTo>
                    <a:pt x="12527" y="1128"/>
                  </a:lnTo>
                  <a:lnTo>
                    <a:pt x="12506" y="1056"/>
                  </a:lnTo>
                  <a:lnTo>
                    <a:pt x="12483" y="986"/>
                  </a:lnTo>
                  <a:lnTo>
                    <a:pt x="12456" y="918"/>
                  </a:lnTo>
                  <a:lnTo>
                    <a:pt x="12425" y="851"/>
                  </a:lnTo>
                  <a:lnTo>
                    <a:pt x="12392" y="787"/>
                  </a:lnTo>
                  <a:lnTo>
                    <a:pt x="12356" y="724"/>
                  </a:lnTo>
                  <a:lnTo>
                    <a:pt x="12317" y="663"/>
                  </a:lnTo>
                  <a:lnTo>
                    <a:pt x="12274" y="603"/>
                  </a:lnTo>
                  <a:lnTo>
                    <a:pt x="12229" y="547"/>
                  </a:lnTo>
                  <a:lnTo>
                    <a:pt x="12182" y="492"/>
                  </a:lnTo>
                  <a:lnTo>
                    <a:pt x="12132" y="440"/>
                  </a:lnTo>
                  <a:lnTo>
                    <a:pt x="12079" y="390"/>
                  </a:lnTo>
                  <a:lnTo>
                    <a:pt x="12025" y="343"/>
                  </a:lnTo>
                  <a:lnTo>
                    <a:pt x="11968" y="299"/>
                  </a:lnTo>
                  <a:lnTo>
                    <a:pt x="11908" y="257"/>
                  </a:lnTo>
                  <a:lnTo>
                    <a:pt x="11848" y="218"/>
                  </a:lnTo>
                  <a:lnTo>
                    <a:pt x="11785" y="181"/>
                  </a:lnTo>
                  <a:lnTo>
                    <a:pt x="11719" y="148"/>
                  </a:lnTo>
                  <a:lnTo>
                    <a:pt x="11653" y="118"/>
                  </a:lnTo>
                  <a:lnTo>
                    <a:pt x="11584" y="91"/>
                  </a:lnTo>
                  <a:lnTo>
                    <a:pt x="11514" y="67"/>
                  </a:lnTo>
                  <a:lnTo>
                    <a:pt x="11443" y="47"/>
                  </a:lnTo>
                  <a:lnTo>
                    <a:pt x="11369" y="30"/>
                  </a:lnTo>
                  <a:lnTo>
                    <a:pt x="11295" y="17"/>
                  </a:lnTo>
                  <a:lnTo>
                    <a:pt x="11219" y="8"/>
                  </a:lnTo>
                  <a:lnTo>
                    <a:pt x="11143" y="2"/>
                  </a:lnTo>
                  <a:lnTo>
                    <a:pt x="11065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7"/>
                  </a:lnTo>
                  <a:lnTo>
                    <a:pt x="991" y="91"/>
                  </a:lnTo>
                  <a:lnTo>
                    <a:pt x="922" y="118"/>
                  </a:lnTo>
                  <a:lnTo>
                    <a:pt x="855" y="148"/>
                  </a:lnTo>
                  <a:lnTo>
                    <a:pt x="791" y="181"/>
                  </a:lnTo>
                  <a:lnTo>
                    <a:pt x="727" y="218"/>
                  </a:lnTo>
                  <a:lnTo>
                    <a:pt x="666" y="257"/>
                  </a:lnTo>
                  <a:lnTo>
                    <a:pt x="607" y="299"/>
                  </a:lnTo>
                  <a:lnTo>
                    <a:pt x="549" y="344"/>
                  </a:lnTo>
                  <a:lnTo>
                    <a:pt x="495" y="391"/>
                  </a:lnTo>
                  <a:lnTo>
                    <a:pt x="443" y="441"/>
                  </a:lnTo>
                  <a:lnTo>
                    <a:pt x="392" y="493"/>
                  </a:lnTo>
                  <a:lnTo>
                    <a:pt x="345" y="547"/>
                  </a:lnTo>
                  <a:lnTo>
                    <a:pt x="300" y="604"/>
                  </a:lnTo>
                  <a:lnTo>
                    <a:pt x="259" y="664"/>
                  </a:lnTo>
                  <a:lnTo>
                    <a:pt x="218" y="725"/>
                  </a:lnTo>
                  <a:lnTo>
                    <a:pt x="182" y="787"/>
                  </a:lnTo>
                  <a:lnTo>
                    <a:pt x="149" y="852"/>
                  </a:lnTo>
                  <a:lnTo>
                    <a:pt x="119" y="919"/>
                  </a:lnTo>
                  <a:lnTo>
                    <a:pt x="92" y="987"/>
                  </a:lnTo>
                  <a:lnTo>
                    <a:pt x="68" y="1056"/>
                  </a:lnTo>
                  <a:lnTo>
                    <a:pt x="47" y="1128"/>
                  </a:lnTo>
                  <a:lnTo>
                    <a:pt x="31" y="1201"/>
                  </a:lnTo>
                  <a:lnTo>
                    <a:pt x="17" y="1275"/>
                  </a:lnTo>
                  <a:lnTo>
                    <a:pt x="8" y="1350"/>
                  </a:lnTo>
                  <a:lnTo>
                    <a:pt x="2" y="1426"/>
                  </a:lnTo>
                  <a:lnTo>
                    <a:pt x="0" y="1504"/>
                  </a:lnTo>
                  <a:lnTo>
                    <a:pt x="0" y="4997"/>
                  </a:lnTo>
                  <a:lnTo>
                    <a:pt x="0" y="9522"/>
                  </a:lnTo>
                  <a:lnTo>
                    <a:pt x="2" y="9600"/>
                  </a:lnTo>
                  <a:lnTo>
                    <a:pt x="8" y="9676"/>
                  </a:lnTo>
                  <a:lnTo>
                    <a:pt x="17" y="9751"/>
                  </a:lnTo>
                  <a:lnTo>
                    <a:pt x="30" y="9825"/>
                  </a:lnTo>
                  <a:lnTo>
                    <a:pt x="47" y="9898"/>
                  </a:lnTo>
                  <a:lnTo>
                    <a:pt x="67" y="9970"/>
                  </a:lnTo>
                  <a:lnTo>
                    <a:pt x="92" y="10040"/>
                  </a:lnTo>
                  <a:lnTo>
                    <a:pt x="119" y="10108"/>
                  </a:lnTo>
                  <a:lnTo>
                    <a:pt x="149" y="10174"/>
                  </a:lnTo>
                  <a:lnTo>
                    <a:pt x="182" y="10239"/>
                  </a:lnTo>
                  <a:lnTo>
                    <a:pt x="218" y="10302"/>
                  </a:lnTo>
                  <a:lnTo>
                    <a:pt x="258" y="10363"/>
                  </a:lnTo>
                  <a:lnTo>
                    <a:pt x="300" y="10422"/>
                  </a:lnTo>
                  <a:lnTo>
                    <a:pt x="344" y="10479"/>
                  </a:lnTo>
                  <a:lnTo>
                    <a:pt x="391" y="10534"/>
                  </a:lnTo>
                  <a:lnTo>
                    <a:pt x="442" y="10586"/>
                  </a:lnTo>
                  <a:lnTo>
                    <a:pt x="494" y="10635"/>
                  </a:lnTo>
                  <a:lnTo>
                    <a:pt x="549" y="10682"/>
                  </a:lnTo>
                  <a:lnTo>
                    <a:pt x="606" y="10727"/>
                  </a:lnTo>
                  <a:lnTo>
                    <a:pt x="665" y="10769"/>
                  </a:lnTo>
                  <a:lnTo>
                    <a:pt x="726" y="10808"/>
                  </a:lnTo>
                  <a:lnTo>
                    <a:pt x="790" y="10845"/>
                  </a:lnTo>
                  <a:lnTo>
                    <a:pt x="854" y="10878"/>
                  </a:lnTo>
                  <a:lnTo>
                    <a:pt x="921" y="10908"/>
                  </a:lnTo>
                  <a:lnTo>
                    <a:pt x="990" y="10935"/>
                  </a:lnTo>
                  <a:lnTo>
                    <a:pt x="1060" y="10959"/>
                  </a:lnTo>
                  <a:lnTo>
                    <a:pt x="1132" y="10979"/>
                  </a:lnTo>
                  <a:lnTo>
                    <a:pt x="1204" y="10996"/>
                  </a:lnTo>
                  <a:lnTo>
                    <a:pt x="1279" y="11009"/>
                  </a:lnTo>
                  <a:lnTo>
                    <a:pt x="1354" y="11018"/>
                  </a:lnTo>
                  <a:lnTo>
                    <a:pt x="1431" y="11024"/>
                  </a:lnTo>
                  <a:lnTo>
                    <a:pt x="1509" y="11026"/>
                  </a:lnTo>
                  <a:lnTo>
                    <a:pt x="11065" y="11026"/>
                  </a:lnTo>
                  <a:lnTo>
                    <a:pt x="11143" y="11024"/>
                  </a:lnTo>
                  <a:lnTo>
                    <a:pt x="11219" y="11018"/>
                  </a:lnTo>
                  <a:lnTo>
                    <a:pt x="11295" y="11009"/>
                  </a:lnTo>
                  <a:lnTo>
                    <a:pt x="11369" y="10996"/>
                  </a:lnTo>
                  <a:lnTo>
                    <a:pt x="11443" y="10979"/>
                  </a:lnTo>
                  <a:lnTo>
                    <a:pt x="11514" y="10959"/>
                  </a:lnTo>
                  <a:lnTo>
                    <a:pt x="11584" y="10935"/>
                  </a:lnTo>
                  <a:lnTo>
                    <a:pt x="11653" y="10908"/>
                  </a:lnTo>
                  <a:lnTo>
                    <a:pt x="11719" y="10878"/>
                  </a:lnTo>
                  <a:lnTo>
                    <a:pt x="11785" y="10845"/>
                  </a:lnTo>
                  <a:lnTo>
                    <a:pt x="11848" y="10808"/>
                  </a:lnTo>
                  <a:lnTo>
                    <a:pt x="11908" y="10769"/>
                  </a:lnTo>
                  <a:lnTo>
                    <a:pt x="11968" y="10727"/>
                  </a:lnTo>
                  <a:lnTo>
                    <a:pt x="12025" y="10682"/>
                  </a:lnTo>
                  <a:lnTo>
                    <a:pt x="12079" y="10635"/>
                  </a:lnTo>
                  <a:lnTo>
                    <a:pt x="12132" y="10586"/>
                  </a:lnTo>
                  <a:lnTo>
                    <a:pt x="12182" y="10534"/>
                  </a:lnTo>
                  <a:lnTo>
                    <a:pt x="12229" y="10479"/>
                  </a:lnTo>
                  <a:lnTo>
                    <a:pt x="12274" y="10422"/>
                  </a:lnTo>
                  <a:lnTo>
                    <a:pt x="12317" y="10363"/>
                  </a:lnTo>
                  <a:lnTo>
                    <a:pt x="12356" y="10302"/>
                  </a:lnTo>
                  <a:lnTo>
                    <a:pt x="12392" y="10239"/>
                  </a:lnTo>
                  <a:lnTo>
                    <a:pt x="12425" y="10174"/>
                  </a:lnTo>
                  <a:lnTo>
                    <a:pt x="12456" y="10108"/>
                  </a:lnTo>
                  <a:lnTo>
                    <a:pt x="12483" y="10040"/>
                  </a:lnTo>
                  <a:lnTo>
                    <a:pt x="12506" y="9970"/>
                  </a:lnTo>
                  <a:lnTo>
                    <a:pt x="12527" y="9898"/>
                  </a:lnTo>
                  <a:lnTo>
                    <a:pt x="12543" y="9825"/>
                  </a:lnTo>
                  <a:lnTo>
                    <a:pt x="12557" y="9751"/>
                  </a:lnTo>
                  <a:lnTo>
                    <a:pt x="12566" y="9676"/>
                  </a:lnTo>
                  <a:lnTo>
                    <a:pt x="12572" y="9600"/>
                  </a:lnTo>
                  <a:lnTo>
                    <a:pt x="12574" y="9522"/>
                  </a:lnTo>
                  <a:lnTo>
                    <a:pt x="12574" y="8911"/>
                  </a:lnTo>
                  <a:lnTo>
                    <a:pt x="13936" y="10250"/>
                  </a:lnTo>
                  <a:lnTo>
                    <a:pt x="13954" y="10267"/>
                  </a:lnTo>
                  <a:lnTo>
                    <a:pt x="13972" y="10284"/>
                  </a:lnTo>
                  <a:lnTo>
                    <a:pt x="13992" y="10300"/>
                  </a:lnTo>
                  <a:lnTo>
                    <a:pt x="14011" y="10315"/>
                  </a:lnTo>
                  <a:lnTo>
                    <a:pt x="14030" y="10330"/>
                  </a:lnTo>
                  <a:lnTo>
                    <a:pt x="14049" y="10345"/>
                  </a:lnTo>
                  <a:lnTo>
                    <a:pt x="14069" y="10359"/>
                  </a:lnTo>
                  <a:lnTo>
                    <a:pt x="14089" y="10373"/>
                  </a:lnTo>
                  <a:lnTo>
                    <a:pt x="14110" y="10386"/>
                  </a:lnTo>
                  <a:lnTo>
                    <a:pt x="14131" y="10400"/>
                  </a:lnTo>
                  <a:lnTo>
                    <a:pt x="14153" y="10412"/>
                  </a:lnTo>
                  <a:lnTo>
                    <a:pt x="14174" y="10423"/>
                  </a:lnTo>
                  <a:lnTo>
                    <a:pt x="14195" y="10434"/>
                  </a:lnTo>
                  <a:lnTo>
                    <a:pt x="14217" y="10445"/>
                  </a:lnTo>
                  <a:lnTo>
                    <a:pt x="14239" y="10455"/>
                  </a:lnTo>
                  <a:lnTo>
                    <a:pt x="14261" y="10464"/>
                  </a:lnTo>
                  <a:lnTo>
                    <a:pt x="14284" y="10473"/>
                  </a:lnTo>
                  <a:lnTo>
                    <a:pt x="14307" y="10481"/>
                  </a:lnTo>
                  <a:lnTo>
                    <a:pt x="14330" y="10489"/>
                  </a:lnTo>
                  <a:lnTo>
                    <a:pt x="14353" y="10497"/>
                  </a:lnTo>
                  <a:lnTo>
                    <a:pt x="14377" y="10503"/>
                  </a:lnTo>
                  <a:lnTo>
                    <a:pt x="14400" y="10509"/>
                  </a:lnTo>
                  <a:lnTo>
                    <a:pt x="14424" y="10515"/>
                  </a:lnTo>
                  <a:lnTo>
                    <a:pt x="14447" y="10520"/>
                  </a:lnTo>
                  <a:lnTo>
                    <a:pt x="14471" y="10524"/>
                  </a:lnTo>
                  <a:lnTo>
                    <a:pt x="14496" y="10528"/>
                  </a:lnTo>
                  <a:lnTo>
                    <a:pt x="14520" y="10531"/>
                  </a:lnTo>
                  <a:lnTo>
                    <a:pt x="14545" y="10534"/>
                  </a:lnTo>
                  <a:lnTo>
                    <a:pt x="14569" y="10536"/>
                  </a:lnTo>
                  <a:lnTo>
                    <a:pt x="14593" y="10538"/>
                  </a:lnTo>
                  <a:lnTo>
                    <a:pt x="14618" y="10539"/>
                  </a:lnTo>
                  <a:lnTo>
                    <a:pt x="14642" y="10539"/>
                  </a:lnTo>
                  <a:lnTo>
                    <a:pt x="15089" y="10539"/>
                  </a:lnTo>
                  <a:lnTo>
                    <a:pt x="15140" y="10538"/>
                  </a:lnTo>
                  <a:lnTo>
                    <a:pt x="15192" y="10534"/>
                  </a:lnTo>
                  <a:lnTo>
                    <a:pt x="15242" y="10527"/>
                  </a:lnTo>
                  <a:lnTo>
                    <a:pt x="15291" y="10519"/>
                  </a:lnTo>
                  <a:lnTo>
                    <a:pt x="15341" y="10507"/>
                  </a:lnTo>
                  <a:lnTo>
                    <a:pt x="15388" y="10494"/>
                  </a:lnTo>
                  <a:lnTo>
                    <a:pt x="15435" y="10478"/>
                  </a:lnTo>
                  <a:lnTo>
                    <a:pt x="15480" y="10460"/>
                  </a:lnTo>
                  <a:lnTo>
                    <a:pt x="15525" y="10440"/>
                  </a:lnTo>
                  <a:lnTo>
                    <a:pt x="15569" y="10418"/>
                  </a:lnTo>
                  <a:lnTo>
                    <a:pt x="15610" y="10394"/>
                  </a:lnTo>
                  <a:lnTo>
                    <a:pt x="15651" y="10367"/>
                  </a:lnTo>
                  <a:lnTo>
                    <a:pt x="15691" y="10339"/>
                  </a:lnTo>
                  <a:lnTo>
                    <a:pt x="15729" y="10310"/>
                  </a:lnTo>
                  <a:lnTo>
                    <a:pt x="15765" y="10278"/>
                  </a:lnTo>
                  <a:lnTo>
                    <a:pt x="15800" y="10245"/>
                  </a:lnTo>
                  <a:lnTo>
                    <a:pt x="15833" y="10210"/>
                  </a:lnTo>
                  <a:lnTo>
                    <a:pt x="15866" y="10174"/>
                  </a:lnTo>
                  <a:lnTo>
                    <a:pt x="15895" y="10136"/>
                  </a:lnTo>
                  <a:lnTo>
                    <a:pt x="15923" y="10097"/>
                  </a:lnTo>
                  <a:lnTo>
                    <a:pt x="15949" y="10056"/>
                  </a:lnTo>
                  <a:lnTo>
                    <a:pt x="15973" y="10014"/>
                  </a:lnTo>
                  <a:lnTo>
                    <a:pt x="15995" y="9971"/>
                  </a:lnTo>
                  <a:lnTo>
                    <a:pt x="16016" y="9926"/>
                  </a:lnTo>
                  <a:lnTo>
                    <a:pt x="16034" y="9881"/>
                  </a:lnTo>
                  <a:lnTo>
                    <a:pt x="16050" y="9834"/>
                  </a:lnTo>
                  <a:lnTo>
                    <a:pt x="16063" y="9787"/>
                  </a:lnTo>
                  <a:lnTo>
                    <a:pt x="16075" y="9738"/>
                  </a:lnTo>
                  <a:lnTo>
                    <a:pt x="16083" y="9689"/>
                  </a:lnTo>
                  <a:lnTo>
                    <a:pt x="16090" y="9639"/>
                  </a:lnTo>
                  <a:lnTo>
                    <a:pt x="16094" y="9588"/>
                  </a:lnTo>
                  <a:lnTo>
                    <a:pt x="16095" y="9536"/>
                  </a:lnTo>
                  <a:lnTo>
                    <a:pt x="16095" y="1504"/>
                  </a:lnTo>
                  <a:lnTo>
                    <a:pt x="16094" y="1451"/>
                  </a:lnTo>
                  <a:lnTo>
                    <a:pt x="16090" y="1401"/>
                  </a:lnTo>
                  <a:lnTo>
                    <a:pt x="16083" y="1351"/>
                  </a:lnTo>
                  <a:lnTo>
                    <a:pt x="16075" y="1301"/>
                  </a:lnTo>
                  <a:lnTo>
                    <a:pt x="16063" y="1253"/>
                  </a:lnTo>
                  <a:lnTo>
                    <a:pt x="16050" y="1205"/>
                  </a:lnTo>
                  <a:lnTo>
                    <a:pt x="16034" y="1159"/>
                  </a:lnTo>
                  <a:lnTo>
                    <a:pt x="16016" y="1114"/>
                  </a:lnTo>
                  <a:lnTo>
                    <a:pt x="15995" y="1069"/>
                  </a:lnTo>
                  <a:lnTo>
                    <a:pt x="15973" y="1025"/>
                  </a:lnTo>
                  <a:lnTo>
                    <a:pt x="15949" y="983"/>
                  </a:lnTo>
                  <a:lnTo>
                    <a:pt x="15923" y="943"/>
                  </a:lnTo>
                  <a:lnTo>
                    <a:pt x="15895" y="904"/>
                  </a:lnTo>
                  <a:lnTo>
                    <a:pt x="15866" y="866"/>
                  </a:lnTo>
                  <a:lnTo>
                    <a:pt x="15833" y="830"/>
                  </a:lnTo>
                  <a:lnTo>
                    <a:pt x="15800" y="795"/>
                  </a:lnTo>
                  <a:lnTo>
                    <a:pt x="15765" y="762"/>
                  </a:lnTo>
                  <a:lnTo>
                    <a:pt x="15729" y="730"/>
                  </a:lnTo>
                  <a:lnTo>
                    <a:pt x="15691" y="701"/>
                  </a:lnTo>
                  <a:lnTo>
                    <a:pt x="15651" y="673"/>
                  </a:lnTo>
                  <a:lnTo>
                    <a:pt x="15610" y="647"/>
                  </a:lnTo>
                  <a:lnTo>
                    <a:pt x="15569" y="622"/>
                  </a:lnTo>
                  <a:lnTo>
                    <a:pt x="15525" y="600"/>
                  </a:lnTo>
                  <a:lnTo>
                    <a:pt x="15480" y="580"/>
                  </a:lnTo>
                  <a:lnTo>
                    <a:pt x="15435" y="562"/>
                  </a:lnTo>
                  <a:lnTo>
                    <a:pt x="15388" y="546"/>
                  </a:lnTo>
                  <a:lnTo>
                    <a:pt x="15341" y="532"/>
                  </a:lnTo>
                  <a:lnTo>
                    <a:pt x="15291" y="521"/>
                  </a:lnTo>
                  <a:lnTo>
                    <a:pt x="15242" y="513"/>
                  </a:lnTo>
                  <a:lnTo>
                    <a:pt x="15192" y="506"/>
                  </a:lnTo>
                  <a:lnTo>
                    <a:pt x="15140" y="502"/>
                  </a:lnTo>
                  <a:lnTo>
                    <a:pt x="15089" y="5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" name="i$ḻïḋe">
              <a:extLst>
                <a:ext uri="{FF2B5EF4-FFF2-40B4-BE49-F238E27FC236}">
                  <a16:creationId xmlns:a16="http://schemas.microsoft.com/office/drawing/2014/main" id="{5486E533-BE7E-4DC4-BB15-8C3D66DE4FC7}"/>
                </a:ext>
              </a:extLst>
            </p:cNvPr>
            <p:cNvSpPr/>
            <p:nvPr/>
          </p:nvSpPr>
          <p:spPr bwMode="auto">
            <a:xfrm>
              <a:off x="3166381" y="80534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" name="íṧľïḓe">
              <a:extLst>
                <a:ext uri="{FF2B5EF4-FFF2-40B4-BE49-F238E27FC236}">
                  <a16:creationId xmlns:a16="http://schemas.microsoft.com/office/drawing/2014/main" id="{4A0ACEC3-33F0-4D86-97BA-AC208C1D0A20}"/>
                </a:ext>
              </a:extLst>
            </p:cNvPr>
            <p:cNvSpPr/>
            <p:nvPr/>
          </p:nvSpPr>
          <p:spPr bwMode="auto">
            <a:xfrm>
              <a:off x="2987651" y="39811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" name="îsľíďé">
              <a:extLst>
                <a:ext uri="{FF2B5EF4-FFF2-40B4-BE49-F238E27FC236}">
                  <a16:creationId xmlns:a16="http://schemas.microsoft.com/office/drawing/2014/main" id="{E8A1FC88-6C0B-422E-9BFF-02F6041F5103}"/>
                </a:ext>
              </a:extLst>
            </p:cNvPr>
            <p:cNvSpPr/>
            <p:nvPr/>
          </p:nvSpPr>
          <p:spPr bwMode="auto">
            <a:xfrm>
              <a:off x="3161856" y="39811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" name="íṧľîḓê">
              <a:extLst>
                <a:ext uri="{FF2B5EF4-FFF2-40B4-BE49-F238E27FC236}">
                  <a16:creationId xmlns:a16="http://schemas.microsoft.com/office/drawing/2014/main" id="{413E0841-3454-4B85-AE12-EEDF3930D995}"/>
                </a:ext>
              </a:extLst>
            </p:cNvPr>
            <p:cNvSpPr/>
            <p:nvPr/>
          </p:nvSpPr>
          <p:spPr bwMode="auto">
            <a:xfrm>
              <a:off x="3282560" y="1000844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" name="ïṡļîḑè">
              <a:extLst>
                <a:ext uri="{FF2B5EF4-FFF2-40B4-BE49-F238E27FC236}">
                  <a16:creationId xmlns:a16="http://schemas.microsoft.com/office/drawing/2014/main" id="{F1081713-B62C-440D-9412-8CA3F6CA6DE9}"/>
                </a:ext>
              </a:extLst>
            </p:cNvPr>
            <p:cNvSpPr/>
            <p:nvPr/>
          </p:nvSpPr>
          <p:spPr bwMode="auto">
            <a:xfrm>
              <a:off x="707230" y="93508"/>
              <a:ext cx="318352" cy="257490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" name="îSľiďé">
              <a:extLst>
                <a:ext uri="{FF2B5EF4-FFF2-40B4-BE49-F238E27FC236}">
                  <a16:creationId xmlns:a16="http://schemas.microsoft.com/office/drawing/2014/main" id="{866CBD40-6578-4B3B-9B82-FAF55ED41C70}"/>
                </a:ext>
              </a:extLst>
            </p:cNvPr>
            <p:cNvSpPr/>
            <p:nvPr/>
          </p:nvSpPr>
          <p:spPr bwMode="auto">
            <a:xfrm>
              <a:off x="644028" y="32647"/>
              <a:ext cx="509129" cy="397939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" name="íSḻïḓé">
              <a:extLst>
                <a:ext uri="{FF2B5EF4-FFF2-40B4-BE49-F238E27FC236}">
                  <a16:creationId xmlns:a16="http://schemas.microsoft.com/office/drawing/2014/main" id="{E6146C03-EE53-4A22-923F-724BFDD49681}"/>
                </a:ext>
              </a:extLst>
            </p:cNvPr>
            <p:cNvSpPr/>
            <p:nvPr/>
          </p:nvSpPr>
          <p:spPr bwMode="auto">
            <a:xfrm>
              <a:off x="1041968" y="112235"/>
              <a:ext cx="47987" cy="4798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" name="íṩļïḋè">
              <a:extLst>
                <a:ext uri="{FF2B5EF4-FFF2-40B4-BE49-F238E27FC236}">
                  <a16:creationId xmlns:a16="http://schemas.microsoft.com/office/drawing/2014/main" id="{B9E25515-C33E-4E04-ABBC-D5730B6A1FB4}"/>
                </a:ext>
              </a:extLst>
            </p:cNvPr>
            <p:cNvSpPr/>
            <p:nvPr/>
          </p:nvSpPr>
          <p:spPr bwMode="auto">
            <a:xfrm>
              <a:off x="1025582" y="319398"/>
              <a:ext cx="64372" cy="15216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" name="ïşḻiḑè">
              <a:extLst>
                <a:ext uri="{FF2B5EF4-FFF2-40B4-BE49-F238E27FC236}">
                  <a16:creationId xmlns:a16="http://schemas.microsoft.com/office/drawing/2014/main" id="{007B40C1-CBA4-45CD-846F-CC03762C02EE}"/>
                </a:ext>
              </a:extLst>
            </p:cNvPr>
            <p:cNvSpPr/>
            <p:nvPr/>
          </p:nvSpPr>
          <p:spPr bwMode="auto">
            <a:xfrm>
              <a:off x="1041968" y="271410"/>
              <a:ext cx="63202" cy="16386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" name="iṩľiďê">
              <a:extLst>
                <a:ext uri="{FF2B5EF4-FFF2-40B4-BE49-F238E27FC236}">
                  <a16:creationId xmlns:a16="http://schemas.microsoft.com/office/drawing/2014/main" id="{222D004F-3438-4725-9BA9-CC76C38001A1}"/>
                </a:ext>
              </a:extLst>
            </p:cNvPr>
            <p:cNvSpPr/>
            <p:nvPr/>
          </p:nvSpPr>
          <p:spPr bwMode="auto">
            <a:xfrm>
              <a:off x="1041968" y="223424"/>
              <a:ext cx="63202" cy="16386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" name="íṧlïḍê">
              <a:extLst>
                <a:ext uri="{FF2B5EF4-FFF2-40B4-BE49-F238E27FC236}">
                  <a16:creationId xmlns:a16="http://schemas.microsoft.com/office/drawing/2014/main" id="{15591E16-A4A7-4583-A9D5-1CADBFC6071C}"/>
                </a:ext>
              </a:extLst>
            </p:cNvPr>
            <p:cNvSpPr/>
            <p:nvPr/>
          </p:nvSpPr>
          <p:spPr bwMode="auto">
            <a:xfrm>
              <a:off x="771603" y="156710"/>
              <a:ext cx="94803" cy="66714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" name="ïŝlîďê">
              <a:extLst>
                <a:ext uri="{FF2B5EF4-FFF2-40B4-BE49-F238E27FC236}">
                  <a16:creationId xmlns:a16="http://schemas.microsoft.com/office/drawing/2014/main" id="{7E5BE295-7EF4-4AE7-9CAD-B2FAC33BE01E}"/>
                </a:ext>
              </a:extLst>
            </p:cNvPr>
            <p:cNvSpPr/>
            <p:nvPr/>
          </p:nvSpPr>
          <p:spPr bwMode="auto">
            <a:xfrm>
              <a:off x="870985" y="77266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" name="îṣḻïḍè">
              <a:extLst>
                <a:ext uri="{FF2B5EF4-FFF2-40B4-BE49-F238E27FC236}">
                  <a16:creationId xmlns:a16="http://schemas.microsoft.com/office/drawing/2014/main" id="{684007A2-2997-43EB-AA78-5E9CDAE591F6}"/>
                </a:ext>
              </a:extLst>
            </p:cNvPr>
            <p:cNvSpPr/>
            <p:nvPr/>
          </p:nvSpPr>
          <p:spPr bwMode="auto">
            <a:xfrm>
              <a:off x="934148" y="83709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" name="í$liďé">
              <a:extLst>
                <a:ext uri="{FF2B5EF4-FFF2-40B4-BE49-F238E27FC236}">
                  <a16:creationId xmlns:a16="http://schemas.microsoft.com/office/drawing/2014/main" id="{056F5DD1-5D1D-4B05-A047-641F85C2B67A}"/>
                </a:ext>
              </a:extLst>
            </p:cNvPr>
            <p:cNvSpPr/>
            <p:nvPr/>
          </p:nvSpPr>
          <p:spPr bwMode="auto">
            <a:xfrm>
              <a:off x="5152220" y="4110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" name="îṡļiďè">
              <a:extLst>
                <a:ext uri="{FF2B5EF4-FFF2-40B4-BE49-F238E27FC236}">
                  <a16:creationId xmlns:a16="http://schemas.microsoft.com/office/drawing/2014/main" id="{A0797A3B-0F0B-4F92-953A-F4AFB8921475}"/>
                </a:ext>
              </a:extLst>
            </p:cNvPr>
            <p:cNvSpPr/>
            <p:nvPr/>
          </p:nvSpPr>
          <p:spPr bwMode="auto">
            <a:xfrm>
              <a:off x="1884528" y="39811"/>
              <a:ext cx="251320" cy="188780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" name="íśliḋê">
              <a:extLst>
                <a:ext uri="{FF2B5EF4-FFF2-40B4-BE49-F238E27FC236}">
                  <a16:creationId xmlns:a16="http://schemas.microsoft.com/office/drawing/2014/main" id="{6F480E80-C2CF-463F-BE28-3482DF5A1592}"/>
                </a:ext>
              </a:extLst>
            </p:cNvPr>
            <p:cNvSpPr/>
            <p:nvPr/>
          </p:nvSpPr>
          <p:spPr bwMode="auto">
            <a:xfrm>
              <a:off x="1692438" y="703594"/>
              <a:ext cx="516942" cy="387410"/>
            </a:xfrm>
            <a:custGeom>
              <a:avLst/>
              <a:gdLst>
                <a:gd name="T0" fmla="*/ 12346 w 16095"/>
                <a:gd name="T1" fmla="*/ 10690 h 12062"/>
                <a:gd name="T2" fmla="*/ 12211 w 16095"/>
                <a:gd name="T3" fmla="*/ 10826 h 12062"/>
                <a:gd name="T4" fmla="*/ 12056 w 16095"/>
                <a:gd name="T5" fmla="*/ 10931 h 12062"/>
                <a:gd name="T6" fmla="*/ 11883 w 16095"/>
                <a:gd name="T7" fmla="*/ 11007 h 12062"/>
                <a:gd name="T8" fmla="*/ 11697 w 16095"/>
                <a:gd name="T9" fmla="*/ 11049 h 12062"/>
                <a:gd name="T10" fmla="*/ 1961 w 16095"/>
                <a:gd name="T11" fmla="*/ 11056 h 12062"/>
                <a:gd name="T12" fmla="*/ 1666 w 16095"/>
                <a:gd name="T13" fmla="*/ 10996 h 12062"/>
                <a:gd name="T14" fmla="*/ 1410 w 16095"/>
                <a:gd name="T15" fmla="*/ 10857 h 12062"/>
                <a:gd name="T16" fmla="*/ 1206 w 16095"/>
                <a:gd name="T17" fmla="*/ 10653 h 12062"/>
                <a:gd name="T18" fmla="*/ 1067 w 16095"/>
                <a:gd name="T19" fmla="*/ 10396 h 12062"/>
                <a:gd name="T20" fmla="*/ 1007 w 16095"/>
                <a:gd name="T21" fmla="*/ 10103 h 12062"/>
                <a:gd name="T22" fmla="*/ 1026 w 16095"/>
                <a:gd name="T23" fmla="*/ 1808 h 12062"/>
                <a:gd name="T24" fmla="*/ 1128 w 16095"/>
                <a:gd name="T25" fmla="*/ 1532 h 12062"/>
                <a:gd name="T26" fmla="*/ 1301 w 16095"/>
                <a:gd name="T27" fmla="*/ 1300 h 12062"/>
                <a:gd name="T28" fmla="*/ 1533 w 16095"/>
                <a:gd name="T29" fmla="*/ 1127 h 12062"/>
                <a:gd name="T30" fmla="*/ 1810 w 16095"/>
                <a:gd name="T31" fmla="*/ 1025 h 12062"/>
                <a:gd name="T32" fmla="*/ 11600 w 16095"/>
                <a:gd name="T33" fmla="*/ 1006 h 12062"/>
                <a:gd name="T34" fmla="*/ 11792 w 16095"/>
                <a:gd name="T35" fmla="*/ 1030 h 12062"/>
                <a:gd name="T36" fmla="*/ 11972 w 16095"/>
                <a:gd name="T37" fmla="*/ 1089 h 12062"/>
                <a:gd name="T38" fmla="*/ 12137 w 16095"/>
                <a:gd name="T39" fmla="*/ 1180 h 12062"/>
                <a:gd name="T40" fmla="*/ 12281 w 16095"/>
                <a:gd name="T41" fmla="*/ 1302 h 12062"/>
                <a:gd name="T42" fmla="*/ 12403 w 16095"/>
                <a:gd name="T43" fmla="*/ 1450 h 12062"/>
                <a:gd name="T44" fmla="*/ 15003 w 16095"/>
                <a:gd name="T45" fmla="*/ 5624 h 12062"/>
                <a:gd name="T46" fmla="*/ 15066 w 16095"/>
                <a:gd name="T47" fmla="*/ 5824 h 12062"/>
                <a:gd name="T48" fmla="*/ 15088 w 16095"/>
                <a:gd name="T49" fmla="*/ 6031 h 12062"/>
                <a:gd name="T50" fmla="*/ 15066 w 16095"/>
                <a:gd name="T51" fmla="*/ 6238 h 12062"/>
                <a:gd name="T52" fmla="*/ 15003 w 16095"/>
                <a:gd name="T53" fmla="*/ 6438 h 12062"/>
                <a:gd name="T54" fmla="*/ 13274 w 16095"/>
                <a:gd name="T55" fmla="*/ 945 h 12062"/>
                <a:gd name="T56" fmla="*/ 13040 w 16095"/>
                <a:gd name="T57" fmla="*/ 639 h 12062"/>
                <a:gd name="T58" fmla="*/ 12755 w 16095"/>
                <a:gd name="T59" fmla="*/ 388 h 12062"/>
                <a:gd name="T60" fmla="*/ 12431 w 16095"/>
                <a:gd name="T61" fmla="*/ 195 h 12062"/>
                <a:gd name="T62" fmla="*/ 12076 w 16095"/>
                <a:gd name="T63" fmla="*/ 65 h 12062"/>
                <a:gd name="T64" fmla="*/ 11698 w 16095"/>
                <a:gd name="T65" fmla="*/ 4 h 12062"/>
                <a:gd name="T66" fmla="*/ 1705 w 16095"/>
                <a:gd name="T67" fmla="*/ 23 h 12062"/>
                <a:gd name="T68" fmla="*/ 1140 w 16095"/>
                <a:gd name="T69" fmla="*/ 198 h 12062"/>
                <a:gd name="T70" fmla="*/ 659 w 16095"/>
                <a:gd name="T71" fmla="*/ 523 h 12062"/>
                <a:gd name="T72" fmla="*/ 292 w 16095"/>
                <a:gd name="T73" fmla="*/ 968 h 12062"/>
                <a:gd name="T74" fmla="*/ 63 w 16095"/>
                <a:gd name="T75" fmla="*/ 1508 h 12062"/>
                <a:gd name="T76" fmla="*/ 0 w 16095"/>
                <a:gd name="T77" fmla="*/ 10052 h 12062"/>
                <a:gd name="T78" fmla="*/ 91 w 16095"/>
                <a:gd name="T79" fmla="*/ 10650 h 12062"/>
                <a:gd name="T80" fmla="*/ 344 w 16095"/>
                <a:gd name="T81" fmla="*/ 11175 h 12062"/>
                <a:gd name="T82" fmla="*/ 732 w 16095"/>
                <a:gd name="T83" fmla="*/ 11603 h 12062"/>
                <a:gd name="T84" fmla="*/ 1228 w 16095"/>
                <a:gd name="T85" fmla="*/ 11904 h 12062"/>
                <a:gd name="T86" fmla="*/ 1806 w 16095"/>
                <a:gd name="T87" fmla="*/ 12052 h 12062"/>
                <a:gd name="T88" fmla="*/ 11761 w 16095"/>
                <a:gd name="T89" fmla="*/ 12053 h 12062"/>
                <a:gd name="T90" fmla="*/ 12137 w 16095"/>
                <a:gd name="T91" fmla="*/ 11981 h 12062"/>
                <a:gd name="T92" fmla="*/ 12488 w 16095"/>
                <a:gd name="T93" fmla="*/ 11840 h 12062"/>
                <a:gd name="T94" fmla="*/ 12807 w 16095"/>
                <a:gd name="T95" fmla="*/ 11637 h 12062"/>
                <a:gd name="T96" fmla="*/ 13082 w 16095"/>
                <a:gd name="T97" fmla="*/ 11375 h 12062"/>
                <a:gd name="T98" fmla="*/ 15788 w 16095"/>
                <a:gd name="T99" fmla="*/ 7097 h 12062"/>
                <a:gd name="T100" fmla="*/ 15975 w 16095"/>
                <a:gd name="T101" fmla="*/ 6715 h 12062"/>
                <a:gd name="T102" fmla="*/ 16076 w 16095"/>
                <a:gd name="T103" fmla="*/ 6308 h 12062"/>
                <a:gd name="T104" fmla="*/ 16090 w 16095"/>
                <a:gd name="T105" fmla="*/ 5892 h 12062"/>
                <a:gd name="T106" fmla="*/ 16019 w 16095"/>
                <a:gd name="T107" fmla="*/ 5482 h 12062"/>
                <a:gd name="T108" fmla="*/ 15861 w 16095"/>
                <a:gd name="T109" fmla="*/ 5090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2062">
                  <a:moveTo>
                    <a:pt x="14936" y="6564"/>
                  </a:moveTo>
                  <a:lnTo>
                    <a:pt x="12420" y="10585"/>
                  </a:lnTo>
                  <a:lnTo>
                    <a:pt x="12403" y="10613"/>
                  </a:lnTo>
                  <a:lnTo>
                    <a:pt x="12385" y="10639"/>
                  </a:lnTo>
                  <a:lnTo>
                    <a:pt x="12365" y="10665"/>
                  </a:lnTo>
                  <a:lnTo>
                    <a:pt x="12346" y="10690"/>
                  </a:lnTo>
                  <a:lnTo>
                    <a:pt x="12325" y="10714"/>
                  </a:lnTo>
                  <a:lnTo>
                    <a:pt x="12304" y="10738"/>
                  </a:lnTo>
                  <a:lnTo>
                    <a:pt x="12281" y="10761"/>
                  </a:lnTo>
                  <a:lnTo>
                    <a:pt x="12258" y="10783"/>
                  </a:lnTo>
                  <a:lnTo>
                    <a:pt x="12235" y="10805"/>
                  </a:lnTo>
                  <a:lnTo>
                    <a:pt x="12211" y="10826"/>
                  </a:lnTo>
                  <a:lnTo>
                    <a:pt x="12187" y="10845"/>
                  </a:lnTo>
                  <a:lnTo>
                    <a:pt x="12162" y="10864"/>
                  </a:lnTo>
                  <a:lnTo>
                    <a:pt x="12137" y="10882"/>
                  </a:lnTo>
                  <a:lnTo>
                    <a:pt x="12110" y="10900"/>
                  </a:lnTo>
                  <a:lnTo>
                    <a:pt x="12083" y="10916"/>
                  </a:lnTo>
                  <a:lnTo>
                    <a:pt x="12056" y="10931"/>
                  </a:lnTo>
                  <a:lnTo>
                    <a:pt x="12028" y="10946"/>
                  </a:lnTo>
                  <a:lnTo>
                    <a:pt x="12001" y="10960"/>
                  </a:lnTo>
                  <a:lnTo>
                    <a:pt x="11972" y="10973"/>
                  </a:lnTo>
                  <a:lnTo>
                    <a:pt x="11942" y="10985"/>
                  </a:lnTo>
                  <a:lnTo>
                    <a:pt x="11913" y="10997"/>
                  </a:lnTo>
                  <a:lnTo>
                    <a:pt x="11883" y="11007"/>
                  </a:lnTo>
                  <a:lnTo>
                    <a:pt x="11853" y="11017"/>
                  </a:lnTo>
                  <a:lnTo>
                    <a:pt x="11823" y="11025"/>
                  </a:lnTo>
                  <a:lnTo>
                    <a:pt x="11792" y="11032"/>
                  </a:lnTo>
                  <a:lnTo>
                    <a:pt x="11760" y="11039"/>
                  </a:lnTo>
                  <a:lnTo>
                    <a:pt x="11729" y="11044"/>
                  </a:lnTo>
                  <a:lnTo>
                    <a:pt x="11697" y="11049"/>
                  </a:lnTo>
                  <a:lnTo>
                    <a:pt x="11666" y="11052"/>
                  </a:lnTo>
                  <a:lnTo>
                    <a:pt x="11634" y="11055"/>
                  </a:lnTo>
                  <a:lnTo>
                    <a:pt x="11600" y="11056"/>
                  </a:lnTo>
                  <a:lnTo>
                    <a:pt x="11568" y="11057"/>
                  </a:lnTo>
                  <a:lnTo>
                    <a:pt x="2012" y="11057"/>
                  </a:lnTo>
                  <a:lnTo>
                    <a:pt x="1961" y="11056"/>
                  </a:lnTo>
                  <a:lnTo>
                    <a:pt x="1909" y="11052"/>
                  </a:lnTo>
                  <a:lnTo>
                    <a:pt x="1859" y="11045"/>
                  </a:lnTo>
                  <a:lnTo>
                    <a:pt x="1810" y="11037"/>
                  </a:lnTo>
                  <a:lnTo>
                    <a:pt x="1760" y="11025"/>
                  </a:lnTo>
                  <a:lnTo>
                    <a:pt x="1713" y="11012"/>
                  </a:lnTo>
                  <a:lnTo>
                    <a:pt x="1666" y="10996"/>
                  </a:lnTo>
                  <a:lnTo>
                    <a:pt x="1621" y="10977"/>
                  </a:lnTo>
                  <a:lnTo>
                    <a:pt x="1576" y="10957"/>
                  </a:lnTo>
                  <a:lnTo>
                    <a:pt x="1533" y="10935"/>
                  </a:lnTo>
                  <a:lnTo>
                    <a:pt x="1491" y="10911"/>
                  </a:lnTo>
                  <a:lnTo>
                    <a:pt x="1450" y="10885"/>
                  </a:lnTo>
                  <a:lnTo>
                    <a:pt x="1410" y="10857"/>
                  </a:lnTo>
                  <a:lnTo>
                    <a:pt x="1372" y="10827"/>
                  </a:lnTo>
                  <a:lnTo>
                    <a:pt x="1336" y="10795"/>
                  </a:lnTo>
                  <a:lnTo>
                    <a:pt x="1301" y="10762"/>
                  </a:lnTo>
                  <a:lnTo>
                    <a:pt x="1267" y="10727"/>
                  </a:lnTo>
                  <a:lnTo>
                    <a:pt x="1236" y="10691"/>
                  </a:lnTo>
                  <a:lnTo>
                    <a:pt x="1206" y="10653"/>
                  </a:lnTo>
                  <a:lnTo>
                    <a:pt x="1178" y="10614"/>
                  </a:lnTo>
                  <a:lnTo>
                    <a:pt x="1152" y="10572"/>
                  </a:lnTo>
                  <a:lnTo>
                    <a:pt x="1128" y="10530"/>
                  </a:lnTo>
                  <a:lnTo>
                    <a:pt x="1106" y="10487"/>
                  </a:lnTo>
                  <a:lnTo>
                    <a:pt x="1085" y="10443"/>
                  </a:lnTo>
                  <a:lnTo>
                    <a:pt x="1067" y="10396"/>
                  </a:lnTo>
                  <a:lnTo>
                    <a:pt x="1051" y="10350"/>
                  </a:lnTo>
                  <a:lnTo>
                    <a:pt x="1038" y="10303"/>
                  </a:lnTo>
                  <a:lnTo>
                    <a:pt x="1026" y="10254"/>
                  </a:lnTo>
                  <a:lnTo>
                    <a:pt x="1018" y="10204"/>
                  </a:lnTo>
                  <a:lnTo>
                    <a:pt x="1011" y="10154"/>
                  </a:lnTo>
                  <a:lnTo>
                    <a:pt x="1007" y="10103"/>
                  </a:lnTo>
                  <a:lnTo>
                    <a:pt x="1006" y="10052"/>
                  </a:lnTo>
                  <a:lnTo>
                    <a:pt x="1006" y="2010"/>
                  </a:lnTo>
                  <a:lnTo>
                    <a:pt x="1007" y="1959"/>
                  </a:lnTo>
                  <a:lnTo>
                    <a:pt x="1011" y="1908"/>
                  </a:lnTo>
                  <a:lnTo>
                    <a:pt x="1018" y="1858"/>
                  </a:lnTo>
                  <a:lnTo>
                    <a:pt x="1026" y="1808"/>
                  </a:lnTo>
                  <a:lnTo>
                    <a:pt x="1038" y="1760"/>
                  </a:lnTo>
                  <a:lnTo>
                    <a:pt x="1051" y="1712"/>
                  </a:lnTo>
                  <a:lnTo>
                    <a:pt x="1067" y="1666"/>
                  </a:lnTo>
                  <a:lnTo>
                    <a:pt x="1085" y="1619"/>
                  </a:lnTo>
                  <a:lnTo>
                    <a:pt x="1106" y="1575"/>
                  </a:lnTo>
                  <a:lnTo>
                    <a:pt x="1128" y="1532"/>
                  </a:lnTo>
                  <a:lnTo>
                    <a:pt x="1152" y="1490"/>
                  </a:lnTo>
                  <a:lnTo>
                    <a:pt x="1178" y="1449"/>
                  </a:lnTo>
                  <a:lnTo>
                    <a:pt x="1206" y="1409"/>
                  </a:lnTo>
                  <a:lnTo>
                    <a:pt x="1236" y="1372"/>
                  </a:lnTo>
                  <a:lnTo>
                    <a:pt x="1267" y="1335"/>
                  </a:lnTo>
                  <a:lnTo>
                    <a:pt x="1301" y="1300"/>
                  </a:lnTo>
                  <a:lnTo>
                    <a:pt x="1336" y="1267"/>
                  </a:lnTo>
                  <a:lnTo>
                    <a:pt x="1372" y="1235"/>
                  </a:lnTo>
                  <a:lnTo>
                    <a:pt x="1410" y="1205"/>
                  </a:lnTo>
                  <a:lnTo>
                    <a:pt x="1450" y="1177"/>
                  </a:lnTo>
                  <a:lnTo>
                    <a:pt x="1491" y="1151"/>
                  </a:lnTo>
                  <a:lnTo>
                    <a:pt x="1533" y="1127"/>
                  </a:lnTo>
                  <a:lnTo>
                    <a:pt x="1576" y="1105"/>
                  </a:lnTo>
                  <a:lnTo>
                    <a:pt x="1621" y="1085"/>
                  </a:lnTo>
                  <a:lnTo>
                    <a:pt x="1666" y="1066"/>
                  </a:lnTo>
                  <a:lnTo>
                    <a:pt x="1713" y="1050"/>
                  </a:lnTo>
                  <a:lnTo>
                    <a:pt x="1760" y="1037"/>
                  </a:lnTo>
                  <a:lnTo>
                    <a:pt x="1810" y="1025"/>
                  </a:lnTo>
                  <a:lnTo>
                    <a:pt x="1859" y="1017"/>
                  </a:lnTo>
                  <a:lnTo>
                    <a:pt x="1909" y="1010"/>
                  </a:lnTo>
                  <a:lnTo>
                    <a:pt x="1961" y="1006"/>
                  </a:lnTo>
                  <a:lnTo>
                    <a:pt x="2012" y="1005"/>
                  </a:lnTo>
                  <a:lnTo>
                    <a:pt x="11568" y="1005"/>
                  </a:lnTo>
                  <a:lnTo>
                    <a:pt x="11600" y="1006"/>
                  </a:lnTo>
                  <a:lnTo>
                    <a:pt x="11634" y="1007"/>
                  </a:lnTo>
                  <a:lnTo>
                    <a:pt x="11666" y="1010"/>
                  </a:lnTo>
                  <a:lnTo>
                    <a:pt x="11697" y="1013"/>
                  </a:lnTo>
                  <a:lnTo>
                    <a:pt x="11729" y="1018"/>
                  </a:lnTo>
                  <a:lnTo>
                    <a:pt x="11760" y="1023"/>
                  </a:lnTo>
                  <a:lnTo>
                    <a:pt x="11792" y="1030"/>
                  </a:lnTo>
                  <a:lnTo>
                    <a:pt x="11823" y="1037"/>
                  </a:lnTo>
                  <a:lnTo>
                    <a:pt x="11853" y="1046"/>
                  </a:lnTo>
                  <a:lnTo>
                    <a:pt x="11883" y="1055"/>
                  </a:lnTo>
                  <a:lnTo>
                    <a:pt x="11913" y="1065"/>
                  </a:lnTo>
                  <a:lnTo>
                    <a:pt x="11942" y="1077"/>
                  </a:lnTo>
                  <a:lnTo>
                    <a:pt x="11972" y="1089"/>
                  </a:lnTo>
                  <a:lnTo>
                    <a:pt x="12001" y="1102"/>
                  </a:lnTo>
                  <a:lnTo>
                    <a:pt x="12028" y="1116"/>
                  </a:lnTo>
                  <a:lnTo>
                    <a:pt x="12056" y="1131"/>
                  </a:lnTo>
                  <a:lnTo>
                    <a:pt x="12083" y="1146"/>
                  </a:lnTo>
                  <a:lnTo>
                    <a:pt x="12110" y="1163"/>
                  </a:lnTo>
                  <a:lnTo>
                    <a:pt x="12137" y="1180"/>
                  </a:lnTo>
                  <a:lnTo>
                    <a:pt x="12162" y="1198"/>
                  </a:lnTo>
                  <a:lnTo>
                    <a:pt x="12187" y="1217"/>
                  </a:lnTo>
                  <a:lnTo>
                    <a:pt x="12211" y="1237"/>
                  </a:lnTo>
                  <a:lnTo>
                    <a:pt x="12235" y="1257"/>
                  </a:lnTo>
                  <a:lnTo>
                    <a:pt x="12258" y="1280"/>
                  </a:lnTo>
                  <a:lnTo>
                    <a:pt x="12281" y="1302"/>
                  </a:lnTo>
                  <a:lnTo>
                    <a:pt x="12304" y="1324"/>
                  </a:lnTo>
                  <a:lnTo>
                    <a:pt x="12325" y="1348"/>
                  </a:lnTo>
                  <a:lnTo>
                    <a:pt x="12346" y="1372"/>
                  </a:lnTo>
                  <a:lnTo>
                    <a:pt x="12365" y="1398"/>
                  </a:lnTo>
                  <a:lnTo>
                    <a:pt x="12385" y="1423"/>
                  </a:lnTo>
                  <a:lnTo>
                    <a:pt x="12403" y="1450"/>
                  </a:lnTo>
                  <a:lnTo>
                    <a:pt x="12420" y="1478"/>
                  </a:lnTo>
                  <a:lnTo>
                    <a:pt x="14935" y="5498"/>
                  </a:lnTo>
                  <a:lnTo>
                    <a:pt x="14954" y="5528"/>
                  </a:lnTo>
                  <a:lnTo>
                    <a:pt x="14971" y="5560"/>
                  </a:lnTo>
                  <a:lnTo>
                    <a:pt x="14987" y="5592"/>
                  </a:lnTo>
                  <a:lnTo>
                    <a:pt x="15003" y="5624"/>
                  </a:lnTo>
                  <a:lnTo>
                    <a:pt x="15016" y="5656"/>
                  </a:lnTo>
                  <a:lnTo>
                    <a:pt x="15029" y="5689"/>
                  </a:lnTo>
                  <a:lnTo>
                    <a:pt x="15040" y="5722"/>
                  </a:lnTo>
                  <a:lnTo>
                    <a:pt x="15050" y="5756"/>
                  </a:lnTo>
                  <a:lnTo>
                    <a:pt x="15059" y="5790"/>
                  </a:lnTo>
                  <a:lnTo>
                    <a:pt x="15066" y="5824"/>
                  </a:lnTo>
                  <a:lnTo>
                    <a:pt x="15073" y="5858"/>
                  </a:lnTo>
                  <a:lnTo>
                    <a:pt x="15078" y="5892"/>
                  </a:lnTo>
                  <a:lnTo>
                    <a:pt x="15082" y="5926"/>
                  </a:lnTo>
                  <a:lnTo>
                    <a:pt x="15085" y="5962"/>
                  </a:lnTo>
                  <a:lnTo>
                    <a:pt x="15087" y="5996"/>
                  </a:lnTo>
                  <a:lnTo>
                    <a:pt x="15088" y="6031"/>
                  </a:lnTo>
                  <a:lnTo>
                    <a:pt x="15087" y="6066"/>
                  </a:lnTo>
                  <a:lnTo>
                    <a:pt x="15085" y="6100"/>
                  </a:lnTo>
                  <a:lnTo>
                    <a:pt x="15082" y="6136"/>
                  </a:lnTo>
                  <a:lnTo>
                    <a:pt x="15078" y="6170"/>
                  </a:lnTo>
                  <a:lnTo>
                    <a:pt x="15073" y="6204"/>
                  </a:lnTo>
                  <a:lnTo>
                    <a:pt x="15066" y="6238"/>
                  </a:lnTo>
                  <a:lnTo>
                    <a:pt x="15059" y="6272"/>
                  </a:lnTo>
                  <a:lnTo>
                    <a:pt x="15050" y="6306"/>
                  </a:lnTo>
                  <a:lnTo>
                    <a:pt x="15040" y="6340"/>
                  </a:lnTo>
                  <a:lnTo>
                    <a:pt x="15029" y="6373"/>
                  </a:lnTo>
                  <a:lnTo>
                    <a:pt x="15016" y="6406"/>
                  </a:lnTo>
                  <a:lnTo>
                    <a:pt x="15003" y="6438"/>
                  </a:lnTo>
                  <a:lnTo>
                    <a:pt x="14987" y="6470"/>
                  </a:lnTo>
                  <a:lnTo>
                    <a:pt x="14971" y="6502"/>
                  </a:lnTo>
                  <a:lnTo>
                    <a:pt x="14954" y="6534"/>
                  </a:lnTo>
                  <a:lnTo>
                    <a:pt x="14936" y="6564"/>
                  </a:lnTo>
                  <a:close/>
                  <a:moveTo>
                    <a:pt x="15788" y="4966"/>
                  </a:moveTo>
                  <a:lnTo>
                    <a:pt x="13274" y="945"/>
                  </a:lnTo>
                  <a:lnTo>
                    <a:pt x="13239" y="891"/>
                  </a:lnTo>
                  <a:lnTo>
                    <a:pt x="13202" y="837"/>
                  </a:lnTo>
                  <a:lnTo>
                    <a:pt x="13164" y="786"/>
                  </a:lnTo>
                  <a:lnTo>
                    <a:pt x="13123" y="736"/>
                  </a:lnTo>
                  <a:lnTo>
                    <a:pt x="13082" y="687"/>
                  </a:lnTo>
                  <a:lnTo>
                    <a:pt x="13040" y="639"/>
                  </a:lnTo>
                  <a:lnTo>
                    <a:pt x="12996" y="594"/>
                  </a:lnTo>
                  <a:lnTo>
                    <a:pt x="12950" y="550"/>
                  </a:lnTo>
                  <a:lnTo>
                    <a:pt x="12903" y="507"/>
                  </a:lnTo>
                  <a:lnTo>
                    <a:pt x="12855" y="465"/>
                  </a:lnTo>
                  <a:lnTo>
                    <a:pt x="12807" y="426"/>
                  </a:lnTo>
                  <a:lnTo>
                    <a:pt x="12755" y="388"/>
                  </a:lnTo>
                  <a:lnTo>
                    <a:pt x="12704" y="352"/>
                  </a:lnTo>
                  <a:lnTo>
                    <a:pt x="12652" y="317"/>
                  </a:lnTo>
                  <a:lnTo>
                    <a:pt x="12598" y="283"/>
                  </a:lnTo>
                  <a:lnTo>
                    <a:pt x="12543" y="252"/>
                  </a:lnTo>
                  <a:lnTo>
                    <a:pt x="12488" y="222"/>
                  </a:lnTo>
                  <a:lnTo>
                    <a:pt x="12431" y="195"/>
                  </a:lnTo>
                  <a:lnTo>
                    <a:pt x="12374" y="169"/>
                  </a:lnTo>
                  <a:lnTo>
                    <a:pt x="12316" y="144"/>
                  </a:lnTo>
                  <a:lnTo>
                    <a:pt x="12257" y="122"/>
                  </a:lnTo>
                  <a:lnTo>
                    <a:pt x="12197" y="101"/>
                  </a:lnTo>
                  <a:lnTo>
                    <a:pt x="12137" y="82"/>
                  </a:lnTo>
                  <a:lnTo>
                    <a:pt x="12076" y="65"/>
                  </a:lnTo>
                  <a:lnTo>
                    <a:pt x="12014" y="50"/>
                  </a:lnTo>
                  <a:lnTo>
                    <a:pt x="11952" y="37"/>
                  </a:lnTo>
                  <a:lnTo>
                    <a:pt x="11889" y="26"/>
                  </a:lnTo>
                  <a:lnTo>
                    <a:pt x="11826" y="16"/>
                  </a:lnTo>
                  <a:lnTo>
                    <a:pt x="11761" y="9"/>
                  </a:lnTo>
                  <a:lnTo>
                    <a:pt x="11698" y="4"/>
                  </a:lnTo>
                  <a:lnTo>
                    <a:pt x="11633" y="1"/>
                  </a:lnTo>
                  <a:lnTo>
                    <a:pt x="11568" y="0"/>
                  </a:ln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8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4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2"/>
                  </a:lnTo>
                  <a:lnTo>
                    <a:pt x="399" y="807"/>
                  </a:lnTo>
                  <a:lnTo>
                    <a:pt x="344" y="887"/>
                  </a:lnTo>
                  <a:lnTo>
                    <a:pt x="292" y="968"/>
                  </a:lnTo>
                  <a:lnTo>
                    <a:pt x="242" y="1052"/>
                  </a:lnTo>
                  <a:lnTo>
                    <a:pt x="198" y="1139"/>
                  </a:lnTo>
                  <a:lnTo>
                    <a:pt x="158" y="1228"/>
                  </a:lnTo>
                  <a:lnTo>
                    <a:pt x="122" y="1319"/>
                  </a:lnTo>
                  <a:lnTo>
                    <a:pt x="91" y="1412"/>
                  </a:lnTo>
                  <a:lnTo>
                    <a:pt x="63" y="1508"/>
                  </a:lnTo>
                  <a:lnTo>
                    <a:pt x="41" y="1605"/>
                  </a:lnTo>
                  <a:lnTo>
                    <a:pt x="23" y="1704"/>
                  </a:lnTo>
                  <a:lnTo>
                    <a:pt x="10" y="1805"/>
                  </a:lnTo>
                  <a:lnTo>
                    <a:pt x="3" y="1907"/>
                  </a:lnTo>
                  <a:lnTo>
                    <a:pt x="0" y="2010"/>
                  </a:lnTo>
                  <a:lnTo>
                    <a:pt x="0" y="10052"/>
                  </a:lnTo>
                  <a:lnTo>
                    <a:pt x="3" y="10155"/>
                  </a:lnTo>
                  <a:lnTo>
                    <a:pt x="10" y="10257"/>
                  </a:lnTo>
                  <a:lnTo>
                    <a:pt x="23" y="10358"/>
                  </a:lnTo>
                  <a:lnTo>
                    <a:pt x="41" y="10457"/>
                  </a:lnTo>
                  <a:lnTo>
                    <a:pt x="63" y="10554"/>
                  </a:lnTo>
                  <a:lnTo>
                    <a:pt x="91" y="10650"/>
                  </a:lnTo>
                  <a:lnTo>
                    <a:pt x="122" y="10743"/>
                  </a:lnTo>
                  <a:lnTo>
                    <a:pt x="158" y="10834"/>
                  </a:lnTo>
                  <a:lnTo>
                    <a:pt x="198" y="10923"/>
                  </a:lnTo>
                  <a:lnTo>
                    <a:pt x="242" y="11010"/>
                  </a:lnTo>
                  <a:lnTo>
                    <a:pt x="292" y="11094"/>
                  </a:lnTo>
                  <a:lnTo>
                    <a:pt x="344" y="11175"/>
                  </a:lnTo>
                  <a:lnTo>
                    <a:pt x="399" y="11255"/>
                  </a:lnTo>
                  <a:lnTo>
                    <a:pt x="460" y="11330"/>
                  </a:lnTo>
                  <a:lnTo>
                    <a:pt x="523" y="11404"/>
                  </a:lnTo>
                  <a:lnTo>
                    <a:pt x="589" y="11473"/>
                  </a:lnTo>
                  <a:lnTo>
                    <a:pt x="659" y="11539"/>
                  </a:lnTo>
                  <a:lnTo>
                    <a:pt x="732" y="11603"/>
                  </a:lnTo>
                  <a:lnTo>
                    <a:pt x="808" y="11663"/>
                  </a:lnTo>
                  <a:lnTo>
                    <a:pt x="887" y="11718"/>
                  </a:lnTo>
                  <a:lnTo>
                    <a:pt x="969" y="11771"/>
                  </a:lnTo>
                  <a:lnTo>
                    <a:pt x="1053" y="11820"/>
                  </a:lnTo>
                  <a:lnTo>
                    <a:pt x="1140" y="11864"/>
                  </a:lnTo>
                  <a:lnTo>
                    <a:pt x="1228" y="11904"/>
                  </a:lnTo>
                  <a:lnTo>
                    <a:pt x="1320" y="11940"/>
                  </a:lnTo>
                  <a:lnTo>
                    <a:pt x="1413" y="11972"/>
                  </a:lnTo>
                  <a:lnTo>
                    <a:pt x="1509" y="11999"/>
                  </a:lnTo>
                  <a:lnTo>
                    <a:pt x="1606" y="12021"/>
                  </a:lnTo>
                  <a:lnTo>
                    <a:pt x="1705" y="12039"/>
                  </a:lnTo>
                  <a:lnTo>
                    <a:pt x="1806" y="12052"/>
                  </a:lnTo>
                  <a:lnTo>
                    <a:pt x="1908" y="12059"/>
                  </a:lnTo>
                  <a:lnTo>
                    <a:pt x="2012" y="12062"/>
                  </a:lnTo>
                  <a:lnTo>
                    <a:pt x="11568" y="12062"/>
                  </a:lnTo>
                  <a:lnTo>
                    <a:pt x="11633" y="12061"/>
                  </a:lnTo>
                  <a:lnTo>
                    <a:pt x="11698" y="12058"/>
                  </a:lnTo>
                  <a:lnTo>
                    <a:pt x="11761" y="12053"/>
                  </a:lnTo>
                  <a:lnTo>
                    <a:pt x="11826" y="12046"/>
                  </a:lnTo>
                  <a:lnTo>
                    <a:pt x="11889" y="12036"/>
                  </a:lnTo>
                  <a:lnTo>
                    <a:pt x="11952" y="12025"/>
                  </a:lnTo>
                  <a:lnTo>
                    <a:pt x="12014" y="12012"/>
                  </a:lnTo>
                  <a:lnTo>
                    <a:pt x="12076" y="11997"/>
                  </a:lnTo>
                  <a:lnTo>
                    <a:pt x="12137" y="11981"/>
                  </a:lnTo>
                  <a:lnTo>
                    <a:pt x="12197" y="11961"/>
                  </a:lnTo>
                  <a:lnTo>
                    <a:pt x="12257" y="11940"/>
                  </a:lnTo>
                  <a:lnTo>
                    <a:pt x="12316" y="11918"/>
                  </a:lnTo>
                  <a:lnTo>
                    <a:pt x="12374" y="11893"/>
                  </a:lnTo>
                  <a:lnTo>
                    <a:pt x="12431" y="11868"/>
                  </a:lnTo>
                  <a:lnTo>
                    <a:pt x="12488" y="11840"/>
                  </a:lnTo>
                  <a:lnTo>
                    <a:pt x="12543" y="11810"/>
                  </a:lnTo>
                  <a:lnTo>
                    <a:pt x="12598" y="11779"/>
                  </a:lnTo>
                  <a:lnTo>
                    <a:pt x="12652" y="11745"/>
                  </a:lnTo>
                  <a:lnTo>
                    <a:pt x="12704" y="11711"/>
                  </a:lnTo>
                  <a:lnTo>
                    <a:pt x="12755" y="11674"/>
                  </a:lnTo>
                  <a:lnTo>
                    <a:pt x="12807" y="11637"/>
                  </a:lnTo>
                  <a:lnTo>
                    <a:pt x="12855" y="11597"/>
                  </a:lnTo>
                  <a:lnTo>
                    <a:pt x="12903" y="11555"/>
                  </a:lnTo>
                  <a:lnTo>
                    <a:pt x="12950" y="11513"/>
                  </a:lnTo>
                  <a:lnTo>
                    <a:pt x="12996" y="11469"/>
                  </a:lnTo>
                  <a:lnTo>
                    <a:pt x="13040" y="11423"/>
                  </a:lnTo>
                  <a:lnTo>
                    <a:pt x="13082" y="11375"/>
                  </a:lnTo>
                  <a:lnTo>
                    <a:pt x="13123" y="11327"/>
                  </a:lnTo>
                  <a:lnTo>
                    <a:pt x="13164" y="11277"/>
                  </a:lnTo>
                  <a:lnTo>
                    <a:pt x="13202" y="11225"/>
                  </a:lnTo>
                  <a:lnTo>
                    <a:pt x="13239" y="11172"/>
                  </a:lnTo>
                  <a:lnTo>
                    <a:pt x="13274" y="11117"/>
                  </a:lnTo>
                  <a:lnTo>
                    <a:pt x="15788" y="7097"/>
                  </a:lnTo>
                  <a:lnTo>
                    <a:pt x="15825" y="7035"/>
                  </a:lnTo>
                  <a:lnTo>
                    <a:pt x="15861" y="6973"/>
                  </a:lnTo>
                  <a:lnTo>
                    <a:pt x="15893" y="6910"/>
                  </a:lnTo>
                  <a:lnTo>
                    <a:pt x="15923" y="6845"/>
                  </a:lnTo>
                  <a:lnTo>
                    <a:pt x="15950" y="6780"/>
                  </a:lnTo>
                  <a:lnTo>
                    <a:pt x="15975" y="6715"/>
                  </a:lnTo>
                  <a:lnTo>
                    <a:pt x="15998" y="6647"/>
                  </a:lnTo>
                  <a:lnTo>
                    <a:pt x="16019" y="6581"/>
                  </a:lnTo>
                  <a:lnTo>
                    <a:pt x="16037" y="6513"/>
                  </a:lnTo>
                  <a:lnTo>
                    <a:pt x="16052" y="6445"/>
                  </a:lnTo>
                  <a:lnTo>
                    <a:pt x="16065" y="6377"/>
                  </a:lnTo>
                  <a:lnTo>
                    <a:pt x="16076" y="6308"/>
                  </a:lnTo>
                  <a:lnTo>
                    <a:pt x="16084" y="6239"/>
                  </a:lnTo>
                  <a:lnTo>
                    <a:pt x="16090" y="6170"/>
                  </a:lnTo>
                  <a:lnTo>
                    <a:pt x="16094" y="6100"/>
                  </a:lnTo>
                  <a:lnTo>
                    <a:pt x="16095" y="6031"/>
                  </a:lnTo>
                  <a:lnTo>
                    <a:pt x="16094" y="5962"/>
                  </a:lnTo>
                  <a:lnTo>
                    <a:pt x="16090" y="5892"/>
                  </a:lnTo>
                  <a:lnTo>
                    <a:pt x="16084" y="5824"/>
                  </a:lnTo>
                  <a:lnTo>
                    <a:pt x="16076" y="5755"/>
                  </a:lnTo>
                  <a:lnTo>
                    <a:pt x="16065" y="5686"/>
                  </a:lnTo>
                  <a:lnTo>
                    <a:pt x="16052" y="5618"/>
                  </a:lnTo>
                  <a:lnTo>
                    <a:pt x="16037" y="5550"/>
                  </a:lnTo>
                  <a:lnTo>
                    <a:pt x="16019" y="5482"/>
                  </a:lnTo>
                  <a:lnTo>
                    <a:pt x="15998" y="5415"/>
                  </a:lnTo>
                  <a:lnTo>
                    <a:pt x="15975" y="5348"/>
                  </a:lnTo>
                  <a:lnTo>
                    <a:pt x="15950" y="5282"/>
                  </a:lnTo>
                  <a:lnTo>
                    <a:pt x="15923" y="5218"/>
                  </a:lnTo>
                  <a:lnTo>
                    <a:pt x="15893" y="5153"/>
                  </a:lnTo>
                  <a:lnTo>
                    <a:pt x="15861" y="5090"/>
                  </a:lnTo>
                  <a:lnTo>
                    <a:pt x="15825" y="5027"/>
                  </a:lnTo>
                  <a:lnTo>
                    <a:pt x="15788" y="49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4" name="íś1ïďé">
              <a:extLst>
                <a:ext uri="{FF2B5EF4-FFF2-40B4-BE49-F238E27FC236}">
                  <a16:creationId xmlns:a16="http://schemas.microsoft.com/office/drawing/2014/main" id="{1EEEF6C2-2CCB-4C51-A3BC-73F10E181E11}"/>
                </a:ext>
              </a:extLst>
            </p:cNvPr>
            <p:cNvSpPr/>
            <p:nvPr/>
          </p:nvSpPr>
          <p:spPr bwMode="auto">
            <a:xfrm>
              <a:off x="2015676" y="848576"/>
              <a:ext cx="96258" cy="97447"/>
            </a:xfrm>
            <a:custGeom>
              <a:avLst/>
              <a:gdLst>
                <a:gd name="T0" fmla="*/ 1306 w 3018"/>
                <a:gd name="T1" fmla="*/ 2493 h 3016"/>
                <a:gd name="T2" fmla="*/ 1073 w 3018"/>
                <a:gd name="T3" fmla="*/ 2415 h 3016"/>
                <a:gd name="T4" fmla="*/ 870 w 3018"/>
                <a:gd name="T5" fmla="*/ 2284 h 3016"/>
                <a:gd name="T6" fmla="*/ 704 w 3018"/>
                <a:gd name="T7" fmla="*/ 2109 h 3016"/>
                <a:gd name="T8" fmla="*/ 582 w 3018"/>
                <a:gd name="T9" fmla="*/ 1899 h 3016"/>
                <a:gd name="T10" fmla="*/ 514 w 3018"/>
                <a:gd name="T11" fmla="*/ 1661 h 3016"/>
                <a:gd name="T12" fmla="*/ 508 w 3018"/>
                <a:gd name="T13" fmla="*/ 1405 h 3016"/>
                <a:gd name="T14" fmla="*/ 565 w 3018"/>
                <a:gd name="T15" fmla="*/ 1162 h 3016"/>
                <a:gd name="T16" fmla="*/ 675 w 3018"/>
                <a:gd name="T17" fmla="*/ 946 h 3016"/>
                <a:gd name="T18" fmla="*/ 833 w 3018"/>
                <a:gd name="T19" fmla="*/ 764 h 3016"/>
                <a:gd name="T20" fmla="*/ 1029 w 3018"/>
                <a:gd name="T21" fmla="*/ 624 h 3016"/>
                <a:gd name="T22" fmla="*/ 1258 w 3018"/>
                <a:gd name="T23" fmla="*/ 535 h 3016"/>
                <a:gd name="T24" fmla="*/ 1509 w 3018"/>
                <a:gd name="T25" fmla="*/ 503 h 3016"/>
                <a:gd name="T26" fmla="*/ 1761 w 3018"/>
                <a:gd name="T27" fmla="*/ 535 h 3016"/>
                <a:gd name="T28" fmla="*/ 1988 w 3018"/>
                <a:gd name="T29" fmla="*/ 624 h 3016"/>
                <a:gd name="T30" fmla="*/ 2185 w 3018"/>
                <a:gd name="T31" fmla="*/ 764 h 3016"/>
                <a:gd name="T32" fmla="*/ 2343 w 3018"/>
                <a:gd name="T33" fmla="*/ 946 h 3016"/>
                <a:gd name="T34" fmla="*/ 2454 w 3018"/>
                <a:gd name="T35" fmla="*/ 1162 h 3016"/>
                <a:gd name="T36" fmla="*/ 2510 w 3018"/>
                <a:gd name="T37" fmla="*/ 1405 h 3016"/>
                <a:gd name="T38" fmla="*/ 2503 w 3018"/>
                <a:gd name="T39" fmla="*/ 1661 h 3016"/>
                <a:gd name="T40" fmla="*/ 2436 w 3018"/>
                <a:gd name="T41" fmla="*/ 1899 h 3016"/>
                <a:gd name="T42" fmla="*/ 2315 w 3018"/>
                <a:gd name="T43" fmla="*/ 2109 h 3016"/>
                <a:gd name="T44" fmla="*/ 2149 w 3018"/>
                <a:gd name="T45" fmla="*/ 2284 h 3016"/>
                <a:gd name="T46" fmla="*/ 1945 w 3018"/>
                <a:gd name="T47" fmla="*/ 2415 h 3016"/>
                <a:gd name="T48" fmla="*/ 1711 w 3018"/>
                <a:gd name="T49" fmla="*/ 2493 h 3016"/>
                <a:gd name="T50" fmla="*/ 1509 w 3018"/>
                <a:gd name="T51" fmla="*/ 0 h 3016"/>
                <a:gd name="T52" fmla="*/ 1132 w 3018"/>
                <a:gd name="T53" fmla="*/ 47 h 3016"/>
                <a:gd name="T54" fmla="*/ 790 w 3018"/>
                <a:gd name="T55" fmla="*/ 182 h 3016"/>
                <a:gd name="T56" fmla="*/ 494 w 3018"/>
                <a:gd name="T57" fmla="*/ 392 h 3016"/>
                <a:gd name="T58" fmla="*/ 258 w 3018"/>
                <a:gd name="T59" fmla="*/ 666 h 3016"/>
                <a:gd name="T60" fmla="*/ 92 w 3018"/>
                <a:gd name="T61" fmla="*/ 989 h 3016"/>
                <a:gd name="T62" fmla="*/ 7 w 3018"/>
                <a:gd name="T63" fmla="*/ 1354 h 3016"/>
                <a:gd name="T64" fmla="*/ 17 w 3018"/>
                <a:gd name="T65" fmla="*/ 1738 h 3016"/>
                <a:gd name="T66" fmla="*/ 119 w 3018"/>
                <a:gd name="T67" fmla="*/ 2095 h 3016"/>
                <a:gd name="T68" fmla="*/ 300 w 3018"/>
                <a:gd name="T69" fmla="*/ 2411 h 3016"/>
                <a:gd name="T70" fmla="*/ 550 w 3018"/>
                <a:gd name="T71" fmla="*/ 2672 h 3016"/>
                <a:gd name="T72" fmla="*/ 854 w 3018"/>
                <a:gd name="T73" fmla="*/ 2867 h 3016"/>
                <a:gd name="T74" fmla="*/ 1204 w 3018"/>
                <a:gd name="T75" fmla="*/ 2986 h 3016"/>
                <a:gd name="T76" fmla="*/ 1587 w 3018"/>
                <a:gd name="T77" fmla="*/ 3014 h 3016"/>
                <a:gd name="T78" fmla="*/ 1958 w 3018"/>
                <a:gd name="T79" fmla="*/ 2948 h 3016"/>
                <a:gd name="T80" fmla="*/ 2292 w 3018"/>
                <a:gd name="T81" fmla="*/ 2798 h 3016"/>
                <a:gd name="T82" fmla="*/ 2577 w 3018"/>
                <a:gd name="T83" fmla="*/ 2574 h 3016"/>
                <a:gd name="T84" fmla="*/ 2800 w 3018"/>
                <a:gd name="T85" fmla="*/ 2290 h 3016"/>
                <a:gd name="T86" fmla="*/ 2950 w 3018"/>
                <a:gd name="T87" fmla="*/ 1956 h 3016"/>
                <a:gd name="T88" fmla="*/ 3016 w 3018"/>
                <a:gd name="T89" fmla="*/ 1585 h 3016"/>
                <a:gd name="T90" fmla="*/ 2987 w 3018"/>
                <a:gd name="T91" fmla="*/ 1204 h 3016"/>
                <a:gd name="T92" fmla="*/ 2869 w 3018"/>
                <a:gd name="T93" fmla="*/ 855 h 3016"/>
                <a:gd name="T94" fmla="*/ 2673 w 3018"/>
                <a:gd name="T95" fmla="*/ 549 h 3016"/>
                <a:gd name="T96" fmla="*/ 2412 w 3018"/>
                <a:gd name="T97" fmla="*/ 300 h 3016"/>
                <a:gd name="T98" fmla="*/ 2097 w 3018"/>
                <a:gd name="T99" fmla="*/ 119 h 3016"/>
                <a:gd name="T100" fmla="*/ 1739 w 3018"/>
                <a:gd name="T101" fmla="*/ 18 h 3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8" h="3016">
                  <a:moveTo>
                    <a:pt x="1509" y="2513"/>
                  </a:moveTo>
                  <a:lnTo>
                    <a:pt x="1457" y="2512"/>
                  </a:lnTo>
                  <a:lnTo>
                    <a:pt x="1407" y="2508"/>
                  </a:lnTo>
                  <a:lnTo>
                    <a:pt x="1356" y="2502"/>
                  </a:lnTo>
                  <a:lnTo>
                    <a:pt x="1306" y="2493"/>
                  </a:lnTo>
                  <a:lnTo>
                    <a:pt x="1258" y="2482"/>
                  </a:lnTo>
                  <a:lnTo>
                    <a:pt x="1211" y="2468"/>
                  </a:lnTo>
                  <a:lnTo>
                    <a:pt x="1163" y="2452"/>
                  </a:lnTo>
                  <a:lnTo>
                    <a:pt x="1118" y="2435"/>
                  </a:lnTo>
                  <a:lnTo>
                    <a:pt x="1073" y="2415"/>
                  </a:lnTo>
                  <a:lnTo>
                    <a:pt x="1029" y="2392"/>
                  </a:lnTo>
                  <a:lnTo>
                    <a:pt x="987" y="2367"/>
                  </a:lnTo>
                  <a:lnTo>
                    <a:pt x="947" y="2341"/>
                  </a:lnTo>
                  <a:lnTo>
                    <a:pt x="908" y="2313"/>
                  </a:lnTo>
                  <a:lnTo>
                    <a:pt x="870" y="2284"/>
                  </a:lnTo>
                  <a:lnTo>
                    <a:pt x="833" y="2252"/>
                  </a:lnTo>
                  <a:lnTo>
                    <a:pt x="798" y="2219"/>
                  </a:lnTo>
                  <a:lnTo>
                    <a:pt x="765" y="2183"/>
                  </a:lnTo>
                  <a:lnTo>
                    <a:pt x="733" y="2147"/>
                  </a:lnTo>
                  <a:lnTo>
                    <a:pt x="704" y="2109"/>
                  </a:lnTo>
                  <a:lnTo>
                    <a:pt x="675" y="2070"/>
                  </a:lnTo>
                  <a:lnTo>
                    <a:pt x="649" y="2030"/>
                  </a:lnTo>
                  <a:lnTo>
                    <a:pt x="625" y="1987"/>
                  </a:lnTo>
                  <a:lnTo>
                    <a:pt x="603" y="1944"/>
                  </a:lnTo>
                  <a:lnTo>
                    <a:pt x="582" y="1899"/>
                  </a:lnTo>
                  <a:lnTo>
                    <a:pt x="565" y="1854"/>
                  </a:lnTo>
                  <a:lnTo>
                    <a:pt x="549" y="1808"/>
                  </a:lnTo>
                  <a:lnTo>
                    <a:pt x="535" y="1759"/>
                  </a:lnTo>
                  <a:lnTo>
                    <a:pt x="523" y="1711"/>
                  </a:lnTo>
                  <a:lnTo>
                    <a:pt x="514" y="1661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8"/>
                  </a:lnTo>
                  <a:lnTo>
                    <a:pt x="504" y="1457"/>
                  </a:lnTo>
                  <a:lnTo>
                    <a:pt x="508" y="1405"/>
                  </a:lnTo>
                  <a:lnTo>
                    <a:pt x="514" y="1355"/>
                  </a:lnTo>
                  <a:lnTo>
                    <a:pt x="523" y="1306"/>
                  </a:lnTo>
                  <a:lnTo>
                    <a:pt x="535" y="1257"/>
                  </a:lnTo>
                  <a:lnTo>
                    <a:pt x="549" y="1209"/>
                  </a:lnTo>
                  <a:lnTo>
                    <a:pt x="565" y="1162"/>
                  </a:lnTo>
                  <a:lnTo>
                    <a:pt x="582" y="1117"/>
                  </a:lnTo>
                  <a:lnTo>
                    <a:pt x="603" y="1073"/>
                  </a:lnTo>
                  <a:lnTo>
                    <a:pt x="625" y="1030"/>
                  </a:lnTo>
                  <a:lnTo>
                    <a:pt x="649" y="987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3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3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7" y="649"/>
                  </a:lnTo>
                  <a:lnTo>
                    <a:pt x="1029" y="624"/>
                  </a:lnTo>
                  <a:lnTo>
                    <a:pt x="1073" y="602"/>
                  </a:lnTo>
                  <a:lnTo>
                    <a:pt x="1118" y="582"/>
                  </a:lnTo>
                  <a:lnTo>
                    <a:pt x="1163" y="564"/>
                  </a:lnTo>
                  <a:lnTo>
                    <a:pt x="1211" y="548"/>
                  </a:lnTo>
                  <a:lnTo>
                    <a:pt x="1258" y="535"/>
                  </a:lnTo>
                  <a:lnTo>
                    <a:pt x="1306" y="524"/>
                  </a:lnTo>
                  <a:lnTo>
                    <a:pt x="1356" y="515"/>
                  </a:lnTo>
                  <a:lnTo>
                    <a:pt x="1407" y="508"/>
                  </a:lnTo>
                  <a:lnTo>
                    <a:pt x="1457" y="505"/>
                  </a:lnTo>
                  <a:lnTo>
                    <a:pt x="1509" y="503"/>
                  </a:lnTo>
                  <a:lnTo>
                    <a:pt x="1561" y="505"/>
                  </a:lnTo>
                  <a:lnTo>
                    <a:pt x="1612" y="508"/>
                  </a:lnTo>
                  <a:lnTo>
                    <a:pt x="1662" y="515"/>
                  </a:lnTo>
                  <a:lnTo>
                    <a:pt x="1711" y="524"/>
                  </a:lnTo>
                  <a:lnTo>
                    <a:pt x="1761" y="535"/>
                  </a:lnTo>
                  <a:lnTo>
                    <a:pt x="1808" y="548"/>
                  </a:lnTo>
                  <a:lnTo>
                    <a:pt x="1855" y="564"/>
                  </a:lnTo>
                  <a:lnTo>
                    <a:pt x="1901" y="582"/>
                  </a:lnTo>
                  <a:lnTo>
                    <a:pt x="1945" y="602"/>
                  </a:lnTo>
                  <a:lnTo>
                    <a:pt x="1988" y="624"/>
                  </a:lnTo>
                  <a:lnTo>
                    <a:pt x="2030" y="649"/>
                  </a:lnTo>
                  <a:lnTo>
                    <a:pt x="2072" y="675"/>
                  </a:lnTo>
                  <a:lnTo>
                    <a:pt x="2111" y="703"/>
                  </a:lnTo>
                  <a:lnTo>
                    <a:pt x="2149" y="733"/>
                  </a:lnTo>
                  <a:lnTo>
                    <a:pt x="2185" y="764"/>
                  </a:lnTo>
                  <a:lnTo>
                    <a:pt x="2220" y="797"/>
                  </a:lnTo>
                  <a:lnTo>
                    <a:pt x="2254" y="833"/>
                  </a:lnTo>
                  <a:lnTo>
                    <a:pt x="2285" y="869"/>
                  </a:lnTo>
                  <a:lnTo>
                    <a:pt x="2315" y="907"/>
                  </a:lnTo>
                  <a:lnTo>
                    <a:pt x="2343" y="946"/>
                  </a:lnTo>
                  <a:lnTo>
                    <a:pt x="2369" y="987"/>
                  </a:lnTo>
                  <a:lnTo>
                    <a:pt x="2394" y="1030"/>
                  </a:lnTo>
                  <a:lnTo>
                    <a:pt x="2416" y="1073"/>
                  </a:lnTo>
                  <a:lnTo>
                    <a:pt x="2436" y="1117"/>
                  </a:lnTo>
                  <a:lnTo>
                    <a:pt x="2454" y="1162"/>
                  </a:lnTo>
                  <a:lnTo>
                    <a:pt x="2470" y="1209"/>
                  </a:lnTo>
                  <a:lnTo>
                    <a:pt x="2483" y="1257"/>
                  </a:lnTo>
                  <a:lnTo>
                    <a:pt x="2494" y="1306"/>
                  </a:lnTo>
                  <a:lnTo>
                    <a:pt x="2503" y="1355"/>
                  </a:lnTo>
                  <a:lnTo>
                    <a:pt x="2510" y="1405"/>
                  </a:lnTo>
                  <a:lnTo>
                    <a:pt x="2513" y="1457"/>
                  </a:lnTo>
                  <a:lnTo>
                    <a:pt x="2515" y="1508"/>
                  </a:lnTo>
                  <a:lnTo>
                    <a:pt x="2513" y="1560"/>
                  </a:lnTo>
                  <a:lnTo>
                    <a:pt x="2510" y="1611"/>
                  </a:lnTo>
                  <a:lnTo>
                    <a:pt x="2503" y="1661"/>
                  </a:lnTo>
                  <a:lnTo>
                    <a:pt x="2494" y="1711"/>
                  </a:lnTo>
                  <a:lnTo>
                    <a:pt x="2483" y="1759"/>
                  </a:lnTo>
                  <a:lnTo>
                    <a:pt x="2470" y="1808"/>
                  </a:lnTo>
                  <a:lnTo>
                    <a:pt x="2454" y="1854"/>
                  </a:lnTo>
                  <a:lnTo>
                    <a:pt x="2436" y="1899"/>
                  </a:lnTo>
                  <a:lnTo>
                    <a:pt x="2416" y="1944"/>
                  </a:lnTo>
                  <a:lnTo>
                    <a:pt x="2394" y="1987"/>
                  </a:lnTo>
                  <a:lnTo>
                    <a:pt x="2369" y="2030"/>
                  </a:lnTo>
                  <a:lnTo>
                    <a:pt x="2343" y="2070"/>
                  </a:lnTo>
                  <a:lnTo>
                    <a:pt x="2315" y="2109"/>
                  </a:lnTo>
                  <a:lnTo>
                    <a:pt x="2285" y="2147"/>
                  </a:lnTo>
                  <a:lnTo>
                    <a:pt x="2254" y="2183"/>
                  </a:lnTo>
                  <a:lnTo>
                    <a:pt x="2220" y="2219"/>
                  </a:lnTo>
                  <a:lnTo>
                    <a:pt x="2185" y="2252"/>
                  </a:lnTo>
                  <a:lnTo>
                    <a:pt x="2149" y="2284"/>
                  </a:lnTo>
                  <a:lnTo>
                    <a:pt x="2111" y="2313"/>
                  </a:lnTo>
                  <a:lnTo>
                    <a:pt x="2072" y="2341"/>
                  </a:lnTo>
                  <a:lnTo>
                    <a:pt x="2030" y="2367"/>
                  </a:lnTo>
                  <a:lnTo>
                    <a:pt x="1988" y="2392"/>
                  </a:lnTo>
                  <a:lnTo>
                    <a:pt x="1945" y="2415"/>
                  </a:lnTo>
                  <a:lnTo>
                    <a:pt x="1901" y="2435"/>
                  </a:lnTo>
                  <a:lnTo>
                    <a:pt x="1855" y="2452"/>
                  </a:lnTo>
                  <a:lnTo>
                    <a:pt x="1808" y="2468"/>
                  </a:lnTo>
                  <a:lnTo>
                    <a:pt x="1761" y="2482"/>
                  </a:lnTo>
                  <a:lnTo>
                    <a:pt x="1711" y="2493"/>
                  </a:lnTo>
                  <a:lnTo>
                    <a:pt x="1662" y="2502"/>
                  </a:lnTo>
                  <a:lnTo>
                    <a:pt x="1612" y="2508"/>
                  </a:lnTo>
                  <a:lnTo>
                    <a:pt x="1561" y="2512"/>
                  </a:lnTo>
                  <a:lnTo>
                    <a:pt x="1509" y="2513"/>
                  </a:lnTo>
                  <a:close/>
                  <a:moveTo>
                    <a:pt x="1509" y="0"/>
                  </a:moveTo>
                  <a:lnTo>
                    <a:pt x="1432" y="2"/>
                  </a:lnTo>
                  <a:lnTo>
                    <a:pt x="1354" y="8"/>
                  </a:lnTo>
                  <a:lnTo>
                    <a:pt x="1279" y="18"/>
                  </a:lnTo>
                  <a:lnTo>
                    <a:pt x="1204" y="31"/>
                  </a:lnTo>
                  <a:lnTo>
                    <a:pt x="1132" y="47"/>
                  </a:lnTo>
                  <a:lnTo>
                    <a:pt x="1061" y="69"/>
                  </a:lnTo>
                  <a:lnTo>
                    <a:pt x="990" y="92"/>
                  </a:lnTo>
                  <a:lnTo>
                    <a:pt x="922" y="119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8"/>
                  </a:lnTo>
                  <a:lnTo>
                    <a:pt x="606" y="300"/>
                  </a:lnTo>
                  <a:lnTo>
                    <a:pt x="550" y="345"/>
                  </a:lnTo>
                  <a:lnTo>
                    <a:pt x="494" y="392"/>
                  </a:lnTo>
                  <a:lnTo>
                    <a:pt x="442" y="443"/>
                  </a:lnTo>
                  <a:lnTo>
                    <a:pt x="392" y="495"/>
                  </a:lnTo>
                  <a:lnTo>
                    <a:pt x="344" y="549"/>
                  </a:lnTo>
                  <a:lnTo>
                    <a:pt x="300" y="606"/>
                  </a:lnTo>
                  <a:lnTo>
                    <a:pt x="258" y="666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5"/>
                  </a:lnTo>
                  <a:lnTo>
                    <a:pt x="119" y="921"/>
                  </a:lnTo>
                  <a:lnTo>
                    <a:pt x="92" y="989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1" y="1204"/>
                  </a:lnTo>
                  <a:lnTo>
                    <a:pt x="17" y="1279"/>
                  </a:lnTo>
                  <a:lnTo>
                    <a:pt x="7" y="1354"/>
                  </a:lnTo>
                  <a:lnTo>
                    <a:pt x="2" y="1431"/>
                  </a:lnTo>
                  <a:lnTo>
                    <a:pt x="0" y="1508"/>
                  </a:lnTo>
                  <a:lnTo>
                    <a:pt x="2" y="1585"/>
                  </a:lnTo>
                  <a:lnTo>
                    <a:pt x="7" y="1663"/>
                  </a:lnTo>
                  <a:lnTo>
                    <a:pt x="17" y="1738"/>
                  </a:lnTo>
                  <a:lnTo>
                    <a:pt x="31" y="1813"/>
                  </a:lnTo>
                  <a:lnTo>
                    <a:pt x="48" y="1885"/>
                  </a:lnTo>
                  <a:lnTo>
                    <a:pt x="68" y="1956"/>
                  </a:lnTo>
                  <a:lnTo>
                    <a:pt x="92" y="2027"/>
                  </a:lnTo>
                  <a:lnTo>
                    <a:pt x="119" y="2095"/>
                  </a:lnTo>
                  <a:lnTo>
                    <a:pt x="149" y="2162"/>
                  </a:lnTo>
                  <a:lnTo>
                    <a:pt x="182" y="2227"/>
                  </a:lnTo>
                  <a:lnTo>
                    <a:pt x="219" y="2290"/>
                  </a:lnTo>
                  <a:lnTo>
                    <a:pt x="258" y="2351"/>
                  </a:lnTo>
                  <a:lnTo>
                    <a:pt x="300" y="2411"/>
                  </a:lnTo>
                  <a:lnTo>
                    <a:pt x="344" y="2467"/>
                  </a:lnTo>
                  <a:lnTo>
                    <a:pt x="392" y="2522"/>
                  </a:lnTo>
                  <a:lnTo>
                    <a:pt x="442" y="2574"/>
                  </a:lnTo>
                  <a:lnTo>
                    <a:pt x="494" y="2624"/>
                  </a:lnTo>
                  <a:lnTo>
                    <a:pt x="550" y="2672"/>
                  </a:lnTo>
                  <a:lnTo>
                    <a:pt x="606" y="2716"/>
                  </a:lnTo>
                  <a:lnTo>
                    <a:pt x="665" y="2758"/>
                  </a:lnTo>
                  <a:lnTo>
                    <a:pt x="727" y="2798"/>
                  </a:lnTo>
                  <a:lnTo>
                    <a:pt x="790" y="2834"/>
                  </a:lnTo>
                  <a:lnTo>
                    <a:pt x="854" y="2867"/>
                  </a:lnTo>
                  <a:lnTo>
                    <a:pt x="922" y="2897"/>
                  </a:lnTo>
                  <a:lnTo>
                    <a:pt x="990" y="2924"/>
                  </a:lnTo>
                  <a:lnTo>
                    <a:pt x="1061" y="2948"/>
                  </a:lnTo>
                  <a:lnTo>
                    <a:pt x="1132" y="2969"/>
                  </a:lnTo>
                  <a:lnTo>
                    <a:pt x="1204" y="2986"/>
                  </a:lnTo>
                  <a:lnTo>
                    <a:pt x="1279" y="2999"/>
                  </a:lnTo>
                  <a:lnTo>
                    <a:pt x="1354" y="3008"/>
                  </a:lnTo>
                  <a:lnTo>
                    <a:pt x="1432" y="3014"/>
                  </a:lnTo>
                  <a:lnTo>
                    <a:pt x="1509" y="3016"/>
                  </a:lnTo>
                  <a:lnTo>
                    <a:pt x="1587" y="3014"/>
                  </a:lnTo>
                  <a:lnTo>
                    <a:pt x="1663" y="3008"/>
                  </a:lnTo>
                  <a:lnTo>
                    <a:pt x="1739" y="2999"/>
                  </a:lnTo>
                  <a:lnTo>
                    <a:pt x="1813" y="2986"/>
                  </a:lnTo>
                  <a:lnTo>
                    <a:pt x="1887" y="2969"/>
                  </a:lnTo>
                  <a:lnTo>
                    <a:pt x="1958" y="2948"/>
                  </a:lnTo>
                  <a:lnTo>
                    <a:pt x="2028" y="2924"/>
                  </a:lnTo>
                  <a:lnTo>
                    <a:pt x="2097" y="2897"/>
                  </a:lnTo>
                  <a:lnTo>
                    <a:pt x="2163" y="2867"/>
                  </a:lnTo>
                  <a:lnTo>
                    <a:pt x="2229" y="2834"/>
                  </a:lnTo>
                  <a:lnTo>
                    <a:pt x="2292" y="2798"/>
                  </a:lnTo>
                  <a:lnTo>
                    <a:pt x="2353" y="2758"/>
                  </a:lnTo>
                  <a:lnTo>
                    <a:pt x="2412" y="2716"/>
                  </a:lnTo>
                  <a:lnTo>
                    <a:pt x="2469" y="2672"/>
                  </a:lnTo>
                  <a:lnTo>
                    <a:pt x="2523" y="2624"/>
                  </a:lnTo>
                  <a:lnTo>
                    <a:pt x="2577" y="2574"/>
                  </a:lnTo>
                  <a:lnTo>
                    <a:pt x="2626" y="2522"/>
                  </a:lnTo>
                  <a:lnTo>
                    <a:pt x="2673" y="2467"/>
                  </a:lnTo>
                  <a:lnTo>
                    <a:pt x="2718" y="2411"/>
                  </a:lnTo>
                  <a:lnTo>
                    <a:pt x="2761" y="2351"/>
                  </a:lnTo>
                  <a:lnTo>
                    <a:pt x="2800" y="2290"/>
                  </a:lnTo>
                  <a:lnTo>
                    <a:pt x="2836" y="2227"/>
                  </a:lnTo>
                  <a:lnTo>
                    <a:pt x="2869" y="2162"/>
                  </a:lnTo>
                  <a:lnTo>
                    <a:pt x="2899" y="2095"/>
                  </a:lnTo>
                  <a:lnTo>
                    <a:pt x="2927" y="2027"/>
                  </a:lnTo>
                  <a:lnTo>
                    <a:pt x="2950" y="1956"/>
                  </a:lnTo>
                  <a:lnTo>
                    <a:pt x="2971" y="1885"/>
                  </a:lnTo>
                  <a:lnTo>
                    <a:pt x="2987" y="1813"/>
                  </a:lnTo>
                  <a:lnTo>
                    <a:pt x="3001" y="1738"/>
                  </a:lnTo>
                  <a:lnTo>
                    <a:pt x="3010" y="1663"/>
                  </a:lnTo>
                  <a:lnTo>
                    <a:pt x="3016" y="1585"/>
                  </a:lnTo>
                  <a:lnTo>
                    <a:pt x="3018" y="1508"/>
                  </a:lnTo>
                  <a:lnTo>
                    <a:pt x="3016" y="1431"/>
                  </a:lnTo>
                  <a:lnTo>
                    <a:pt x="3010" y="1354"/>
                  </a:lnTo>
                  <a:lnTo>
                    <a:pt x="3001" y="1279"/>
                  </a:lnTo>
                  <a:lnTo>
                    <a:pt x="2987" y="1204"/>
                  </a:lnTo>
                  <a:lnTo>
                    <a:pt x="2971" y="1131"/>
                  </a:lnTo>
                  <a:lnTo>
                    <a:pt x="2950" y="1060"/>
                  </a:lnTo>
                  <a:lnTo>
                    <a:pt x="2927" y="989"/>
                  </a:lnTo>
                  <a:lnTo>
                    <a:pt x="2899" y="921"/>
                  </a:lnTo>
                  <a:lnTo>
                    <a:pt x="2869" y="855"/>
                  </a:lnTo>
                  <a:lnTo>
                    <a:pt x="2836" y="789"/>
                  </a:lnTo>
                  <a:lnTo>
                    <a:pt x="2800" y="726"/>
                  </a:lnTo>
                  <a:lnTo>
                    <a:pt x="2761" y="666"/>
                  </a:lnTo>
                  <a:lnTo>
                    <a:pt x="2718" y="606"/>
                  </a:lnTo>
                  <a:lnTo>
                    <a:pt x="2673" y="549"/>
                  </a:lnTo>
                  <a:lnTo>
                    <a:pt x="2626" y="495"/>
                  </a:lnTo>
                  <a:lnTo>
                    <a:pt x="2577" y="443"/>
                  </a:lnTo>
                  <a:lnTo>
                    <a:pt x="2523" y="392"/>
                  </a:lnTo>
                  <a:lnTo>
                    <a:pt x="2469" y="345"/>
                  </a:lnTo>
                  <a:lnTo>
                    <a:pt x="2412" y="300"/>
                  </a:lnTo>
                  <a:lnTo>
                    <a:pt x="2353" y="258"/>
                  </a:lnTo>
                  <a:lnTo>
                    <a:pt x="2292" y="218"/>
                  </a:lnTo>
                  <a:lnTo>
                    <a:pt x="2229" y="182"/>
                  </a:lnTo>
                  <a:lnTo>
                    <a:pt x="2163" y="149"/>
                  </a:lnTo>
                  <a:lnTo>
                    <a:pt x="2097" y="119"/>
                  </a:lnTo>
                  <a:lnTo>
                    <a:pt x="2028" y="92"/>
                  </a:lnTo>
                  <a:lnTo>
                    <a:pt x="1958" y="69"/>
                  </a:lnTo>
                  <a:lnTo>
                    <a:pt x="1887" y="47"/>
                  </a:lnTo>
                  <a:lnTo>
                    <a:pt x="1813" y="31"/>
                  </a:lnTo>
                  <a:lnTo>
                    <a:pt x="1739" y="18"/>
                  </a:lnTo>
                  <a:lnTo>
                    <a:pt x="1663" y="8"/>
                  </a:lnTo>
                  <a:lnTo>
                    <a:pt x="1587" y="2"/>
                  </a:lnTo>
                  <a:lnTo>
                    <a:pt x="15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5" name="íS1iḑê">
              <a:extLst>
                <a:ext uri="{FF2B5EF4-FFF2-40B4-BE49-F238E27FC236}">
                  <a16:creationId xmlns:a16="http://schemas.microsoft.com/office/drawing/2014/main" id="{69D9EBFF-A444-4862-A52D-19AC933F5AC5}"/>
                </a:ext>
              </a:extLst>
            </p:cNvPr>
            <p:cNvSpPr/>
            <p:nvPr/>
          </p:nvSpPr>
          <p:spPr bwMode="auto">
            <a:xfrm>
              <a:off x="2443223" y="163016"/>
              <a:ext cx="305965" cy="307374"/>
            </a:xfrm>
            <a:custGeom>
              <a:avLst/>
              <a:gdLst>
                <a:gd name="T0" fmla="*/ 5872 w 8047"/>
                <a:gd name="T1" fmla="*/ 6409 h 8046"/>
                <a:gd name="T2" fmla="*/ 5238 w 8047"/>
                <a:gd name="T3" fmla="*/ 6786 h 8046"/>
                <a:gd name="T4" fmla="*/ 4543 w 8047"/>
                <a:gd name="T5" fmla="*/ 6995 h 8046"/>
                <a:gd name="T6" fmla="*/ 3820 w 8047"/>
                <a:gd name="T7" fmla="*/ 7033 h 8046"/>
                <a:gd name="T8" fmla="*/ 3106 w 8047"/>
                <a:gd name="T9" fmla="*/ 6898 h 8046"/>
                <a:gd name="T10" fmla="*/ 2431 w 8047"/>
                <a:gd name="T11" fmla="*/ 6587 h 8046"/>
                <a:gd name="T12" fmla="*/ 1836 w 8047"/>
                <a:gd name="T13" fmla="*/ 6102 h 8046"/>
                <a:gd name="T14" fmla="*/ 1391 w 8047"/>
                <a:gd name="T15" fmla="*/ 5499 h 8046"/>
                <a:gd name="T16" fmla="*/ 1113 w 8047"/>
                <a:gd name="T17" fmla="*/ 4824 h 8046"/>
                <a:gd name="T18" fmla="*/ 1007 w 8047"/>
                <a:gd name="T19" fmla="*/ 4110 h 8046"/>
                <a:gd name="T20" fmla="*/ 1073 w 8047"/>
                <a:gd name="T21" fmla="*/ 3388 h 8046"/>
                <a:gd name="T22" fmla="*/ 1314 w 8047"/>
                <a:gd name="T23" fmla="*/ 2694 h 8046"/>
                <a:gd name="T24" fmla="*/ 1733 w 8047"/>
                <a:gd name="T25" fmla="*/ 2059 h 8046"/>
                <a:gd name="T26" fmla="*/ 2295 w 8047"/>
                <a:gd name="T27" fmla="*/ 1548 h 8046"/>
                <a:gd name="T28" fmla="*/ 2945 w 8047"/>
                <a:gd name="T29" fmla="*/ 1204 h 8046"/>
                <a:gd name="T30" fmla="*/ 3647 w 8047"/>
                <a:gd name="T31" fmla="*/ 1029 h 8046"/>
                <a:gd name="T32" fmla="*/ 4371 w 8047"/>
                <a:gd name="T33" fmla="*/ 1025 h 8046"/>
                <a:gd name="T34" fmla="*/ 5081 w 8047"/>
                <a:gd name="T35" fmla="*/ 1196 h 8046"/>
                <a:gd name="T36" fmla="*/ 5743 w 8047"/>
                <a:gd name="T37" fmla="*/ 1543 h 8046"/>
                <a:gd name="T38" fmla="*/ 6314 w 8047"/>
                <a:gd name="T39" fmla="*/ 2057 h 8046"/>
                <a:gd name="T40" fmla="*/ 6724 w 8047"/>
                <a:gd name="T41" fmla="*/ 2677 h 8046"/>
                <a:gd name="T42" fmla="*/ 6968 w 8047"/>
                <a:gd name="T43" fmla="*/ 3362 h 8046"/>
                <a:gd name="T44" fmla="*/ 7040 w 8047"/>
                <a:gd name="T45" fmla="*/ 4081 h 8046"/>
                <a:gd name="T46" fmla="*/ 6940 w 8047"/>
                <a:gd name="T47" fmla="*/ 4799 h 8046"/>
                <a:gd name="T48" fmla="*/ 6663 w 8047"/>
                <a:gd name="T49" fmla="*/ 5485 h 8046"/>
                <a:gd name="T50" fmla="*/ 4024 w 8047"/>
                <a:gd name="T51" fmla="*/ 0 h 8046"/>
                <a:gd name="T52" fmla="*/ 3018 w 8047"/>
                <a:gd name="T53" fmla="*/ 125 h 8046"/>
                <a:gd name="T54" fmla="*/ 2105 w 8047"/>
                <a:gd name="T55" fmla="*/ 485 h 8046"/>
                <a:gd name="T56" fmla="*/ 1318 w 8047"/>
                <a:gd name="T57" fmla="*/ 1044 h 8046"/>
                <a:gd name="T58" fmla="*/ 687 w 8047"/>
                <a:gd name="T59" fmla="*/ 1773 h 8046"/>
                <a:gd name="T60" fmla="*/ 243 w 8047"/>
                <a:gd name="T61" fmla="*/ 2639 h 8046"/>
                <a:gd name="T62" fmla="*/ 20 w 8047"/>
                <a:gd name="T63" fmla="*/ 3611 h 8046"/>
                <a:gd name="T64" fmla="*/ 46 w 8047"/>
                <a:gd name="T65" fmla="*/ 4636 h 8046"/>
                <a:gd name="T66" fmla="*/ 316 w 8047"/>
                <a:gd name="T67" fmla="*/ 5590 h 8046"/>
                <a:gd name="T68" fmla="*/ 798 w 8047"/>
                <a:gd name="T69" fmla="*/ 6431 h 8046"/>
                <a:gd name="T70" fmla="*/ 1463 w 8047"/>
                <a:gd name="T71" fmla="*/ 7128 h 8046"/>
                <a:gd name="T72" fmla="*/ 2278 w 8047"/>
                <a:gd name="T73" fmla="*/ 7650 h 8046"/>
                <a:gd name="T74" fmla="*/ 3212 w 8047"/>
                <a:gd name="T75" fmla="*/ 7965 h 8046"/>
                <a:gd name="T76" fmla="*/ 4231 w 8047"/>
                <a:gd name="T77" fmla="*/ 8041 h 8046"/>
                <a:gd name="T78" fmla="*/ 5220 w 8047"/>
                <a:gd name="T79" fmla="*/ 7866 h 8046"/>
                <a:gd name="T80" fmla="*/ 6110 w 8047"/>
                <a:gd name="T81" fmla="*/ 7464 h 8046"/>
                <a:gd name="T82" fmla="*/ 6868 w 8047"/>
                <a:gd name="T83" fmla="*/ 6868 h 8046"/>
                <a:gd name="T84" fmla="*/ 7465 w 8047"/>
                <a:gd name="T85" fmla="*/ 6110 h 8046"/>
                <a:gd name="T86" fmla="*/ 7866 w 8047"/>
                <a:gd name="T87" fmla="*/ 5220 h 8046"/>
                <a:gd name="T88" fmla="*/ 8042 w 8047"/>
                <a:gd name="T89" fmla="*/ 4230 h 8046"/>
                <a:gd name="T90" fmla="*/ 7966 w 8047"/>
                <a:gd name="T91" fmla="*/ 3212 h 8046"/>
                <a:gd name="T92" fmla="*/ 7650 w 8047"/>
                <a:gd name="T93" fmla="*/ 2278 h 8046"/>
                <a:gd name="T94" fmla="*/ 7128 w 8047"/>
                <a:gd name="T95" fmla="*/ 1463 h 8046"/>
                <a:gd name="T96" fmla="*/ 6431 w 8047"/>
                <a:gd name="T97" fmla="*/ 798 h 8046"/>
                <a:gd name="T98" fmla="*/ 5590 w 8047"/>
                <a:gd name="T99" fmla="*/ 316 h 8046"/>
                <a:gd name="T100" fmla="*/ 4636 w 8047"/>
                <a:gd name="T101" fmla="*/ 46 h 8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47" h="8046">
                  <a:moveTo>
                    <a:pt x="6314" y="5986"/>
                  </a:moveTo>
                  <a:lnTo>
                    <a:pt x="6210" y="6102"/>
                  </a:lnTo>
                  <a:lnTo>
                    <a:pt x="6102" y="6210"/>
                  </a:lnTo>
                  <a:lnTo>
                    <a:pt x="5989" y="6313"/>
                  </a:lnTo>
                  <a:lnTo>
                    <a:pt x="5872" y="6409"/>
                  </a:lnTo>
                  <a:lnTo>
                    <a:pt x="5752" y="6497"/>
                  </a:lnTo>
                  <a:lnTo>
                    <a:pt x="5627" y="6580"/>
                  </a:lnTo>
                  <a:lnTo>
                    <a:pt x="5500" y="6655"/>
                  </a:lnTo>
                  <a:lnTo>
                    <a:pt x="5370" y="6724"/>
                  </a:lnTo>
                  <a:lnTo>
                    <a:pt x="5238" y="6786"/>
                  </a:lnTo>
                  <a:lnTo>
                    <a:pt x="5102" y="6842"/>
                  </a:lnTo>
                  <a:lnTo>
                    <a:pt x="4964" y="6890"/>
                  </a:lnTo>
                  <a:lnTo>
                    <a:pt x="4825" y="6933"/>
                  </a:lnTo>
                  <a:lnTo>
                    <a:pt x="4684" y="6967"/>
                  </a:lnTo>
                  <a:lnTo>
                    <a:pt x="4543" y="6995"/>
                  </a:lnTo>
                  <a:lnTo>
                    <a:pt x="4399" y="7017"/>
                  </a:lnTo>
                  <a:lnTo>
                    <a:pt x="4255" y="7031"/>
                  </a:lnTo>
                  <a:lnTo>
                    <a:pt x="4110" y="7039"/>
                  </a:lnTo>
                  <a:lnTo>
                    <a:pt x="3965" y="7039"/>
                  </a:lnTo>
                  <a:lnTo>
                    <a:pt x="3820" y="7033"/>
                  </a:lnTo>
                  <a:lnTo>
                    <a:pt x="3676" y="7020"/>
                  </a:lnTo>
                  <a:lnTo>
                    <a:pt x="3533" y="7000"/>
                  </a:lnTo>
                  <a:lnTo>
                    <a:pt x="3389" y="6973"/>
                  </a:lnTo>
                  <a:lnTo>
                    <a:pt x="3247" y="6940"/>
                  </a:lnTo>
                  <a:lnTo>
                    <a:pt x="3106" y="6898"/>
                  </a:lnTo>
                  <a:lnTo>
                    <a:pt x="2966" y="6850"/>
                  </a:lnTo>
                  <a:lnTo>
                    <a:pt x="2829" y="6795"/>
                  </a:lnTo>
                  <a:lnTo>
                    <a:pt x="2695" y="6732"/>
                  </a:lnTo>
                  <a:lnTo>
                    <a:pt x="2562" y="6663"/>
                  </a:lnTo>
                  <a:lnTo>
                    <a:pt x="2431" y="6587"/>
                  </a:lnTo>
                  <a:lnTo>
                    <a:pt x="2304" y="6503"/>
                  </a:lnTo>
                  <a:lnTo>
                    <a:pt x="2181" y="6412"/>
                  </a:lnTo>
                  <a:lnTo>
                    <a:pt x="2060" y="6314"/>
                  </a:lnTo>
                  <a:lnTo>
                    <a:pt x="1944" y="6209"/>
                  </a:lnTo>
                  <a:lnTo>
                    <a:pt x="1836" y="6102"/>
                  </a:lnTo>
                  <a:lnTo>
                    <a:pt x="1733" y="5988"/>
                  </a:lnTo>
                  <a:lnTo>
                    <a:pt x="1637" y="5871"/>
                  </a:lnTo>
                  <a:lnTo>
                    <a:pt x="1549" y="5751"/>
                  </a:lnTo>
                  <a:lnTo>
                    <a:pt x="1466" y="5627"/>
                  </a:lnTo>
                  <a:lnTo>
                    <a:pt x="1391" y="5499"/>
                  </a:lnTo>
                  <a:lnTo>
                    <a:pt x="1322" y="5369"/>
                  </a:lnTo>
                  <a:lnTo>
                    <a:pt x="1260" y="5237"/>
                  </a:lnTo>
                  <a:lnTo>
                    <a:pt x="1204" y="5101"/>
                  </a:lnTo>
                  <a:lnTo>
                    <a:pt x="1156" y="4964"/>
                  </a:lnTo>
                  <a:lnTo>
                    <a:pt x="1113" y="4824"/>
                  </a:lnTo>
                  <a:lnTo>
                    <a:pt x="1079" y="4683"/>
                  </a:lnTo>
                  <a:lnTo>
                    <a:pt x="1050" y="4542"/>
                  </a:lnTo>
                  <a:lnTo>
                    <a:pt x="1029" y="4399"/>
                  </a:lnTo>
                  <a:lnTo>
                    <a:pt x="1015" y="4254"/>
                  </a:lnTo>
                  <a:lnTo>
                    <a:pt x="1007" y="4110"/>
                  </a:lnTo>
                  <a:lnTo>
                    <a:pt x="1006" y="3965"/>
                  </a:lnTo>
                  <a:lnTo>
                    <a:pt x="1013" y="3820"/>
                  </a:lnTo>
                  <a:lnTo>
                    <a:pt x="1026" y="3675"/>
                  </a:lnTo>
                  <a:lnTo>
                    <a:pt x="1046" y="3532"/>
                  </a:lnTo>
                  <a:lnTo>
                    <a:pt x="1073" y="3388"/>
                  </a:lnTo>
                  <a:lnTo>
                    <a:pt x="1107" y="3246"/>
                  </a:lnTo>
                  <a:lnTo>
                    <a:pt x="1149" y="3105"/>
                  </a:lnTo>
                  <a:lnTo>
                    <a:pt x="1197" y="2966"/>
                  </a:lnTo>
                  <a:lnTo>
                    <a:pt x="1251" y="2828"/>
                  </a:lnTo>
                  <a:lnTo>
                    <a:pt x="1314" y="2694"/>
                  </a:lnTo>
                  <a:lnTo>
                    <a:pt x="1384" y="2561"/>
                  </a:lnTo>
                  <a:lnTo>
                    <a:pt x="1460" y="2430"/>
                  </a:lnTo>
                  <a:lnTo>
                    <a:pt x="1544" y="2303"/>
                  </a:lnTo>
                  <a:lnTo>
                    <a:pt x="1634" y="2180"/>
                  </a:lnTo>
                  <a:lnTo>
                    <a:pt x="1733" y="2059"/>
                  </a:lnTo>
                  <a:lnTo>
                    <a:pt x="1837" y="1943"/>
                  </a:lnTo>
                  <a:lnTo>
                    <a:pt x="1945" y="1835"/>
                  </a:lnTo>
                  <a:lnTo>
                    <a:pt x="2058" y="1732"/>
                  </a:lnTo>
                  <a:lnTo>
                    <a:pt x="2175" y="1637"/>
                  </a:lnTo>
                  <a:lnTo>
                    <a:pt x="2295" y="1548"/>
                  </a:lnTo>
                  <a:lnTo>
                    <a:pt x="2419" y="1465"/>
                  </a:lnTo>
                  <a:lnTo>
                    <a:pt x="2547" y="1390"/>
                  </a:lnTo>
                  <a:lnTo>
                    <a:pt x="2677" y="1322"/>
                  </a:lnTo>
                  <a:lnTo>
                    <a:pt x="2809" y="1259"/>
                  </a:lnTo>
                  <a:lnTo>
                    <a:pt x="2945" y="1204"/>
                  </a:lnTo>
                  <a:lnTo>
                    <a:pt x="3082" y="1156"/>
                  </a:lnTo>
                  <a:lnTo>
                    <a:pt x="3222" y="1113"/>
                  </a:lnTo>
                  <a:lnTo>
                    <a:pt x="3363" y="1078"/>
                  </a:lnTo>
                  <a:lnTo>
                    <a:pt x="3504" y="1050"/>
                  </a:lnTo>
                  <a:lnTo>
                    <a:pt x="3647" y="1029"/>
                  </a:lnTo>
                  <a:lnTo>
                    <a:pt x="3792" y="1014"/>
                  </a:lnTo>
                  <a:lnTo>
                    <a:pt x="3936" y="1007"/>
                  </a:lnTo>
                  <a:lnTo>
                    <a:pt x="4081" y="1006"/>
                  </a:lnTo>
                  <a:lnTo>
                    <a:pt x="4226" y="1012"/>
                  </a:lnTo>
                  <a:lnTo>
                    <a:pt x="4371" y="1025"/>
                  </a:lnTo>
                  <a:lnTo>
                    <a:pt x="4514" y="1045"/>
                  </a:lnTo>
                  <a:lnTo>
                    <a:pt x="4658" y="1072"/>
                  </a:lnTo>
                  <a:lnTo>
                    <a:pt x="4800" y="1106"/>
                  </a:lnTo>
                  <a:lnTo>
                    <a:pt x="4941" y="1148"/>
                  </a:lnTo>
                  <a:lnTo>
                    <a:pt x="5081" y="1196"/>
                  </a:lnTo>
                  <a:lnTo>
                    <a:pt x="5218" y="1251"/>
                  </a:lnTo>
                  <a:lnTo>
                    <a:pt x="5353" y="1313"/>
                  </a:lnTo>
                  <a:lnTo>
                    <a:pt x="5486" y="1383"/>
                  </a:lnTo>
                  <a:lnTo>
                    <a:pt x="5616" y="1459"/>
                  </a:lnTo>
                  <a:lnTo>
                    <a:pt x="5743" y="1543"/>
                  </a:lnTo>
                  <a:lnTo>
                    <a:pt x="5866" y="1633"/>
                  </a:lnTo>
                  <a:lnTo>
                    <a:pt x="5987" y="1732"/>
                  </a:lnTo>
                  <a:lnTo>
                    <a:pt x="6103" y="1836"/>
                  </a:lnTo>
                  <a:lnTo>
                    <a:pt x="6211" y="1944"/>
                  </a:lnTo>
                  <a:lnTo>
                    <a:pt x="6314" y="2057"/>
                  </a:lnTo>
                  <a:lnTo>
                    <a:pt x="6409" y="2174"/>
                  </a:lnTo>
                  <a:lnTo>
                    <a:pt x="6498" y="2294"/>
                  </a:lnTo>
                  <a:lnTo>
                    <a:pt x="6581" y="2419"/>
                  </a:lnTo>
                  <a:lnTo>
                    <a:pt x="6656" y="2546"/>
                  </a:lnTo>
                  <a:lnTo>
                    <a:pt x="6724" y="2677"/>
                  </a:lnTo>
                  <a:lnTo>
                    <a:pt x="6787" y="2809"/>
                  </a:lnTo>
                  <a:lnTo>
                    <a:pt x="6842" y="2944"/>
                  </a:lnTo>
                  <a:lnTo>
                    <a:pt x="6890" y="3082"/>
                  </a:lnTo>
                  <a:lnTo>
                    <a:pt x="6933" y="3221"/>
                  </a:lnTo>
                  <a:lnTo>
                    <a:pt x="6968" y="3362"/>
                  </a:lnTo>
                  <a:lnTo>
                    <a:pt x="6996" y="3503"/>
                  </a:lnTo>
                  <a:lnTo>
                    <a:pt x="7017" y="3647"/>
                  </a:lnTo>
                  <a:lnTo>
                    <a:pt x="7032" y="3791"/>
                  </a:lnTo>
                  <a:lnTo>
                    <a:pt x="7039" y="3936"/>
                  </a:lnTo>
                  <a:lnTo>
                    <a:pt x="7040" y="4081"/>
                  </a:lnTo>
                  <a:lnTo>
                    <a:pt x="7034" y="4226"/>
                  </a:lnTo>
                  <a:lnTo>
                    <a:pt x="7021" y="4369"/>
                  </a:lnTo>
                  <a:lnTo>
                    <a:pt x="7001" y="4514"/>
                  </a:lnTo>
                  <a:lnTo>
                    <a:pt x="6974" y="4657"/>
                  </a:lnTo>
                  <a:lnTo>
                    <a:pt x="6940" y="4799"/>
                  </a:lnTo>
                  <a:lnTo>
                    <a:pt x="6898" y="4940"/>
                  </a:lnTo>
                  <a:lnTo>
                    <a:pt x="6850" y="5080"/>
                  </a:lnTo>
                  <a:lnTo>
                    <a:pt x="6795" y="5216"/>
                  </a:lnTo>
                  <a:lnTo>
                    <a:pt x="6732" y="5352"/>
                  </a:lnTo>
                  <a:lnTo>
                    <a:pt x="6663" y="5485"/>
                  </a:lnTo>
                  <a:lnTo>
                    <a:pt x="6587" y="5615"/>
                  </a:lnTo>
                  <a:lnTo>
                    <a:pt x="6503" y="5742"/>
                  </a:lnTo>
                  <a:lnTo>
                    <a:pt x="6413" y="5866"/>
                  </a:lnTo>
                  <a:lnTo>
                    <a:pt x="6314" y="5986"/>
                  </a:lnTo>
                  <a:close/>
                  <a:moveTo>
                    <a:pt x="4024" y="0"/>
                  </a:moveTo>
                  <a:lnTo>
                    <a:pt x="3816" y="5"/>
                  </a:lnTo>
                  <a:lnTo>
                    <a:pt x="3612" y="20"/>
                  </a:lnTo>
                  <a:lnTo>
                    <a:pt x="3410" y="46"/>
                  </a:lnTo>
                  <a:lnTo>
                    <a:pt x="3212" y="81"/>
                  </a:lnTo>
                  <a:lnTo>
                    <a:pt x="3018" y="125"/>
                  </a:lnTo>
                  <a:lnTo>
                    <a:pt x="2826" y="180"/>
                  </a:lnTo>
                  <a:lnTo>
                    <a:pt x="2639" y="243"/>
                  </a:lnTo>
                  <a:lnTo>
                    <a:pt x="2456" y="316"/>
                  </a:lnTo>
                  <a:lnTo>
                    <a:pt x="2278" y="396"/>
                  </a:lnTo>
                  <a:lnTo>
                    <a:pt x="2105" y="485"/>
                  </a:lnTo>
                  <a:lnTo>
                    <a:pt x="1936" y="582"/>
                  </a:lnTo>
                  <a:lnTo>
                    <a:pt x="1773" y="687"/>
                  </a:lnTo>
                  <a:lnTo>
                    <a:pt x="1615" y="798"/>
                  </a:lnTo>
                  <a:lnTo>
                    <a:pt x="1463" y="918"/>
                  </a:lnTo>
                  <a:lnTo>
                    <a:pt x="1318" y="1044"/>
                  </a:lnTo>
                  <a:lnTo>
                    <a:pt x="1178" y="1178"/>
                  </a:lnTo>
                  <a:lnTo>
                    <a:pt x="1045" y="1318"/>
                  </a:lnTo>
                  <a:lnTo>
                    <a:pt x="918" y="1463"/>
                  </a:lnTo>
                  <a:lnTo>
                    <a:pt x="798" y="1615"/>
                  </a:lnTo>
                  <a:lnTo>
                    <a:pt x="687" y="1773"/>
                  </a:lnTo>
                  <a:lnTo>
                    <a:pt x="582" y="1936"/>
                  </a:lnTo>
                  <a:lnTo>
                    <a:pt x="485" y="2105"/>
                  </a:lnTo>
                  <a:lnTo>
                    <a:pt x="396" y="2278"/>
                  </a:lnTo>
                  <a:lnTo>
                    <a:pt x="316" y="2456"/>
                  </a:lnTo>
                  <a:lnTo>
                    <a:pt x="243" y="2639"/>
                  </a:lnTo>
                  <a:lnTo>
                    <a:pt x="181" y="2826"/>
                  </a:lnTo>
                  <a:lnTo>
                    <a:pt x="126" y="3018"/>
                  </a:lnTo>
                  <a:lnTo>
                    <a:pt x="81" y="3212"/>
                  </a:lnTo>
                  <a:lnTo>
                    <a:pt x="46" y="3410"/>
                  </a:lnTo>
                  <a:lnTo>
                    <a:pt x="20" y="3611"/>
                  </a:lnTo>
                  <a:lnTo>
                    <a:pt x="5" y="3816"/>
                  </a:lnTo>
                  <a:lnTo>
                    <a:pt x="0" y="4022"/>
                  </a:lnTo>
                  <a:lnTo>
                    <a:pt x="5" y="4230"/>
                  </a:lnTo>
                  <a:lnTo>
                    <a:pt x="20" y="4434"/>
                  </a:lnTo>
                  <a:lnTo>
                    <a:pt x="46" y="4636"/>
                  </a:lnTo>
                  <a:lnTo>
                    <a:pt x="81" y="4834"/>
                  </a:lnTo>
                  <a:lnTo>
                    <a:pt x="126" y="5028"/>
                  </a:lnTo>
                  <a:lnTo>
                    <a:pt x="181" y="5220"/>
                  </a:lnTo>
                  <a:lnTo>
                    <a:pt x="243" y="5407"/>
                  </a:lnTo>
                  <a:lnTo>
                    <a:pt x="316" y="5590"/>
                  </a:lnTo>
                  <a:lnTo>
                    <a:pt x="396" y="5768"/>
                  </a:lnTo>
                  <a:lnTo>
                    <a:pt x="485" y="5941"/>
                  </a:lnTo>
                  <a:lnTo>
                    <a:pt x="582" y="6110"/>
                  </a:lnTo>
                  <a:lnTo>
                    <a:pt x="687" y="6273"/>
                  </a:lnTo>
                  <a:lnTo>
                    <a:pt x="798" y="6431"/>
                  </a:lnTo>
                  <a:lnTo>
                    <a:pt x="918" y="6583"/>
                  </a:lnTo>
                  <a:lnTo>
                    <a:pt x="1045" y="6728"/>
                  </a:lnTo>
                  <a:lnTo>
                    <a:pt x="1178" y="6868"/>
                  </a:lnTo>
                  <a:lnTo>
                    <a:pt x="1318" y="7001"/>
                  </a:lnTo>
                  <a:lnTo>
                    <a:pt x="1463" y="7128"/>
                  </a:lnTo>
                  <a:lnTo>
                    <a:pt x="1615" y="7247"/>
                  </a:lnTo>
                  <a:lnTo>
                    <a:pt x="1773" y="7359"/>
                  </a:lnTo>
                  <a:lnTo>
                    <a:pt x="1936" y="7464"/>
                  </a:lnTo>
                  <a:lnTo>
                    <a:pt x="2105" y="7561"/>
                  </a:lnTo>
                  <a:lnTo>
                    <a:pt x="2278" y="7650"/>
                  </a:lnTo>
                  <a:lnTo>
                    <a:pt x="2456" y="7730"/>
                  </a:lnTo>
                  <a:lnTo>
                    <a:pt x="2639" y="7803"/>
                  </a:lnTo>
                  <a:lnTo>
                    <a:pt x="2826" y="7866"/>
                  </a:lnTo>
                  <a:lnTo>
                    <a:pt x="3018" y="7919"/>
                  </a:lnTo>
                  <a:lnTo>
                    <a:pt x="3212" y="7965"/>
                  </a:lnTo>
                  <a:lnTo>
                    <a:pt x="3410" y="8000"/>
                  </a:lnTo>
                  <a:lnTo>
                    <a:pt x="3612" y="8026"/>
                  </a:lnTo>
                  <a:lnTo>
                    <a:pt x="3816" y="8041"/>
                  </a:lnTo>
                  <a:lnTo>
                    <a:pt x="4024" y="8046"/>
                  </a:lnTo>
                  <a:lnTo>
                    <a:pt x="4231" y="8041"/>
                  </a:lnTo>
                  <a:lnTo>
                    <a:pt x="4435" y="8026"/>
                  </a:lnTo>
                  <a:lnTo>
                    <a:pt x="4636" y="8000"/>
                  </a:lnTo>
                  <a:lnTo>
                    <a:pt x="4834" y="7965"/>
                  </a:lnTo>
                  <a:lnTo>
                    <a:pt x="5028" y="7919"/>
                  </a:lnTo>
                  <a:lnTo>
                    <a:pt x="5220" y="7866"/>
                  </a:lnTo>
                  <a:lnTo>
                    <a:pt x="5407" y="7803"/>
                  </a:lnTo>
                  <a:lnTo>
                    <a:pt x="5590" y="7730"/>
                  </a:lnTo>
                  <a:lnTo>
                    <a:pt x="5768" y="7650"/>
                  </a:lnTo>
                  <a:lnTo>
                    <a:pt x="5941" y="7561"/>
                  </a:lnTo>
                  <a:lnTo>
                    <a:pt x="6110" y="7464"/>
                  </a:lnTo>
                  <a:lnTo>
                    <a:pt x="6273" y="7359"/>
                  </a:lnTo>
                  <a:lnTo>
                    <a:pt x="6431" y="7247"/>
                  </a:lnTo>
                  <a:lnTo>
                    <a:pt x="6583" y="7128"/>
                  </a:lnTo>
                  <a:lnTo>
                    <a:pt x="6728" y="7001"/>
                  </a:lnTo>
                  <a:lnTo>
                    <a:pt x="6868" y="6868"/>
                  </a:lnTo>
                  <a:lnTo>
                    <a:pt x="7002" y="6728"/>
                  </a:lnTo>
                  <a:lnTo>
                    <a:pt x="7128" y="6583"/>
                  </a:lnTo>
                  <a:lnTo>
                    <a:pt x="7248" y="6431"/>
                  </a:lnTo>
                  <a:lnTo>
                    <a:pt x="7360" y="6273"/>
                  </a:lnTo>
                  <a:lnTo>
                    <a:pt x="7465" y="6110"/>
                  </a:lnTo>
                  <a:lnTo>
                    <a:pt x="7561" y="5941"/>
                  </a:lnTo>
                  <a:lnTo>
                    <a:pt x="7650" y="5768"/>
                  </a:lnTo>
                  <a:lnTo>
                    <a:pt x="7730" y="5590"/>
                  </a:lnTo>
                  <a:lnTo>
                    <a:pt x="7803" y="5407"/>
                  </a:lnTo>
                  <a:lnTo>
                    <a:pt x="7866" y="5220"/>
                  </a:lnTo>
                  <a:lnTo>
                    <a:pt x="7921" y="5028"/>
                  </a:lnTo>
                  <a:lnTo>
                    <a:pt x="7966" y="4834"/>
                  </a:lnTo>
                  <a:lnTo>
                    <a:pt x="8001" y="4636"/>
                  </a:lnTo>
                  <a:lnTo>
                    <a:pt x="8026" y="4434"/>
                  </a:lnTo>
                  <a:lnTo>
                    <a:pt x="8042" y="4230"/>
                  </a:lnTo>
                  <a:lnTo>
                    <a:pt x="8047" y="4022"/>
                  </a:lnTo>
                  <a:lnTo>
                    <a:pt x="8042" y="3816"/>
                  </a:lnTo>
                  <a:lnTo>
                    <a:pt x="8026" y="3611"/>
                  </a:lnTo>
                  <a:lnTo>
                    <a:pt x="8001" y="3410"/>
                  </a:lnTo>
                  <a:lnTo>
                    <a:pt x="7966" y="3212"/>
                  </a:lnTo>
                  <a:lnTo>
                    <a:pt x="7921" y="3018"/>
                  </a:lnTo>
                  <a:lnTo>
                    <a:pt x="7866" y="2826"/>
                  </a:lnTo>
                  <a:lnTo>
                    <a:pt x="7803" y="2639"/>
                  </a:lnTo>
                  <a:lnTo>
                    <a:pt x="7730" y="2456"/>
                  </a:lnTo>
                  <a:lnTo>
                    <a:pt x="7650" y="2278"/>
                  </a:lnTo>
                  <a:lnTo>
                    <a:pt x="7561" y="2105"/>
                  </a:lnTo>
                  <a:lnTo>
                    <a:pt x="7465" y="1936"/>
                  </a:lnTo>
                  <a:lnTo>
                    <a:pt x="7360" y="1773"/>
                  </a:lnTo>
                  <a:lnTo>
                    <a:pt x="7248" y="1615"/>
                  </a:lnTo>
                  <a:lnTo>
                    <a:pt x="7128" y="1463"/>
                  </a:lnTo>
                  <a:lnTo>
                    <a:pt x="7002" y="1318"/>
                  </a:lnTo>
                  <a:lnTo>
                    <a:pt x="6868" y="1178"/>
                  </a:lnTo>
                  <a:lnTo>
                    <a:pt x="6728" y="1044"/>
                  </a:lnTo>
                  <a:lnTo>
                    <a:pt x="6583" y="918"/>
                  </a:lnTo>
                  <a:lnTo>
                    <a:pt x="6431" y="798"/>
                  </a:lnTo>
                  <a:lnTo>
                    <a:pt x="6273" y="687"/>
                  </a:lnTo>
                  <a:lnTo>
                    <a:pt x="6110" y="582"/>
                  </a:lnTo>
                  <a:lnTo>
                    <a:pt x="5941" y="485"/>
                  </a:lnTo>
                  <a:lnTo>
                    <a:pt x="5768" y="396"/>
                  </a:lnTo>
                  <a:lnTo>
                    <a:pt x="5590" y="316"/>
                  </a:lnTo>
                  <a:lnTo>
                    <a:pt x="5407" y="243"/>
                  </a:lnTo>
                  <a:lnTo>
                    <a:pt x="5220" y="180"/>
                  </a:lnTo>
                  <a:lnTo>
                    <a:pt x="5028" y="125"/>
                  </a:lnTo>
                  <a:lnTo>
                    <a:pt x="4834" y="81"/>
                  </a:lnTo>
                  <a:lnTo>
                    <a:pt x="4636" y="46"/>
                  </a:lnTo>
                  <a:lnTo>
                    <a:pt x="4435" y="20"/>
                  </a:lnTo>
                  <a:lnTo>
                    <a:pt x="4231" y="5"/>
                  </a:lnTo>
                  <a:lnTo>
                    <a:pt x="4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6" name="í$1iďé">
              <a:extLst>
                <a:ext uri="{FF2B5EF4-FFF2-40B4-BE49-F238E27FC236}">
                  <a16:creationId xmlns:a16="http://schemas.microsoft.com/office/drawing/2014/main" id="{70D6BF58-FEA5-40D5-B24A-8A8BCDC71DAA}"/>
                </a:ext>
              </a:extLst>
            </p:cNvPr>
            <p:cNvSpPr/>
            <p:nvPr/>
          </p:nvSpPr>
          <p:spPr bwMode="auto">
            <a:xfrm>
              <a:off x="2519361" y="240564"/>
              <a:ext cx="86009" cy="86009"/>
            </a:xfrm>
            <a:custGeom>
              <a:avLst/>
              <a:gdLst>
                <a:gd name="T0" fmla="*/ 1705 w 2263"/>
                <a:gd name="T1" fmla="*/ 23 h 2263"/>
                <a:gd name="T2" fmla="*/ 1319 w 2263"/>
                <a:gd name="T3" fmla="*/ 122 h 2263"/>
                <a:gd name="T4" fmla="*/ 968 w 2263"/>
                <a:gd name="T5" fmla="*/ 291 h 2263"/>
                <a:gd name="T6" fmla="*/ 659 w 2263"/>
                <a:gd name="T7" fmla="*/ 523 h 2263"/>
                <a:gd name="T8" fmla="*/ 399 w 2263"/>
                <a:gd name="T9" fmla="*/ 808 h 2263"/>
                <a:gd name="T10" fmla="*/ 198 w 2263"/>
                <a:gd name="T11" fmla="*/ 1139 h 2263"/>
                <a:gd name="T12" fmla="*/ 63 w 2263"/>
                <a:gd name="T13" fmla="*/ 1508 h 2263"/>
                <a:gd name="T14" fmla="*/ 3 w 2263"/>
                <a:gd name="T15" fmla="*/ 1908 h 2263"/>
                <a:gd name="T16" fmla="*/ 1 w 2263"/>
                <a:gd name="T17" fmla="*/ 2038 h 2263"/>
                <a:gd name="T18" fmla="*/ 11 w 2263"/>
                <a:gd name="T19" fmla="*/ 2087 h 2263"/>
                <a:gd name="T20" fmla="*/ 30 w 2263"/>
                <a:gd name="T21" fmla="*/ 2131 h 2263"/>
                <a:gd name="T22" fmla="*/ 57 w 2263"/>
                <a:gd name="T23" fmla="*/ 2171 h 2263"/>
                <a:gd name="T24" fmla="*/ 91 w 2263"/>
                <a:gd name="T25" fmla="*/ 2206 h 2263"/>
                <a:gd name="T26" fmla="*/ 131 w 2263"/>
                <a:gd name="T27" fmla="*/ 2233 h 2263"/>
                <a:gd name="T28" fmla="*/ 177 w 2263"/>
                <a:gd name="T29" fmla="*/ 2252 h 2263"/>
                <a:gd name="T30" fmla="*/ 225 w 2263"/>
                <a:gd name="T31" fmla="*/ 2262 h 2263"/>
                <a:gd name="T32" fmla="*/ 276 w 2263"/>
                <a:gd name="T33" fmla="*/ 2262 h 2263"/>
                <a:gd name="T34" fmla="*/ 326 w 2263"/>
                <a:gd name="T35" fmla="*/ 2252 h 2263"/>
                <a:gd name="T36" fmla="*/ 371 w 2263"/>
                <a:gd name="T37" fmla="*/ 2233 h 2263"/>
                <a:gd name="T38" fmla="*/ 411 w 2263"/>
                <a:gd name="T39" fmla="*/ 2206 h 2263"/>
                <a:gd name="T40" fmla="*/ 445 w 2263"/>
                <a:gd name="T41" fmla="*/ 2171 h 2263"/>
                <a:gd name="T42" fmla="*/ 472 w 2263"/>
                <a:gd name="T43" fmla="*/ 2131 h 2263"/>
                <a:gd name="T44" fmla="*/ 492 w 2263"/>
                <a:gd name="T45" fmla="*/ 2087 h 2263"/>
                <a:gd name="T46" fmla="*/ 502 w 2263"/>
                <a:gd name="T47" fmla="*/ 2038 h 2263"/>
                <a:gd name="T48" fmla="*/ 505 w 2263"/>
                <a:gd name="T49" fmla="*/ 1934 h 2263"/>
                <a:gd name="T50" fmla="*/ 550 w 2263"/>
                <a:gd name="T51" fmla="*/ 1634 h 2263"/>
                <a:gd name="T52" fmla="*/ 651 w 2263"/>
                <a:gd name="T53" fmla="*/ 1358 h 2263"/>
                <a:gd name="T54" fmla="*/ 802 w 2263"/>
                <a:gd name="T55" fmla="*/ 1109 h 2263"/>
                <a:gd name="T56" fmla="*/ 997 w 2263"/>
                <a:gd name="T57" fmla="*/ 895 h 2263"/>
                <a:gd name="T58" fmla="*/ 1229 w 2263"/>
                <a:gd name="T59" fmla="*/ 721 h 2263"/>
                <a:gd name="T60" fmla="*/ 1492 w 2263"/>
                <a:gd name="T61" fmla="*/ 594 h 2263"/>
                <a:gd name="T62" fmla="*/ 1781 w 2263"/>
                <a:gd name="T63" fmla="*/ 521 h 2263"/>
                <a:gd name="T64" fmla="*/ 2025 w 2263"/>
                <a:gd name="T65" fmla="*/ 503 h 2263"/>
                <a:gd name="T66" fmla="*/ 2074 w 2263"/>
                <a:gd name="T67" fmla="*/ 496 h 2263"/>
                <a:gd name="T68" fmla="*/ 2120 w 2263"/>
                <a:gd name="T69" fmla="*/ 478 h 2263"/>
                <a:gd name="T70" fmla="*/ 2161 w 2263"/>
                <a:gd name="T71" fmla="*/ 453 h 2263"/>
                <a:gd name="T72" fmla="*/ 2198 w 2263"/>
                <a:gd name="T73" fmla="*/ 420 h 2263"/>
                <a:gd name="T74" fmla="*/ 2227 w 2263"/>
                <a:gd name="T75" fmla="*/ 382 h 2263"/>
                <a:gd name="T76" fmla="*/ 2248 w 2263"/>
                <a:gd name="T77" fmla="*/ 338 h 2263"/>
                <a:gd name="T78" fmla="*/ 2260 w 2263"/>
                <a:gd name="T79" fmla="*/ 289 h 2263"/>
                <a:gd name="T80" fmla="*/ 2263 w 2263"/>
                <a:gd name="T81" fmla="*/ 239 h 2263"/>
                <a:gd name="T82" fmla="*/ 2255 w 2263"/>
                <a:gd name="T83" fmla="*/ 189 h 2263"/>
                <a:gd name="T84" fmla="*/ 2238 w 2263"/>
                <a:gd name="T85" fmla="*/ 142 h 2263"/>
                <a:gd name="T86" fmla="*/ 2213 w 2263"/>
                <a:gd name="T87" fmla="*/ 101 h 2263"/>
                <a:gd name="T88" fmla="*/ 2180 w 2263"/>
                <a:gd name="T89" fmla="*/ 65 h 2263"/>
                <a:gd name="T90" fmla="*/ 2141 w 2263"/>
                <a:gd name="T91" fmla="*/ 36 h 2263"/>
                <a:gd name="T92" fmla="*/ 2098 w 2263"/>
                <a:gd name="T93" fmla="*/ 15 h 2263"/>
                <a:gd name="T94" fmla="*/ 2050 w 2263"/>
                <a:gd name="T95" fmla="*/ 3 h 2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63" h="2263">
                  <a:moveTo>
                    <a:pt x="2012" y="0"/>
                  </a:moveTo>
                  <a:lnTo>
                    <a:pt x="1908" y="3"/>
                  </a:lnTo>
                  <a:lnTo>
                    <a:pt x="1806" y="11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3"/>
                  </a:lnTo>
                  <a:lnTo>
                    <a:pt x="968" y="291"/>
                  </a:lnTo>
                  <a:lnTo>
                    <a:pt x="887" y="344"/>
                  </a:lnTo>
                  <a:lnTo>
                    <a:pt x="807" y="400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59" y="732"/>
                  </a:lnTo>
                  <a:lnTo>
                    <a:pt x="399" y="808"/>
                  </a:lnTo>
                  <a:lnTo>
                    <a:pt x="344" y="887"/>
                  </a:lnTo>
                  <a:lnTo>
                    <a:pt x="290" y="968"/>
                  </a:lnTo>
                  <a:lnTo>
                    <a:pt x="242" y="1053"/>
                  </a:lnTo>
                  <a:lnTo>
                    <a:pt x="198" y="1139"/>
                  </a:lnTo>
                  <a:lnTo>
                    <a:pt x="158" y="1229"/>
                  </a:lnTo>
                  <a:lnTo>
                    <a:pt x="121" y="1319"/>
                  </a:lnTo>
                  <a:lnTo>
                    <a:pt x="90" y="1413"/>
                  </a:lnTo>
                  <a:lnTo>
                    <a:pt x="63" y="1508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5"/>
                  </a:lnTo>
                  <a:lnTo>
                    <a:pt x="3" y="1908"/>
                  </a:lnTo>
                  <a:lnTo>
                    <a:pt x="0" y="2011"/>
                  </a:lnTo>
                  <a:lnTo>
                    <a:pt x="0" y="2011"/>
                  </a:lnTo>
                  <a:lnTo>
                    <a:pt x="0" y="2025"/>
                  </a:lnTo>
                  <a:lnTo>
                    <a:pt x="1" y="2038"/>
                  </a:lnTo>
                  <a:lnTo>
                    <a:pt x="3" y="2050"/>
                  </a:lnTo>
                  <a:lnTo>
                    <a:pt x="5" y="2063"/>
                  </a:lnTo>
                  <a:lnTo>
                    <a:pt x="8" y="2075"/>
                  </a:lnTo>
                  <a:lnTo>
                    <a:pt x="11" y="2087"/>
                  </a:lnTo>
                  <a:lnTo>
                    <a:pt x="15" y="2098"/>
                  </a:lnTo>
                  <a:lnTo>
                    <a:pt x="20" y="2110"/>
                  </a:lnTo>
                  <a:lnTo>
                    <a:pt x="25" y="2121"/>
                  </a:lnTo>
                  <a:lnTo>
                    <a:pt x="30" y="2131"/>
                  </a:lnTo>
                  <a:lnTo>
                    <a:pt x="36" y="2142"/>
                  </a:lnTo>
                  <a:lnTo>
                    <a:pt x="43" y="2152"/>
                  </a:lnTo>
                  <a:lnTo>
                    <a:pt x="49" y="2162"/>
                  </a:lnTo>
                  <a:lnTo>
                    <a:pt x="57" y="2171"/>
                  </a:lnTo>
                  <a:lnTo>
                    <a:pt x="65" y="2180"/>
                  </a:lnTo>
                  <a:lnTo>
                    <a:pt x="73" y="2189"/>
                  </a:lnTo>
                  <a:lnTo>
                    <a:pt x="82" y="2198"/>
                  </a:lnTo>
                  <a:lnTo>
                    <a:pt x="91" y="2206"/>
                  </a:lnTo>
                  <a:lnTo>
                    <a:pt x="100" y="2214"/>
                  </a:lnTo>
                  <a:lnTo>
                    <a:pt x="110" y="2221"/>
                  </a:lnTo>
                  <a:lnTo>
                    <a:pt x="120" y="2227"/>
                  </a:lnTo>
                  <a:lnTo>
                    <a:pt x="131" y="2233"/>
                  </a:lnTo>
                  <a:lnTo>
                    <a:pt x="141" y="2239"/>
                  </a:lnTo>
                  <a:lnTo>
                    <a:pt x="153" y="2244"/>
                  </a:lnTo>
                  <a:lnTo>
                    <a:pt x="165" y="2248"/>
                  </a:lnTo>
                  <a:lnTo>
                    <a:pt x="177" y="2252"/>
                  </a:lnTo>
                  <a:lnTo>
                    <a:pt x="188" y="2255"/>
                  </a:lnTo>
                  <a:lnTo>
                    <a:pt x="201" y="2258"/>
                  </a:lnTo>
                  <a:lnTo>
                    <a:pt x="213" y="2260"/>
                  </a:lnTo>
                  <a:lnTo>
                    <a:pt x="225" y="2262"/>
                  </a:lnTo>
                  <a:lnTo>
                    <a:pt x="238" y="2263"/>
                  </a:lnTo>
                  <a:lnTo>
                    <a:pt x="251" y="2263"/>
                  </a:lnTo>
                  <a:lnTo>
                    <a:pt x="264" y="2263"/>
                  </a:lnTo>
                  <a:lnTo>
                    <a:pt x="276" y="2262"/>
                  </a:lnTo>
                  <a:lnTo>
                    <a:pt x="289" y="2260"/>
                  </a:lnTo>
                  <a:lnTo>
                    <a:pt x="301" y="2258"/>
                  </a:lnTo>
                  <a:lnTo>
                    <a:pt x="313" y="2255"/>
                  </a:lnTo>
                  <a:lnTo>
                    <a:pt x="326" y="2252"/>
                  </a:lnTo>
                  <a:lnTo>
                    <a:pt x="338" y="2248"/>
                  </a:lnTo>
                  <a:lnTo>
                    <a:pt x="349" y="2244"/>
                  </a:lnTo>
                  <a:lnTo>
                    <a:pt x="360" y="2239"/>
                  </a:lnTo>
                  <a:lnTo>
                    <a:pt x="371" y="2233"/>
                  </a:lnTo>
                  <a:lnTo>
                    <a:pt x="381" y="2227"/>
                  </a:lnTo>
                  <a:lnTo>
                    <a:pt x="391" y="2221"/>
                  </a:lnTo>
                  <a:lnTo>
                    <a:pt x="401" y="2214"/>
                  </a:lnTo>
                  <a:lnTo>
                    <a:pt x="411" y="2206"/>
                  </a:lnTo>
                  <a:lnTo>
                    <a:pt x="420" y="2198"/>
                  </a:lnTo>
                  <a:lnTo>
                    <a:pt x="429" y="2189"/>
                  </a:lnTo>
                  <a:lnTo>
                    <a:pt x="437" y="2180"/>
                  </a:lnTo>
                  <a:lnTo>
                    <a:pt x="445" y="2171"/>
                  </a:lnTo>
                  <a:lnTo>
                    <a:pt x="452" y="2162"/>
                  </a:lnTo>
                  <a:lnTo>
                    <a:pt x="459" y="2152"/>
                  </a:lnTo>
                  <a:lnTo>
                    <a:pt x="466" y="2142"/>
                  </a:lnTo>
                  <a:lnTo>
                    <a:pt x="472" y="2131"/>
                  </a:lnTo>
                  <a:lnTo>
                    <a:pt x="477" y="2121"/>
                  </a:lnTo>
                  <a:lnTo>
                    <a:pt x="482" y="2110"/>
                  </a:lnTo>
                  <a:lnTo>
                    <a:pt x="488" y="2098"/>
                  </a:lnTo>
                  <a:lnTo>
                    <a:pt x="492" y="2087"/>
                  </a:lnTo>
                  <a:lnTo>
                    <a:pt x="495" y="2075"/>
                  </a:lnTo>
                  <a:lnTo>
                    <a:pt x="498" y="2063"/>
                  </a:lnTo>
                  <a:lnTo>
                    <a:pt x="500" y="2050"/>
                  </a:lnTo>
                  <a:lnTo>
                    <a:pt x="502" y="2038"/>
                  </a:lnTo>
                  <a:lnTo>
                    <a:pt x="503" y="2025"/>
                  </a:lnTo>
                  <a:lnTo>
                    <a:pt x="503" y="2011"/>
                  </a:lnTo>
                  <a:lnTo>
                    <a:pt x="503" y="2011"/>
                  </a:lnTo>
                  <a:lnTo>
                    <a:pt x="505" y="1934"/>
                  </a:lnTo>
                  <a:lnTo>
                    <a:pt x="511" y="1858"/>
                  </a:lnTo>
                  <a:lnTo>
                    <a:pt x="520" y="1782"/>
                  </a:lnTo>
                  <a:lnTo>
                    <a:pt x="533" y="1708"/>
                  </a:lnTo>
                  <a:lnTo>
                    <a:pt x="550" y="1634"/>
                  </a:lnTo>
                  <a:lnTo>
                    <a:pt x="570" y="1563"/>
                  </a:lnTo>
                  <a:lnTo>
                    <a:pt x="594" y="1492"/>
                  </a:lnTo>
                  <a:lnTo>
                    <a:pt x="621" y="1424"/>
                  </a:lnTo>
                  <a:lnTo>
                    <a:pt x="651" y="1358"/>
                  </a:lnTo>
                  <a:lnTo>
                    <a:pt x="685" y="1292"/>
                  </a:lnTo>
                  <a:lnTo>
                    <a:pt x="721" y="1229"/>
                  </a:lnTo>
                  <a:lnTo>
                    <a:pt x="760" y="1167"/>
                  </a:lnTo>
                  <a:lnTo>
                    <a:pt x="802" y="1109"/>
                  </a:lnTo>
                  <a:lnTo>
                    <a:pt x="847" y="1052"/>
                  </a:lnTo>
                  <a:lnTo>
                    <a:pt x="894" y="997"/>
                  </a:lnTo>
                  <a:lnTo>
                    <a:pt x="944" y="945"/>
                  </a:lnTo>
                  <a:lnTo>
                    <a:pt x="997" y="895"/>
                  </a:lnTo>
                  <a:lnTo>
                    <a:pt x="1052" y="848"/>
                  </a:lnTo>
                  <a:lnTo>
                    <a:pt x="1108" y="802"/>
                  </a:lnTo>
                  <a:lnTo>
                    <a:pt x="1168" y="761"/>
                  </a:lnTo>
                  <a:lnTo>
                    <a:pt x="1229" y="721"/>
                  </a:lnTo>
                  <a:lnTo>
                    <a:pt x="1292" y="685"/>
                  </a:lnTo>
                  <a:lnTo>
                    <a:pt x="1357" y="651"/>
                  </a:lnTo>
                  <a:lnTo>
                    <a:pt x="1424" y="621"/>
                  </a:lnTo>
                  <a:lnTo>
                    <a:pt x="1492" y="594"/>
                  </a:lnTo>
                  <a:lnTo>
                    <a:pt x="1563" y="571"/>
                  </a:lnTo>
                  <a:lnTo>
                    <a:pt x="1634" y="551"/>
                  </a:lnTo>
                  <a:lnTo>
                    <a:pt x="1707" y="534"/>
                  </a:lnTo>
                  <a:lnTo>
                    <a:pt x="1781" y="521"/>
                  </a:lnTo>
                  <a:lnTo>
                    <a:pt x="1857" y="511"/>
                  </a:lnTo>
                  <a:lnTo>
                    <a:pt x="1934" y="505"/>
                  </a:lnTo>
                  <a:lnTo>
                    <a:pt x="2012" y="503"/>
                  </a:lnTo>
                  <a:lnTo>
                    <a:pt x="2025" y="503"/>
                  </a:lnTo>
                  <a:lnTo>
                    <a:pt x="2037" y="502"/>
                  </a:lnTo>
                  <a:lnTo>
                    <a:pt x="2050" y="500"/>
                  </a:lnTo>
                  <a:lnTo>
                    <a:pt x="2062" y="498"/>
                  </a:lnTo>
                  <a:lnTo>
                    <a:pt x="2074" y="496"/>
                  </a:lnTo>
                  <a:lnTo>
                    <a:pt x="2086" y="491"/>
                  </a:lnTo>
                  <a:lnTo>
                    <a:pt x="2098" y="487"/>
                  </a:lnTo>
                  <a:lnTo>
                    <a:pt x="2109" y="483"/>
                  </a:lnTo>
                  <a:lnTo>
                    <a:pt x="2120" y="478"/>
                  </a:lnTo>
                  <a:lnTo>
                    <a:pt x="2131" y="472"/>
                  </a:lnTo>
                  <a:lnTo>
                    <a:pt x="2141" y="466"/>
                  </a:lnTo>
                  <a:lnTo>
                    <a:pt x="2151" y="460"/>
                  </a:lnTo>
                  <a:lnTo>
                    <a:pt x="2161" y="453"/>
                  </a:lnTo>
                  <a:lnTo>
                    <a:pt x="2171" y="445"/>
                  </a:lnTo>
                  <a:lnTo>
                    <a:pt x="2180" y="437"/>
                  </a:lnTo>
                  <a:lnTo>
                    <a:pt x="2190" y="429"/>
                  </a:lnTo>
                  <a:lnTo>
                    <a:pt x="2198" y="420"/>
                  </a:lnTo>
                  <a:lnTo>
                    <a:pt x="2206" y="411"/>
                  </a:lnTo>
                  <a:lnTo>
                    <a:pt x="2213" y="402"/>
                  </a:lnTo>
                  <a:lnTo>
                    <a:pt x="2220" y="392"/>
                  </a:lnTo>
                  <a:lnTo>
                    <a:pt x="2227" y="382"/>
                  </a:lnTo>
                  <a:lnTo>
                    <a:pt x="2233" y="371"/>
                  </a:lnTo>
                  <a:lnTo>
                    <a:pt x="2238" y="361"/>
                  </a:lnTo>
                  <a:lnTo>
                    <a:pt x="2243" y="350"/>
                  </a:lnTo>
                  <a:lnTo>
                    <a:pt x="2248" y="338"/>
                  </a:lnTo>
                  <a:lnTo>
                    <a:pt x="2252" y="327"/>
                  </a:lnTo>
                  <a:lnTo>
                    <a:pt x="2255" y="314"/>
                  </a:lnTo>
                  <a:lnTo>
                    <a:pt x="2258" y="302"/>
                  </a:lnTo>
                  <a:lnTo>
                    <a:pt x="2260" y="289"/>
                  </a:lnTo>
                  <a:lnTo>
                    <a:pt x="2262" y="277"/>
                  </a:lnTo>
                  <a:lnTo>
                    <a:pt x="2263" y="264"/>
                  </a:lnTo>
                  <a:lnTo>
                    <a:pt x="2263" y="251"/>
                  </a:lnTo>
                  <a:lnTo>
                    <a:pt x="2263" y="239"/>
                  </a:lnTo>
                  <a:lnTo>
                    <a:pt x="2262" y="226"/>
                  </a:lnTo>
                  <a:lnTo>
                    <a:pt x="2260" y="213"/>
                  </a:lnTo>
                  <a:lnTo>
                    <a:pt x="2258" y="201"/>
                  </a:lnTo>
                  <a:lnTo>
                    <a:pt x="2255" y="189"/>
                  </a:lnTo>
                  <a:lnTo>
                    <a:pt x="2252" y="177"/>
                  </a:lnTo>
                  <a:lnTo>
                    <a:pt x="2248" y="165"/>
                  </a:lnTo>
                  <a:lnTo>
                    <a:pt x="2243" y="154"/>
                  </a:lnTo>
                  <a:lnTo>
                    <a:pt x="2238" y="142"/>
                  </a:lnTo>
                  <a:lnTo>
                    <a:pt x="2233" y="131"/>
                  </a:lnTo>
                  <a:lnTo>
                    <a:pt x="2227" y="121"/>
                  </a:lnTo>
                  <a:lnTo>
                    <a:pt x="2220" y="111"/>
                  </a:lnTo>
                  <a:lnTo>
                    <a:pt x="2213" y="101"/>
                  </a:lnTo>
                  <a:lnTo>
                    <a:pt x="2206" y="91"/>
                  </a:lnTo>
                  <a:lnTo>
                    <a:pt x="2198" y="82"/>
                  </a:lnTo>
                  <a:lnTo>
                    <a:pt x="2190" y="74"/>
                  </a:lnTo>
                  <a:lnTo>
                    <a:pt x="2180" y="65"/>
                  </a:lnTo>
                  <a:lnTo>
                    <a:pt x="2171" y="57"/>
                  </a:lnTo>
                  <a:lnTo>
                    <a:pt x="2161" y="50"/>
                  </a:lnTo>
                  <a:lnTo>
                    <a:pt x="2151" y="43"/>
                  </a:lnTo>
                  <a:lnTo>
                    <a:pt x="2141" y="36"/>
                  </a:lnTo>
                  <a:lnTo>
                    <a:pt x="2131" y="30"/>
                  </a:lnTo>
                  <a:lnTo>
                    <a:pt x="2120" y="25"/>
                  </a:lnTo>
                  <a:lnTo>
                    <a:pt x="2109" y="20"/>
                  </a:lnTo>
                  <a:lnTo>
                    <a:pt x="2098" y="15"/>
                  </a:lnTo>
                  <a:lnTo>
                    <a:pt x="2086" y="12"/>
                  </a:lnTo>
                  <a:lnTo>
                    <a:pt x="2074" y="8"/>
                  </a:lnTo>
                  <a:lnTo>
                    <a:pt x="2062" y="5"/>
                  </a:lnTo>
                  <a:lnTo>
                    <a:pt x="2050" y="3"/>
                  </a:lnTo>
                  <a:lnTo>
                    <a:pt x="2037" y="2"/>
                  </a:lnTo>
                  <a:lnTo>
                    <a:pt x="2025" y="1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7" name="îṩḻîḍe">
              <a:extLst>
                <a:ext uri="{FF2B5EF4-FFF2-40B4-BE49-F238E27FC236}">
                  <a16:creationId xmlns:a16="http://schemas.microsoft.com/office/drawing/2014/main" id="{7B7A2B46-FD28-49A4-8ADE-5A15767EB61C}"/>
                </a:ext>
              </a:extLst>
            </p:cNvPr>
            <p:cNvSpPr/>
            <p:nvPr/>
          </p:nvSpPr>
          <p:spPr bwMode="auto">
            <a:xfrm>
              <a:off x="2289535" y="29068"/>
              <a:ext cx="613339" cy="517461"/>
            </a:xfrm>
            <a:custGeom>
              <a:avLst/>
              <a:gdLst>
                <a:gd name="T0" fmla="*/ 15067 w 16095"/>
                <a:gd name="T1" fmla="*/ 12220 h 13579"/>
                <a:gd name="T2" fmla="*/ 14989 w 16095"/>
                <a:gd name="T3" fmla="*/ 12371 h 13579"/>
                <a:gd name="T4" fmla="*/ 14868 w 16095"/>
                <a:gd name="T5" fmla="*/ 12488 h 13579"/>
                <a:gd name="T6" fmla="*/ 14712 w 16095"/>
                <a:gd name="T7" fmla="*/ 12557 h 13579"/>
                <a:gd name="T8" fmla="*/ 1483 w 16095"/>
                <a:gd name="T9" fmla="*/ 12572 h 13579"/>
                <a:gd name="T10" fmla="*/ 1313 w 16095"/>
                <a:gd name="T11" fmla="*/ 12534 h 13579"/>
                <a:gd name="T12" fmla="*/ 1171 w 16095"/>
                <a:gd name="T13" fmla="*/ 12442 h 13579"/>
                <a:gd name="T14" fmla="*/ 1066 w 16095"/>
                <a:gd name="T15" fmla="*/ 12311 h 13579"/>
                <a:gd name="T16" fmla="*/ 1012 w 16095"/>
                <a:gd name="T17" fmla="*/ 12147 h 13579"/>
                <a:gd name="T18" fmla="*/ 1011 w 16095"/>
                <a:gd name="T19" fmla="*/ 4458 h 13579"/>
                <a:gd name="T20" fmla="*/ 1054 w 16095"/>
                <a:gd name="T21" fmla="*/ 4310 h 13579"/>
                <a:gd name="T22" fmla="*/ 1140 w 16095"/>
                <a:gd name="T23" fmla="*/ 4186 h 13579"/>
                <a:gd name="T24" fmla="*/ 1258 w 16095"/>
                <a:gd name="T25" fmla="*/ 4090 h 13579"/>
                <a:gd name="T26" fmla="*/ 1404 w 16095"/>
                <a:gd name="T27" fmla="*/ 4035 h 13579"/>
                <a:gd name="T28" fmla="*/ 5099 w 16095"/>
                <a:gd name="T29" fmla="*/ 1253 h 13579"/>
                <a:gd name="T30" fmla="*/ 5179 w 16095"/>
                <a:gd name="T31" fmla="*/ 1151 h 13579"/>
                <a:gd name="T32" fmla="*/ 5281 w 16095"/>
                <a:gd name="T33" fmla="*/ 1073 h 13579"/>
                <a:gd name="T34" fmla="*/ 5401 w 16095"/>
                <a:gd name="T35" fmla="*/ 1023 h 13579"/>
                <a:gd name="T36" fmla="*/ 5533 w 16095"/>
                <a:gd name="T37" fmla="*/ 1006 h 13579"/>
                <a:gd name="T38" fmla="*/ 10675 w 16095"/>
                <a:gd name="T39" fmla="*/ 1019 h 13579"/>
                <a:gd name="T40" fmla="*/ 10797 w 16095"/>
                <a:gd name="T41" fmla="*/ 1064 h 13579"/>
                <a:gd name="T42" fmla="*/ 10901 w 16095"/>
                <a:gd name="T43" fmla="*/ 1138 h 13579"/>
                <a:gd name="T44" fmla="*/ 10986 w 16095"/>
                <a:gd name="T45" fmla="*/ 1237 h 13579"/>
                <a:gd name="T46" fmla="*/ 14669 w 16095"/>
                <a:gd name="T47" fmla="*/ 4031 h 13579"/>
                <a:gd name="T48" fmla="*/ 14817 w 16095"/>
                <a:gd name="T49" fmla="*/ 4080 h 13579"/>
                <a:gd name="T50" fmla="*/ 14940 w 16095"/>
                <a:gd name="T51" fmla="*/ 4170 h 13579"/>
                <a:gd name="T52" fmla="*/ 15031 w 16095"/>
                <a:gd name="T53" fmla="*/ 4291 h 13579"/>
                <a:gd name="T54" fmla="*/ 15081 w 16095"/>
                <a:gd name="T55" fmla="*/ 4436 h 13579"/>
                <a:gd name="T56" fmla="*/ 12654 w 16095"/>
                <a:gd name="T57" fmla="*/ 2675 h 13579"/>
                <a:gd name="T58" fmla="*/ 11802 w 16095"/>
                <a:gd name="T59" fmla="*/ 647 h 13579"/>
                <a:gd name="T60" fmla="*/ 11540 w 16095"/>
                <a:gd name="T61" fmla="*/ 358 h 13579"/>
                <a:gd name="T62" fmla="*/ 11217 w 16095"/>
                <a:gd name="T63" fmla="*/ 148 h 13579"/>
                <a:gd name="T64" fmla="*/ 10847 w 16095"/>
                <a:gd name="T65" fmla="*/ 26 h 13579"/>
                <a:gd name="T66" fmla="*/ 5474 w 16095"/>
                <a:gd name="T67" fmla="*/ 1 h 13579"/>
                <a:gd name="T68" fmla="*/ 5085 w 16095"/>
                <a:gd name="T69" fmla="*/ 67 h 13579"/>
                <a:gd name="T70" fmla="*/ 4733 w 16095"/>
                <a:gd name="T71" fmla="*/ 227 h 13579"/>
                <a:gd name="T72" fmla="*/ 4434 w 16095"/>
                <a:gd name="T73" fmla="*/ 473 h 13579"/>
                <a:gd name="T74" fmla="*/ 4204 w 16095"/>
                <a:gd name="T75" fmla="*/ 792 h 13579"/>
                <a:gd name="T76" fmla="*/ 1127 w 16095"/>
                <a:gd name="T77" fmla="*/ 3067 h 13579"/>
                <a:gd name="T78" fmla="*/ 700 w 16095"/>
                <a:gd name="T79" fmla="*/ 3251 h 13579"/>
                <a:gd name="T80" fmla="*/ 357 w 16095"/>
                <a:gd name="T81" fmla="*/ 3550 h 13579"/>
                <a:gd name="T82" fmla="*/ 119 w 16095"/>
                <a:gd name="T83" fmla="*/ 3937 h 13579"/>
                <a:gd name="T84" fmla="*/ 6 w 16095"/>
                <a:gd name="T85" fmla="*/ 4389 h 13579"/>
                <a:gd name="T86" fmla="*/ 31 w 16095"/>
                <a:gd name="T87" fmla="*/ 12374 h 13579"/>
                <a:gd name="T88" fmla="*/ 218 w 16095"/>
                <a:gd name="T89" fmla="*/ 12852 h 13579"/>
                <a:gd name="T90" fmla="*/ 549 w 16095"/>
                <a:gd name="T91" fmla="*/ 13234 h 13579"/>
                <a:gd name="T92" fmla="*/ 991 w 16095"/>
                <a:gd name="T93" fmla="*/ 13487 h 13579"/>
                <a:gd name="T94" fmla="*/ 1509 w 16095"/>
                <a:gd name="T95" fmla="*/ 13579 h 13579"/>
                <a:gd name="T96" fmla="*/ 15034 w 16095"/>
                <a:gd name="T97" fmla="*/ 13511 h 13579"/>
                <a:gd name="T98" fmla="*/ 15488 w 16095"/>
                <a:gd name="T99" fmla="*/ 13279 h 13579"/>
                <a:gd name="T100" fmla="*/ 15836 w 16095"/>
                <a:gd name="T101" fmla="*/ 12913 h 13579"/>
                <a:gd name="T102" fmla="*/ 16048 w 16095"/>
                <a:gd name="T103" fmla="*/ 12446 h 13579"/>
                <a:gd name="T104" fmla="*/ 16093 w 16095"/>
                <a:gd name="T105" fmla="*/ 4457 h 13579"/>
                <a:gd name="T106" fmla="*/ 16000 w 16095"/>
                <a:gd name="T107" fmla="*/ 3999 h 13579"/>
                <a:gd name="T108" fmla="*/ 15779 w 16095"/>
                <a:gd name="T109" fmla="*/ 3600 h 13579"/>
                <a:gd name="T110" fmla="*/ 15450 w 16095"/>
                <a:gd name="T111" fmla="*/ 3287 h 13579"/>
                <a:gd name="T112" fmla="*/ 15034 w 16095"/>
                <a:gd name="T113" fmla="*/ 3085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3579">
                  <a:moveTo>
                    <a:pt x="15089" y="12070"/>
                  </a:moveTo>
                  <a:lnTo>
                    <a:pt x="15088" y="12096"/>
                  </a:lnTo>
                  <a:lnTo>
                    <a:pt x="15086" y="12121"/>
                  </a:lnTo>
                  <a:lnTo>
                    <a:pt x="15083" y="12147"/>
                  </a:lnTo>
                  <a:lnTo>
                    <a:pt x="15079" y="12172"/>
                  </a:lnTo>
                  <a:lnTo>
                    <a:pt x="15073" y="12196"/>
                  </a:lnTo>
                  <a:lnTo>
                    <a:pt x="15067" y="12220"/>
                  </a:lnTo>
                  <a:lnTo>
                    <a:pt x="15059" y="12243"/>
                  </a:lnTo>
                  <a:lnTo>
                    <a:pt x="15050" y="12266"/>
                  </a:lnTo>
                  <a:lnTo>
                    <a:pt x="15040" y="12288"/>
                  </a:lnTo>
                  <a:lnTo>
                    <a:pt x="15029" y="12311"/>
                  </a:lnTo>
                  <a:lnTo>
                    <a:pt x="15017" y="12331"/>
                  </a:lnTo>
                  <a:lnTo>
                    <a:pt x="15004" y="12352"/>
                  </a:lnTo>
                  <a:lnTo>
                    <a:pt x="14989" y="12371"/>
                  </a:lnTo>
                  <a:lnTo>
                    <a:pt x="14974" y="12390"/>
                  </a:lnTo>
                  <a:lnTo>
                    <a:pt x="14958" y="12408"/>
                  </a:lnTo>
                  <a:lnTo>
                    <a:pt x="14942" y="12426"/>
                  </a:lnTo>
                  <a:lnTo>
                    <a:pt x="14924" y="12442"/>
                  </a:lnTo>
                  <a:lnTo>
                    <a:pt x="14906" y="12458"/>
                  </a:lnTo>
                  <a:lnTo>
                    <a:pt x="14887" y="12473"/>
                  </a:lnTo>
                  <a:lnTo>
                    <a:pt x="14868" y="12488"/>
                  </a:lnTo>
                  <a:lnTo>
                    <a:pt x="14847" y="12501"/>
                  </a:lnTo>
                  <a:lnTo>
                    <a:pt x="14826" y="12513"/>
                  </a:lnTo>
                  <a:lnTo>
                    <a:pt x="14804" y="12524"/>
                  </a:lnTo>
                  <a:lnTo>
                    <a:pt x="14782" y="12534"/>
                  </a:lnTo>
                  <a:lnTo>
                    <a:pt x="14759" y="12543"/>
                  </a:lnTo>
                  <a:lnTo>
                    <a:pt x="14736" y="12551"/>
                  </a:lnTo>
                  <a:lnTo>
                    <a:pt x="14712" y="12557"/>
                  </a:lnTo>
                  <a:lnTo>
                    <a:pt x="14688" y="12563"/>
                  </a:lnTo>
                  <a:lnTo>
                    <a:pt x="14663" y="12567"/>
                  </a:lnTo>
                  <a:lnTo>
                    <a:pt x="14637" y="12570"/>
                  </a:lnTo>
                  <a:lnTo>
                    <a:pt x="14612" y="12572"/>
                  </a:lnTo>
                  <a:lnTo>
                    <a:pt x="14586" y="12573"/>
                  </a:lnTo>
                  <a:lnTo>
                    <a:pt x="1509" y="12573"/>
                  </a:lnTo>
                  <a:lnTo>
                    <a:pt x="1483" y="12572"/>
                  </a:lnTo>
                  <a:lnTo>
                    <a:pt x="1458" y="12570"/>
                  </a:lnTo>
                  <a:lnTo>
                    <a:pt x="1432" y="12567"/>
                  </a:lnTo>
                  <a:lnTo>
                    <a:pt x="1407" y="12563"/>
                  </a:lnTo>
                  <a:lnTo>
                    <a:pt x="1383" y="12557"/>
                  </a:lnTo>
                  <a:lnTo>
                    <a:pt x="1359" y="12551"/>
                  </a:lnTo>
                  <a:lnTo>
                    <a:pt x="1336" y="12543"/>
                  </a:lnTo>
                  <a:lnTo>
                    <a:pt x="1313" y="12534"/>
                  </a:lnTo>
                  <a:lnTo>
                    <a:pt x="1291" y="12524"/>
                  </a:lnTo>
                  <a:lnTo>
                    <a:pt x="1268" y="12513"/>
                  </a:lnTo>
                  <a:lnTo>
                    <a:pt x="1248" y="12501"/>
                  </a:lnTo>
                  <a:lnTo>
                    <a:pt x="1227" y="12488"/>
                  </a:lnTo>
                  <a:lnTo>
                    <a:pt x="1208" y="12473"/>
                  </a:lnTo>
                  <a:lnTo>
                    <a:pt x="1189" y="12458"/>
                  </a:lnTo>
                  <a:lnTo>
                    <a:pt x="1171" y="12442"/>
                  </a:lnTo>
                  <a:lnTo>
                    <a:pt x="1153" y="12426"/>
                  </a:lnTo>
                  <a:lnTo>
                    <a:pt x="1137" y="12408"/>
                  </a:lnTo>
                  <a:lnTo>
                    <a:pt x="1121" y="12390"/>
                  </a:lnTo>
                  <a:lnTo>
                    <a:pt x="1106" y="12371"/>
                  </a:lnTo>
                  <a:lnTo>
                    <a:pt x="1091" y="12352"/>
                  </a:lnTo>
                  <a:lnTo>
                    <a:pt x="1078" y="12331"/>
                  </a:lnTo>
                  <a:lnTo>
                    <a:pt x="1066" y="12311"/>
                  </a:lnTo>
                  <a:lnTo>
                    <a:pt x="1055" y="12288"/>
                  </a:lnTo>
                  <a:lnTo>
                    <a:pt x="1045" y="12266"/>
                  </a:lnTo>
                  <a:lnTo>
                    <a:pt x="1036" y="12243"/>
                  </a:lnTo>
                  <a:lnTo>
                    <a:pt x="1028" y="12220"/>
                  </a:lnTo>
                  <a:lnTo>
                    <a:pt x="1022" y="12196"/>
                  </a:lnTo>
                  <a:lnTo>
                    <a:pt x="1016" y="12172"/>
                  </a:lnTo>
                  <a:lnTo>
                    <a:pt x="1012" y="12147"/>
                  </a:lnTo>
                  <a:lnTo>
                    <a:pt x="1009" y="12121"/>
                  </a:lnTo>
                  <a:lnTo>
                    <a:pt x="1007" y="12096"/>
                  </a:lnTo>
                  <a:lnTo>
                    <a:pt x="1006" y="12070"/>
                  </a:lnTo>
                  <a:lnTo>
                    <a:pt x="1006" y="4527"/>
                  </a:lnTo>
                  <a:lnTo>
                    <a:pt x="1006" y="4504"/>
                  </a:lnTo>
                  <a:lnTo>
                    <a:pt x="1008" y="4480"/>
                  </a:lnTo>
                  <a:lnTo>
                    <a:pt x="1011" y="4458"/>
                  </a:lnTo>
                  <a:lnTo>
                    <a:pt x="1014" y="4436"/>
                  </a:lnTo>
                  <a:lnTo>
                    <a:pt x="1018" y="4414"/>
                  </a:lnTo>
                  <a:lnTo>
                    <a:pt x="1024" y="4393"/>
                  </a:lnTo>
                  <a:lnTo>
                    <a:pt x="1030" y="4372"/>
                  </a:lnTo>
                  <a:lnTo>
                    <a:pt x="1037" y="4351"/>
                  </a:lnTo>
                  <a:lnTo>
                    <a:pt x="1045" y="4331"/>
                  </a:lnTo>
                  <a:lnTo>
                    <a:pt x="1054" y="4310"/>
                  </a:lnTo>
                  <a:lnTo>
                    <a:pt x="1064" y="4291"/>
                  </a:lnTo>
                  <a:lnTo>
                    <a:pt x="1075" y="4272"/>
                  </a:lnTo>
                  <a:lnTo>
                    <a:pt x="1086" y="4254"/>
                  </a:lnTo>
                  <a:lnTo>
                    <a:pt x="1098" y="4236"/>
                  </a:lnTo>
                  <a:lnTo>
                    <a:pt x="1112" y="4218"/>
                  </a:lnTo>
                  <a:lnTo>
                    <a:pt x="1126" y="4202"/>
                  </a:lnTo>
                  <a:lnTo>
                    <a:pt x="1140" y="4186"/>
                  </a:lnTo>
                  <a:lnTo>
                    <a:pt x="1155" y="4170"/>
                  </a:lnTo>
                  <a:lnTo>
                    <a:pt x="1171" y="4154"/>
                  </a:lnTo>
                  <a:lnTo>
                    <a:pt x="1187" y="4140"/>
                  </a:lnTo>
                  <a:lnTo>
                    <a:pt x="1204" y="4126"/>
                  </a:lnTo>
                  <a:lnTo>
                    <a:pt x="1221" y="4114"/>
                  </a:lnTo>
                  <a:lnTo>
                    <a:pt x="1239" y="4102"/>
                  </a:lnTo>
                  <a:lnTo>
                    <a:pt x="1258" y="4090"/>
                  </a:lnTo>
                  <a:lnTo>
                    <a:pt x="1278" y="4080"/>
                  </a:lnTo>
                  <a:lnTo>
                    <a:pt x="1298" y="4070"/>
                  </a:lnTo>
                  <a:lnTo>
                    <a:pt x="1318" y="4061"/>
                  </a:lnTo>
                  <a:lnTo>
                    <a:pt x="1339" y="4054"/>
                  </a:lnTo>
                  <a:lnTo>
                    <a:pt x="1360" y="4046"/>
                  </a:lnTo>
                  <a:lnTo>
                    <a:pt x="1382" y="4040"/>
                  </a:lnTo>
                  <a:lnTo>
                    <a:pt x="1404" y="4035"/>
                  </a:lnTo>
                  <a:lnTo>
                    <a:pt x="1426" y="4031"/>
                  </a:lnTo>
                  <a:lnTo>
                    <a:pt x="4164" y="3574"/>
                  </a:lnTo>
                  <a:lnTo>
                    <a:pt x="5065" y="1322"/>
                  </a:lnTo>
                  <a:lnTo>
                    <a:pt x="5073" y="1305"/>
                  </a:lnTo>
                  <a:lnTo>
                    <a:pt x="5081" y="1288"/>
                  </a:lnTo>
                  <a:lnTo>
                    <a:pt x="5089" y="1270"/>
                  </a:lnTo>
                  <a:lnTo>
                    <a:pt x="5099" y="1253"/>
                  </a:lnTo>
                  <a:lnTo>
                    <a:pt x="5108" y="1237"/>
                  </a:lnTo>
                  <a:lnTo>
                    <a:pt x="5119" y="1222"/>
                  </a:lnTo>
                  <a:lnTo>
                    <a:pt x="5130" y="1207"/>
                  </a:lnTo>
                  <a:lnTo>
                    <a:pt x="5141" y="1192"/>
                  </a:lnTo>
                  <a:lnTo>
                    <a:pt x="5153" y="1178"/>
                  </a:lnTo>
                  <a:lnTo>
                    <a:pt x="5165" y="1164"/>
                  </a:lnTo>
                  <a:lnTo>
                    <a:pt x="5179" y="1151"/>
                  </a:lnTo>
                  <a:lnTo>
                    <a:pt x="5193" y="1138"/>
                  </a:lnTo>
                  <a:lnTo>
                    <a:pt x="5206" y="1126"/>
                  </a:lnTo>
                  <a:lnTo>
                    <a:pt x="5221" y="1115"/>
                  </a:lnTo>
                  <a:lnTo>
                    <a:pt x="5235" y="1102"/>
                  </a:lnTo>
                  <a:lnTo>
                    <a:pt x="5250" y="1092"/>
                  </a:lnTo>
                  <a:lnTo>
                    <a:pt x="5266" y="1082"/>
                  </a:lnTo>
                  <a:lnTo>
                    <a:pt x="5281" y="1073"/>
                  </a:lnTo>
                  <a:lnTo>
                    <a:pt x="5298" y="1064"/>
                  </a:lnTo>
                  <a:lnTo>
                    <a:pt x="5314" y="1055"/>
                  </a:lnTo>
                  <a:lnTo>
                    <a:pt x="5331" y="1048"/>
                  </a:lnTo>
                  <a:lnTo>
                    <a:pt x="5349" y="1041"/>
                  </a:lnTo>
                  <a:lnTo>
                    <a:pt x="5366" y="1034"/>
                  </a:lnTo>
                  <a:lnTo>
                    <a:pt x="5384" y="1028"/>
                  </a:lnTo>
                  <a:lnTo>
                    <a:pt x="5401" y="1023"/>
                  </a:lnTo>
                  <a:lnTo>
                    <a:pt x="5419" y="1019"/>
                  </a:lnTo>
                  <a:lnTo>
                    <a:pt x="5438" y="1015"/>
                  </a:lnTo>
                  <a:lnTo>
                    <a:pt x="5456" y="1012"/>
                  </a:lnTo>
                  <a:lnTo>
                    <a:pt x="5475" y="1009"/>
                  </a:lnTo>
                  <a:lnTo>
                    <a:pt x="5494" y="1007"/>
                  </a:lnTo>
                  <a:lnTo>
                    <a:pt x="5514" y="1006"/>
                  </a:lnTo>
                  <a:lnTo>
                    <a:pt x="5533" y="1006"/>
                  </a:lnTo>
                  <a:lnTo>
                    <a:pt x="10562" y="1006"/>
                  </a:lnTo>
                  <a:lnTo>
                    <a:pt x="10581" y="1006"/>
                  </a:lnTo>
                  <a:lnTo>
                    <a:pt x="10601" y="1007"/>
                  </a:lnTo>
                  <a:lnTo>
                    <a:pt x="10620" y="1009"/>
                  </a:lnTo>
                  <a:lnTo>
                    <a:pt x="10638" y="1012"/>
                  </a:lnTo>
                  <a:lnTo>
                    <a:pt x="10657" y="1015"/>
                  </a:lnTo>
                  <a:lnTo>
                    <a:pt x="10675" y="1019"/>
                  </a:lnTo>
                  <a:lnTo>
                    <a:pt x="10693" y="1023"/>
                  </a:lnTo>
                  <a:lnTo>
                    <a:pt x="10711" y="1028"/>
                  </a:lnTo>
                  <a:lnTo>
                    <a:pt x="10728" y="1034"/>
                  </a:lnTo>
                  <a:lnTo>
                    <a:pt x="10746" y="1041"/>
                  </a:lnTo>
                  <a:lnTo>
                    <a:pt x="10764" y="1048"/>
                  </a:lnTo>
                  <a:lnTo>
                    <a:pt x="10780" y="1055"/>
                  </a:lnTo>
                  <a:lnTo>
                    <a:pt x="10797" y="1064"/>
                  </a:lnTo>
                  <a:lnTo>
                    <a:pt x="10813" y="1073"/>
                  </a:lnTo>
                  <a:lnTo>
                    <a:pt x="10828" y="1082"/>
                  </a:lnTo>
                  <a:lnTo>
                    <a:pt x="10844" y="1092"/>
                  </a:lnTo>
                  <a:lnTo>
                    <a:pt x="10859" y="1102"/>
                  </a:lnTo>
                  <a:lnTo>
                    <a:pt x="10873" y="1115"/>
                  </a:lnTo>
                  <a:lnTo>
                    <a:pt x="10888" y="1126"/>
                  </a:lnTo>
                  <a:lnTo>
                    <a:pt x="10901" y="1138"/>
                  </a:lnTo>
                  <a:lnTo>
                    <a:pt x="10915" y="1151"/>
                  </a:lnTo>
                  <a:lnTo>
                    <a:pt x="10929" y="1164"/>
                  </a:lnTo>
                  <a:lnTo>
                    <a:pt x="10941" y="1178"/>
                  </a:lnTo>
                  <a:lnTo>
                    <a:pt x="10953" y="1192"/>
                  </a:lnTo>
                  <a:lnTo>
                    <a:pt x="10964" y="1207"/>
                  </a:lnTo>
                  <a:lnTo>
                    <a:pt x="10975" y="1222"/>
                  </a:lnTo>
                  <a:lnTo>
                    <a:pt x="10986" y="1237"/>
                  </a:lnTo>
                  <a:lnTo>
                    <a:pt x="10995" y="1253"/>
                  </a:lnTo>
                  <a:lnTo>
                    <a:pt x="11005" y="1270"/>
                  </a:lnTo>
                  <a:lnTo>
                    <a:pt x="11013" y="1288"/>
                  </a:lnTo>
                  <a:lnTo>
                    <a:pt x="11021" y="1305"/>
                  </a:lnTo>
                  <a:lnTo>
                    <a:pt x="11029" y="1322"/>
                  </a:lnTo>
                  <a:lnTo>
                    <a:pt x="11929" y="3574"/>
                  </a:lnTo>
                  <a:lnTo>
                    <a:pt x="14669" y="4031"/>
                  </a:lnTo>
                  <a:lnTo>
                    <a:pt x="14691" y="4035"/>
                  </a:lnTo>
                  <a:lnTo>
                    <a:pt x="14713" y="4040"/>
                  </a:lnTo>
                  <a:lnTo>
                    <a:pt x="14735" y="4046"/>
                  </a:lnTo>
                  <a:lnTo>
                    <a:pt x="14756" y="4054"/>
                  </a:lnTo>
                  <a:lnTo>
                    <a:pt x="14777" y="4061"/>
                  </a:lnTo>
                  <a:lnTo>
                    <a:pt x="14797" y="4070"/>
                  </a:lnTo>
                  <a:lnTo>
                    <a:pt x="14817" y="4080"/>
                  </a:lnTo>
                  <a:lnTo>
                    <a:pt x="14837" y="4090"/>
                  </a:lnTo>
                  <a:lnTo>
                    <a:pt x="14856" y="4102"/>
                  </a:lnTo>
                  <a:lnTo>
                    <a:pt x="14874" y="4114"/>
                  </a:lnTo>
                  <a:lnTo>
                    <a:pt x="14891" y="4126"/>
                  </a:lnTo>
                  <a:lnTo>
                    <a:pt x="14908" y="4140"/>
                  </a:lnTo>
                  <a:lnTo>
                    <a:pt x="14924" y="4154"/>
                  </a:lnTo>
                  <a:lnTo>
                    <a:pt x="14940" y="4170"/>
                  </a:lnTo>
                  <a:lnTo>
                    <a:pt x="14955" y="4186"/>
                  </a:lnTo>
                  <a:lnTo>
                    <a:pt x="14969" y="4202"/>
                  </a:lnTo>
                  <a:lnTo>
                    <a:pt x="14983" y="4218"/>
                  </a:lnTo>
                  <a:lnTo>
                    <a:pt x="14997" y="4236"/>
                  </a:lnTo>
                  <a:lnTo>
                    <a:pt x="15009" y="4254"/>
                  </a:lnTo>
                  <a:lnTo>
                    <a:pt x="15020" y="4272"/>
                  </a:lnTo>
                  <a:lnTo>
                    <a:pt x="15031" y="4291"/>
                  </a:lnTo>
                  <a:lnTo>
                    <a:pt x="15041" y="4310"/>
                  </a:lnTo>
                  <a:lnTo>
                    <a:pt x="15050" y="4331"/>
                  </a:lnTo>
                  <a:lnTo>
                    <a:pt x="15058" y="4351"/>
                  </a:lnTo>
                  <a:lnTo>
                    <a:pt x="15065" y="4372"/>
                  </a:lnTo>
                  <a:lnTo>
                    <a:pt x="15071" y="4393"/>
                  </a:lnTo>
                  <a:lnTo>
                    <a:pt x="15076" y="4414"/>
                  </a:lnTo>
                  <a:lnTo>
                    <a:pt x="15081" y="4436"/>
                  </a:lnTo>
                  <a:lnTo>
                    <a:pt x="15084" y="4458"/>
                  </a:lnTo>
                  <a:lnTo>
                    <a:pt x="15087" y="4480"/>
                  </a:lnTo>
                  <a:lnTo>
                    <a:pt x="15088" y="4504"/>
                  </a:lnTo>
                  <a:lnTo>
                    <a:pt x="15089" y="4527"/>
                  </a:lnTo>
                  <a:lnTo>
                    <a:pt x="15089" y="12070"/>
                  </a:lnTo>
                  <a:close/>
                  <a:moveTo>
                    <a:pt x="14834" y="3038"/>
                  </a:moveTo>
                  <a:lnTo>
                    <a:pt x="12654" y="2675"/>
                  </a:lnTo>
                  <a:lnTo>
                    <a:pt x="11963" y="948"/>
                  </a:lnTo>
                  <a:lnTo>
                    <a:pt x="11940" y="894"/>
                  </a:lnTo>
                  <a:lnTo>
                    <a:pt x="11916" y="842"/>
                  </a:lnTo>
                  <a:lnTo>
                    <a:pt x="11890" y="792"/>
                  </a:lnTo>
                  <a:lnTo>
                    <a:pt x="11862" y="741"/>
                  </a:lnTo>
                  <a:lnTo>
                    <a:pt x="11833" y="693"/>
                  </a:lnTo>
                  <a:lnTo>
                    <a:pt x="11802" y="647"/>
                  </a:lnTo>
                  <a:lnTo>
                    <a:pt x="11768" y="601"/>
                  </a:lnTo>
                  <a:lnTo>
                    <a:pt x="11734" y="556"/>
                  </a:lnTo>
                  <a:lnTo>
                    <a:pt x="11698" y="514"/>
                  </a:lnTo>
                  <a:lnTo>
                    <a:pt x="11661" y="473"/>
                  </a:lnTo>
                  <a:lnTo>
                    <a:pt x="11622" y="433"/>
                  </a:lnTo>
                  <a:lnTo>
                    <a:pt x="11581" y="394"/>
                  </a:lnTo>
                  <a:lnTo>
                    <a:pt x="11540" y="358"/>
                  </a:lnTo>
                  <a:lnTo>
                    <a:pt x="11498" y="323"/>
                  </a:lnTo>
                  <a:lnTo>
                    <a:pt x="11454" y="290"/>
                  </a:lnTo>
                  <a:lnTo>
                    <a:pt x="11408" y="258"/>
                  </a:lnTo>
                  <a:lnTo>
                    <a:pt x="11362" y="227"/>
                  </a:lnTo>
                  <a:lnTo>
                    <a:pt x="11315" y="199"/>
                  </a:lnTo>
                  <a:lnTo>
                    <a:pt x="11267" y="173"/>
                  </a:lnTo>
                  <a:lnTo>
                    <a:pt x="11217" y="148"/>
                  </a:lnTo>
                  <a:lnTo>
                    <a:pt x="11167" y="125"/>
                  </a:lnTo>
                  <a:lnTo>
                    <a:pt x="11116" y="104"/>
                  </a:lnTo>
                  <a:lnTo>
                    <a:pt x="11063" y="84"/>
                  </a:lnTo>
                  <a:lnTo>
                    <a:pt x="11010" y="67"/>
                  </a:lnTo>
                  <a:lnTo>
                    <a:pt x="10957" y="51"/>
                  </a:lnTo>
                  <a:lnTo>
                    <a:pt x="10902" y="38"/>
                  </a:lnTo>
                  <a:lnTo>
                    <a:pt x="10847" y="26"/>
                  </a:lnTo>
                  <a:lnTo>
                    <a:pt x="10791" y="17"/>
                  </a:lnTo>
                  <a:lnTo>
                    <a:pt x="10734" y="10"/>
                  </a:lnTo>
                  <a:lnTo>
                    <a:pt x="10678" y="4"/>
                  </a:lnTo>
                  <a:lnTo>
                    <a:pt x="10621" y="1"/>
                  </a:lnTo>
                  <a:lnTo>
                    <a:pt x="10562" y="0"/>
                  </a:lnTo>
                  <a:lnTo>
                    <a:pt x="5533" y="0"/>
                  </a:lnTo>
                  <a:lnTo>
                    <a:pt x="5474" y="1"/>
                  </a:lnTo>
                  <a:lnTo>
                    <a:pt x="5417" y="4"/>
                  </a:lnTo>
                  <a:lnTo>
                    <a:pt x="5361" y="10"/>
                  </a:lnTo>
                  <a:lnTo>
                    <a:pt x="5304" y="17"/>
                  </a:lnTo>
                  <a:lnTo>
                    <a:pt x="5248" y="26"/>
                  </a:lnTo>
                  <a:lnTo>
                    <a:pt x="5193" y="38"/>
                  </a:lnTo>
                  <a:lnTo>
                    <a:pt x="5138" y="51"/>
                  </a:lnTo>
                  <a:lnTo>
                    <a:pt x="5085" y="67"/>
                  </a:lnTo>
                  <a:lnTo>
                    <a:pt x="5032" y="84"/>
                  </a:lnTo>
                  <a:lnTo>
                    <a:pt x="4979" y="104"/>
                  </a:lnTo>
                  <a:lnTo>
                    <a:pt x="4928" y="125"/>
                  </a:lnTo>
                  <a:lnTo>
                    <a:pt x="4878" y="148"/>
                  </a:lnTo>
                  <a:lnTo>
                    <a:pt x="4829" y="173"/>
                  </a:lnTo>
                  <a:lnTo>
                    <a:pt x="4780" y="199"/>
                  </a:lnTo>
                  <a:lnTo>
                    <a:pt x="4733" y="227"/>
                  </a:lnTo>
                  <a:lnTo>
                    <a:pt x="4687" y="258"/>
                  </a:lnTo>
                  <a:lnTo>
                    <a:pt x="4641" y="290"/>
                  </a:lnTo>
                  <a:lnTo>
                    <a:pt x="4597" y="323"/>
                  </a:lnTo>
                  <a:lnTo>
                    <a:pt x="4555" y="358"/>
                  </a:lnTo>
                  <a:lnTo>
                    <a:pt x="4513" y="395"/>
                  </a:lnTo>
                  <a:lnTo>
                    <a:pt x="4472" y="434"/>
                  </a:lnTo>
                  <a:lnTo>
                    <a:pt x="4434" y="473"/>
                  </a:lnTo>
                  <a:lnTo>
                    <a:pt x="4397" y="514"/>
                  </a:lnTo>
                  <a:lnTo>
                    <a:pt x="4361" y="557"/>
                  </a:lnTo>
                  <a:lnTo>
                    <a:pt x="4327" y="602"/>
                  </a:lnTo>
                  <a:lnTo>
                    <a:pt x="4293" y="647"/>
                  </a:lnTo>
                  <a:lnTo>
                    <a:pt x="4262" y="694"/>
                  </a:lnTo>
                  <a:lnTo>
                    <a:pt x="4232" y="742"/>
                  </a:lnTo>
                  <a:lnTo>
                    <a:pt x="4204" y="792"/>
                  </a:lnTo>
                  <a:lnTo>
                    <a:pt x="4178" y="843"/>
                  </a:lnTo>
                  <a:lnTo>
                    <a:pt x="4154" y="895"/>
                  </a:lnTo>
                  <a:lnTo>
                    <a:pt x="4130" y="949"/>
                  </a:lnTo>
                  <a:lnTo>
                    <a:pt x="3441" y="2675"/>
                  </a:lnTo>
                  <a:lnTo>
                    <a:pt x="1261" y="3038"/>
                  </a:lnTo>
                  <a:lnTo>
                    <a:pt x="1193" y="3051"/>
                  </a:lnTo>
                  <a:lnTo>
                    <a:pt x="1127" y="3067"/>
                  </a:lnTo>
                  <a:lnTo>
                    <a:pt x="1061" y="3085"/>
                  </a:lnTo>
                  <a:lnTo>
                    <a:pt x="998" y="3106"/>
                  </a:lnTo>
                  <a:lnTo>
                    <a:pt x="935" y="3130"/>
                  </a:lnTo>
                  <a:lnTo>
                    <a:pt x="873" y="3158"/>
                  </a:lnTo>
                  <a:lnTo>
                    <a:pt x="814" y="3186"/>
                  </a:lnTo>
                  <a:lnTo>
                    <a:pt x="756" y="3218"/>
                  </a:lnTo>
                  <a:lnTo>
                    <a:pt x="700" y="3251"/>
                  </a:lnTo>
                  <a:lnTo>
                    <a:pt x="645" y="3287"/>
                  </a:lnTo>
                  <a:lnTo>
                    <a:pt x="592" y="3327"/>
                  </a:lnTo>
                  <a:lnTo>
                    <a:pt x="541" y="3367"/>
                  </a:lnTo>
                  <a:lnTo>
                    <a:pt x="492" y="3410"/>
                  </a:lnTo>
                  <a:lnTo>
                    <a:pt x="445" y="3454"/>
                  </a:lnTo>
                  <a:lnTo>
                    <a:pt x="399" y="3502"/>
                  </a:lnTo>
                  <a:lnTo>
                    <a:pt x="357" y="3550"/>
                  </a:lnTo>
                  <a:lnTo>
                    <a:pt x="316" y="3600"/>
                  </a:lnTo>
                  <a:lnTo>
                    <a:pt x="277" y="3653"/>
                  </a:lnTo>
                  <a:lnTo>
                    <a:pt x="240" y="3707"/>
                  </a:lnTo>
                  <a:lnTo>
                    <a:pt x="206" y="3762"/>
                  </a:lnTo>
                  <a:lnTo>
                    <a:pt x="175" y="3818"/>
                  </a:lnTo>
                  <a:lnTo>
                    <a:pt x="145" y="3877"/>
                  </a:lnTo>
                  <a:lnTo>
                    <a:pt x="119" y="3937"/>
                  </a:lnTo>
                  <a:lnTo>
                    <a:pt x="95" y="3999"/>
                  </a:lnTo>
                  <a:lnTo>
                    <a:pt x="72" y="4061"/>
                  </a:lnTo>
                  <a:lnTo>
                    <a:pt x="53" y="4124"/>
                  </a:lnTo>
                  <a:lnTo>
                    <a:pt x="37" y="4189"/>
                  </a:lnTo>
                  <a:lnTo>
                    <a:pt x="24" y="4255"/>
                  </a:lnTo>
                  <a:lnTo>
                    <a:pt x="14" y="4321"/>
                  </a:lnTo>
                  <a:lnTo>
                    <a:pt x="6" y="4389"/>
                  </a:lnTo>
                  <a:lnTo>
                    <a:pt x="2" y="4457"/>
                  </a:lnTo>
                  <a:lnTo>
                    <a:pt x="0" y="4527"/>
                  </a:lnTo>
                  <a:lnTo>
                    <a:pt x="0" y="12070"/>
                  </a:lnTo>
                  <a:lnTo>
                    <a:pt x="2" y="12148"/>
                  </a:lnTo>
                  <a:lnTo>
                    <a:pt x="8" y="12224"/>
                  </a:lnTo>
                  <a:lnTo>
                    <a:pt x="17" y="12299"/>
                  </a:lnTo>
                  <a:lnTo>
                    <a:pt x="31" y="12374"/>
                  </a:lnTo>
                  <a:lnTo>
                    <a:pt x="47" y="12446"/>
                  </a:lnTo>
                  <a:lnTo>
                    <a:pt x="68" y="12519"/>
                  </a:lnTo>
                  <a:lnTo>
                    <a:pt x="92" y="12588"/>
                  </a:lnTo>
                  <a:lnTo>
                    <a:pt x="119" y="12657"/>
                  </a:lnTo>
                  <a:lnTo>
                    <a:pt x="149" y="12724"/>
                  </a:lnTo>
                  <a:lnTo>
                    <a:pt x="182" y="12788"/>
                  </a:lnTo>
                  <a:lnTo>
                    <a:pt x="218" y="12852"/>
                  </a:lnTo>
                  <a:lnTo>
                    <a:pt x="259" y="12913"/>
                  </a:lnTo>
                  <a:lnTo>
                    <a:pt x="300" y="12972"/>
                  </a:lnTo>
                  <a:lnTo>
                    <a:pt x="345" y="13030"/>
                  </a:lnTo>
                  <a:lnTo>
                    <a:pt x="392" y="13084"/>
                  </a:lnTo>
                  <a:lnTo>
                    <a:pt x="443" y="13136"/>
                  </a:lnTo>
                  <a:lnTo>
                    <a:pt x="495" y="13187"/>
                  </a:lnTo>
                  <a:lnTo>
                    <a:pt x="549" y="13234"/>
                  </a:lnTo>
                  <a:lnTo>
                    <a:pt x="607" y="13279"/>
                  </a:lnTo>
                  <a:lnTo>
                    <a:pt x="666" y="13320"/>
                  </a:lnTo>
                  <a:lnTo>
                    <a:pt x="727" y="13361"/>
                  </a:lnTo>
                  <a:lnTo>
                    <a:pt x="791" y="13397"/>
                  </a:lnTo>
                  <a:lnTo>
                    <a:pt x="855" y="13430"/>
                  </a:lnTo>
                  <a:lnTo>
                    <a:pt x="922" y="13460"/>
                  </a:lnTo>
                  <a:lnTo>
                    <a:pt x="991" y="13487"/>
                  </a:lnTo>
                  <a:lnTo>
                    <a:pt x="1060" y="13511"/>
                  </a:lnTo>
                  <a:lnTo>
                    <a:pt x="1133" y="13532"/>
                  </a:lnTo>
                  <a:lnTo>
                    <a:pt x="1205" y="13548"/>
                  </a:lnTo>
                  <a:lnTo>
                    <a:pt x="1280" y="13562"/>
                  </a:lnTo>
                  <a:lnTo>
                    <a:pt x="1355" y="13571"/>
                  </a:lnTo>
                  <a:lnTo>
                    <a:pt x="1431" y="13577"/>
                  </a:lnTo>
                  <a:lnTo>
                    <a:pt x="1509" y="13579"/>
                  </a:lnTo>
                  <a:lnTo>
                    <a:pt x="14586" y="13579"/>
                  </a:lnTo>
                  <a:lnTo>
                    <a:pt x="14664" y="13577"/>
                  </a:lnTo>
                  <a:lnTo>
                    <a:pt x="14740" y="13571"/>
                  </a:lnTo>
                  <a:lnTo>
                    <a:pt x="14815" y="13562"/>
                  </a:lnTo>
                  <a:lnTo>
                    <a:pt x="14890" y="13548"/>
                  </a:lnTo>
                  <a:lnTo>
                    <a:pt x="14962" y="13532"/>
                  </a:lnTo>
                  <a:lnTo>
                    <a:pt x="15034" y="13511"/>
                  </a:lnTo>
                  <a:lnTo>
                    <a:pt x="15104" y="13487"/>
                  </a:lnTo>
                  <a:lnTo>
                    <a:pt x="15173" y="13460"/>
                  </a:lnTo>
                  <a:lnTo>
                    <a:pt x="15240" y="13430"/>
                  </a:lnTo>
                  <a:lnTo>
                    <a:pt x="15304" y="13397"/>
                  </a:lnTo>
                  <a:lnTo>
                    <a:pt x="15368" y="13361"/>
                  </a:lnTo>
                  <a:lnTo>
                    <a:pt x="15429" y="13320"/>
                  </a:lnTo>
                  <a:lnTo>
                    <a:pt x="15488" y="13279"/>
                  </a:lnTo>
                  <a:lnTo>
                    <a:pt x="15546" y="13234"/>
                  </a:lnTo>
                  <a:lnTo>
                    <a:pt x="15600" y="13187"/>
                  </a:lnTo>
                  <a:lnTo>
                    <a:pt x="15652" y="13136"/>
                  </a:lnTo>
                  <a:lnTo>
                    <a:pt x="15703" y="13084"/>
                  </a:lnTo>
                  <a:lnTo>
                    <a:pt x="15750" y="13030"/>
                  </a:lnTo>
                  <a:lnTo>
                    <a:pt x="15795" y="12972"/>
                  </a:lnTo>
                  <a:lnTo>
                    <a:pt x="15836" y="12913"/>
                  </a:lnTo>
                  <a:lnTo>
                    <a:pt x="15877" y="12852"/>
                  </a:lnTo>
                  <a:lnTo>
                    <a:pt x="15913" y="12788"/>
                  </a:lnTo>
                  <a:lnTo>
                    <a:pt x="15946" y="12724"/>
                  </a:lnTo>
                  <a:lnTo>
                    <a:pt x="15976" y="12657"/>
                  </a:lnTo>
                  <a:lnTo>
                    <a:pt x="16003" y="12588"/>
                  </a:lnTo>
                  <a:lnTo>
                    <a:pt x="16027" y="12519"/>
                  </a:lnTo>
                  <a:lnTo>
                    <a:pt x="16048" y="12446"/>
                  </a:lnTo>
                  <a:lnTo>
                    <a:pt x="16064" y="12374"/>
                  </a:lnTo>
                  <a:lnTo>
                    <a:pt x="16078" y="12299"/>
                  </a:lnTo>
                  <a:lnTo>
                    <a:pt x="16087" y="12224"/>
                  </a:lnTo>
                  <a:lnTo>
                    <a:pt x="16093" y="12148"/>
                  </a:lnTo>
                  <a:lnTo>
                    <a:pt x="16095" y="12070"/>
                  </a:lnTo>
                  <a:lnTo>
                    <a:pt x="16095" y="4527"/>
                  </a:lnTo>
                  <a:lnTo>
                    <a:pt x="16093" y="4457"/>
                  </a:lnTo>
                  <a:lnTo>
                    <a:pt x="16089" y="4389"/>
                  </a:lnTo>
                  <a:lnTo>
                    <a:pt x="16081" y="4321"/>
                  </a:lnTo>
                  <a:lnTo>
                    <a:pt x="16071" y="4255"/>
                  </a:lnTo>
                  <a:lnTo>
                    <a:pt x="16058" y="4189"/>
                  </a:lnTo>
                  <a:lnTo>
                    <a:pt x="16042" y="4124"/>
                  </a:lnTo>
                  <a:lnTo>
                    <a:pt x="16023" y="4061"/>
                  </a:lnTo>
                  <a:lnTo>
                    <a:pt x="16000" y="3999"/>
                  </a:lnTo>
                  <a:lnTo>
                    <a:pt x="15976" y="3937"/>
                  </a:lnTo>
                  <a:lnTo>
                    <a:pt x="15949" y="3877"/>
                  </a:lnTo>
                  <a:lnTo>
                    <a:pt x="15920" y="3818"/>
                  </a:lnTo>
                  <a:lnTo>
                    <a:pt x="15889" y="3762"/>
                  </a:lnTo>
                  <a:lnTo>
                    <a:pt x="15855" y="3707"/>
                  </a:lnTo>
                  <a:lnTo>
                    <a:pt x="15818" y="3653"/>
                  </a:lnTo>
                  <a:lnTo>
                    <a:pt x="15779" y="3600"/>
                  </a:lnTo>
                  <a:lnTo>
                    <a:pt x="15738" y="3550"/>
                  </a:lnTo>
                  <a:lnTo>
                    <a:pt x="15696" y="3502"/>
                  </a:lnTo>
                  <a:lnTo>
                    <a:pt x="15650" y="3454"/>
                  </a:lnTo>
                  <a:lnTo>
                    <a:pt x="15603" y="3410"/>
                  </a:lnTo>
                  <a:lnTo>
                    <a:pt x="15554" y="3367"/>
                  </a:lnTo>
                  <a:lnTo>
                    <a:pt x="15503" y="3327"/>
                  </a:lnTo>
                  <a:lnTo>
                    <a:pt x="15450" y="3287"/>
                  </a:lnTo>
                  <a:lnTo>
                    <a:pt x="15395" y="3251"/>
                  </a:lnTo>
                  <a:lnTo>
                    <a:pt x="15339" y="3218"/>
                  </a:lnTo>
                  <a:lnTo>
                    <a:pt x="15281" y="3186"/>
                  </a:lnTo>
                  <a:lnTo>
                    <a:pt x="15221" y="3158"/>
                  </a:lnTo>
                  <a:lnTo>
                    <a:pt x="15160" y="3130"/>
                  </a:lnTo>
                  <a:lnTo>
                    <a:pt x="15097" y="3106"/>
                  </a:lnTo>
                  <a:lnTo>
                    <a:pt x="15034" y="3085"/>
                  </a:lnTo>
                  <a:lnTo>
                    <a:pt x="14968" y="3067"/>
                  </a:lnTo>
                  <a:lnTo>
                    <a:pt x="14901" y="3051"/>
                  </a:lnTo>
                  <a:lnTo>
                    <a:pt x="14834" y="30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8" name="iṧḷîḍé">
              <a:extLst>
                <a:ext uri="{FF2B5EF4-FFF2-40B4-BE49-F238E27FC236}">
                  <a16:creationId xmlns:a16="http://schemas.microsoft.com/office/drawing/2014/main" id="{0ED45A8D-044E-40E2-8B16-C829C0308C55}"/>
                </a:ext>
              </a:extLst>
            </p:cNvPr>
            <p:cNvSpPr/>
            <p:nvPr/>
          </p:nvSpPr>
          <p:spPr bwMode="auto">
            <a:xfrm>
              <a:off x="1115242" y="1091004"/>
              <a:ext cx="271169" cy="270546"/>
            </a:xfrm>
            <a:custGeom>
              <a:avLst/>
              <a:gdLst>
                <a:gd name="T0" fmla="*/ 13014 w 16095"/>
                <a:gd name="T1" fmla="*/ 9314 h 16058"/>
                <a:gd name="T2" fmla="*/ 12601 w 16095"/>
                <a:gd name="T3" fmla="*/ 10148 h 16058"/>
                <a:gd name="T4" fmla="*/ 12483 w 16095"/>
                <a:gd name="T5" fmla="*/ 10816 h 16058"/>
                <a:gd name="T6" fmla="*/ 11103 w 16095"/>
                <a:gd name="T7" fmla="*/ 12535 h 16058"/>
                <a:gd name="T8" fmla="*/ 10453 w 16095"/>
                <a:gd name="T9" fmla="*/ 12465 h 16058"/>
                <a:gd name="T10" fmla="*/ 9575 w 16095"/>
                <a:gd name="T11" fmla="*/ 12816 h 16058"/>
                <a:gd name="T12" fmla="*/ 9126 w 16095"/>
                <a:gd name="T13" fmla="*/ 13268 h 16058"/>
                <a:gd name="T14" fmla="*/ 6955 w 16095"/>
                <a:gd name="T15" fmla="*/ 13239 h 16058"/>
                <a:gd name="T16" fmla="*/ 6491 w 16095"/>
                <a:gd name="T17" fmla="*/ 12802 h 16058"/>
                <a:gd name="T18" fmla="*/ 5615 w 16095"/>
                <a:gd name="T19" fmla="*/ 12459 h 16058"/>
                <a:gd name="T20" fmla="*/ 4959 w 16095"/>
                <a:gd name="T21" fmla="*/ 12551 h 16058"/>
                <a:gd name="T22" fmla="*/ 3617 w 16095"/>
                <a:gd name="T23" fmla="*/ 10784 h 16058"/>
                <a:gd name="T24" fmla="*/ 3464 w 16095"/>
                <a:gd name="T25" fmla="*/ 10082 h 16058"/>
                <a:gd name="T26" fmla="*/ 3059 w 16095"/>
                <a:gd name="T27" fmla="*/ 9291 h 16058"/>
                <a:gd name="T28" fmla="*/ 1006 w 16095"/>
                <a:gd name="T29" fmla="*/ 7347 h 16058"/>
                <a:gd name="T30" fmla="*/ 3081 w 16095"/>
                <a:gd name="T31" fmla="*/ 6745 h 16058"/>
                <a:gd name="T32" fmla="*/ 3495 w 16095"/>
                <a:gd name="T33" fmla="*/ 5911 h 16058"/>
                <a:gd name="T34" fmla="*/ 3613 w 16095"/>
                <a:gd name="T35" fmla="*/ 5243 h 16058"/>
                <a:gd name="T36" fmla="*/ 4992 w 16095"/>
                <a:gd name="T37" fmla="*/ 3523 h 16058"/>
                <a:gd name="T38" fmla="*/ 5643 w 16095"/>
                <a:gd name="T39" fmla="*/ 3593 h 16058"/>
                <a:gd name="T40" fmla="*/ 6520 w 16095"/>
                <a:gd name="T41" fmla="*/ 3242 h 16058"/>
                <a:gd name="T42" fmla="*/ 6970 w 16095"/>
                <a:gd name="T43" fmla="*/ 2790 h 16058"/>
                <a:gd name="T44" fmla="*/ 9140 w 16095"/>
                <a:gd name="T45" fmla="*/ 2819 h 16058"/>
                <a:gd name="T46" fmla="*/ 9604 w 16095"/>
                <a:gd name="T47" fmla="*/ 3256 h 16058"/>
                <a:gd name="T48" fmla="*/ 10480 w 16095"/>
                <a:gd name="T49" fmla="*/ 3599 h 16058"/>
                <a:gd name="T50" fmla="*/ 11137 w 16095"/>
                <a:gd name="T51" fmla="*/ 3507 h 16058"/>
                <a:gd name="T52" fmla="*/ 12478 w 16095"/>
                <a:gd name="T53" fmla="*/ 5274 h 16058"/>
                <a:gd name="T54" fmla="*/ 12631 w 16095"/>
                <a:gd name="T55" fmla="*/ 5976 h 16058"/>
                <a:gd name="T56" fmla="*/ 13036 w 16095"/>
                <a:gd name="T57" fmla="*/ 6767 h 16058"/>
                <a:gd name="T58" fmla="*/ 15089 w 16095"/>
                <a:gd name="T59" fmla="*/ 8712 h 16058"/>
                <a:gd name="T60" fmla="*/ 14489 w 16095"/>
                <a:gd name="T61" fmla="*/ 3783 h 16058"/>
                <a:gd name="T62" fmla="*/ 14336 w 16095"/>
                <a:gd name="T63" fmla="*/ 2970 h 16058"/>
                <a:gd name="T64" fmla="*/ 12945 w 16095"/>
                <a:gd name="T65" fmla="*/ 1659 h 16058"/>
                <a:gd name="T66" fmla="*/ 12433 w 16095"/>
                <a:gd name="T67" fmla="*/ 1581 h 16058"/>
                <a:gd name="T68" fmla="*/ 10192 w 16095"/>
                <a:gd name="T69" fmla="*/ 2406 h 16058"/>
                <a:gd name="T70" fmla="*/ 9336 w 16095"/>
                <a:gd name="T71" fmla="*/ 202 h 16058"/>
                <a:gd name="T72" fmla="*/ 7187 w 16095"/>
                <a:gd name="T73" fmla="*/ 15 h 16058"/>
                <a:gd name="T74" fmla="*/ 6503 w 16095"/>
                <a:gd name="T75" fmla="*/ 483 h 16058"/>
                <a:gd name="T76" fmla="*/ 4046 w 16095"/>
                <a:gd name="T77" fmla="*/ 1704 h 16058"/>
                <a:gd name="T78" fmla="*/ 3407 w 16095"/>
                <a:gd name="T79" fmla="*/ 1586 h 16058"/>
                <a:gd name="T80" fmla="*/ 2956 w 16095"/>
                <a:gd name="T81" fmla="*/ 1771 h 16058"/>
                <a:gd name="T82" fmla="*/ 1604 w 16095"/>
                <a:gd name="T83" fmla="*/ 3320 h 16058"/>
                <a:gd name="T84" fmla="*/ 2620 w 16095"/>
                <a:gd name="T85" fmla="*/ 5408 h 16058"/>
                <a:gd name="T86" fmla="*/ 379 w 16095"/>
                <a:gd name="T87" fmla="*/ 6562 h 16058"/>
                <a:gd name="T88" fmla="*/ 1 w 16095"/>
                <a:gd name="T89" fmla="*/ 7302 h 16058"/>
                <a:gd name="T90" fmla="*/ 285 w 16095"/>
                <a:gd name="T91" fmla="*/ 9412 h 16058"/>
                <a:gd name="T92" fmla="*/ 2511 w 16095"/>
                <a:gd name="T93" fmla="*/ 10413 h 16058"/>
                <a:gd name="T94" fmla="*/ 1583 w 16095"/>
                <a:gd name="T95" fmla="*/ 12613 h 16058"/>
                <a:gd name="T96" fmla="*/ 2897 w 16095"/>
                <a:gd name="T97" fmla="*/ 14241 h 16058"/>
                <a:gd name="T98" fmla="*/ 3336 w 16095"/>
                <a:gd name="T99" fmla="*/ 14459 h 16058"/>
                <a:gd name="T100" fmla="*/ 3944 w 16095"/>
                <a:gd name="T101" fmla="*/ 14404 h 16058"/>
                <a:gd name="T102" fmla="*/ 6444 w 16095"/>
                <a:gd name="T103" fmla="*/ 15461 h 16058"/>
                <a:gd name="T104" fmla="*/ 7061 w 16095"/>
                <a:gd name="T105" fmla="*/ 16012 h 16058"/>
                <a:gd name="T106" fmla="*/ 9229 w 16095"/>
                <a:gd name="T107" fmla="*/ 15927 h 16058"/>
                <a:gd name="T108" fmla="*/ 9718 w 16095"/>
                <a:gd name="T109" fmla="*/ 15251 h 16058"/>
                <a:gd name="T110" fmla="*/ 12326 w 16095"/>
                <a:gd name="T111" fmla="*/ 14460 h 16058"/>
                <a:gd name="T112" fmla="*/ 12877 w 16095"/>
                <a:gd name="T113" fmla="*/ 14426 h 16058"/>
                <a:gd name="T114" fmla="*/ 14253 w 16095"/>
                <a:gd name="T115" fmla="*/ 13191 h 16058"/>
                <a:gd name="T116" fmla="*/ 14511 w 16095"/>
                <a:gd name="T117" fmla="*/ 12402 h 16058"/>
                <a:gd name="T118" fmla="*/ 13745 w 16095"/>
                <a:gd name="T119" fmla="*/ 10004 h 16058"/>
                <a:gd name="T120" fmla="*/ 15941 w 16095"/>
                <a:gd name="T121" fmla="*/ 9245 h 16058"/>
                <a:gd name="T122" fmla="*/ 16061 w 16095"/>
                <a:gd name="T123" fmla="*/ 7086 h 16058"/>
                <a:gd name="T124" fmla="*/ 15536 w 16095"/>
                <a:gd name="T125" fmla="*/ 644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6058">
                  <a:moveTo>
                    <a:pt x="13547" y="9020"/>
                  </a:moveTo>
                  <a:lnTo>
                    <a:pt x="13515" y="9027"/>
                  </a:lnTo>
                  <a:lnTo>
                    <a:pt x="13483" y="9035"/>
                  </a:lnTo>
                  <a:lnTo>
                    <a:pt x="13450" y="9044"/>
                  </a:lnTo>
                  <a:lnTo>
                    <a:pt x="13419" y="9054"/>
                  </a:lnTo>
                  <a:lnTo>
                    <a:pt x="13388" y="9065"/>
                  </a:lnTo>
                  <a:lnTo>
                    <a:pt x="13358" y="9077"/>
                  </a:lnTo>
                  <a:lnTo>
                    <a:pt x="13328" y="9090"/>
                  </a:lnTo>
                  <a:lnTo>
                    <a:pt x="13298" y="9104"/>
                  </a:lnTo>
                  <a:lnTo>
                    <a:pt x="13269" y="9120"/>
                  </a:lnTo>
                  <a:lnTo>
                    <a:pt x="13241" y="9135"/>
                  </a:lnTo>
                  <a:lnTo>
                    <a:pt x="13213" y="9152"/>
                  </a:lnTo>
                  <a:lnTo>
                    <a:pt x="13186" y="9169"/>
                  </a:lnTo>
                  <a:lnTo>
                    <a:pt x="13160" y="9187"/>
                  </a:lnTo>
                  <a:lnTo>
                    <a:pt x="13134" y="9207"/>
                  </a:lnTo>
                  <a:lnTo>
                    <a:pt x="13108" y="9226"/>
                  </a:lnTo>
                  <a:lnTo>
                    <a:pt x="13083" y="9247"/>
                  </a:lnTo>
                  <a:lnTo>
                    <a:pt x="13059" y="9269"/>
                  </a:lnTo>
                  <a:lnTo>
                    <a:pt x="13036" y="9291"/>
                  </a:lnTo>
                  <a:lnTo>
                    <a:pt x="13014" y="9314"/>
                  </a:lnTo>
                  <a:lnTo>
                    <a:pt x="12992" y="9338"/>
                  </a:lnTo>
                  <a:lnTo>
                    <a:pt x="12971" y="9362"/>
                  </a:lnTo>
                  <a:lnTo>
                    <a:pt x="12950" y="9387"/>
                  </a:lnTo>
                  <a:lnTo>
                    <a:pt x="12931" y="9414"/>
                  </a:lnTo>
                  <a:lnTo>
                    <a:pt x="12912" y="9440"/>
                  </a:lnTo>
                  <a:lnTo>
                    <a:pt x="12894" y="9467"/>
                  </a:lnTo>
                  <a:lnTo>
                    <a:pt x="12877" y="9495"/>
                  </a:lnTo>
                  <a:lnTo>
                    <a:pt x="12861" y="9523"/>
                  </a:lnTo>
                  <a:lnTo>
                    <a:pt x="12846" y="9552"/>
                  </a:lnTo>
                  <a:lnTo>
                    <a:pt x="12832" y="9582"/>
                  </a:lnTo>
                  <a:lnTo>
                    <a:pt x="12819" y="9612"/>
                  </a:lnTo>
                  <a:lnTo>
                    <a:pt x="12807" y="9642"/>
                  </a:lnTo>
                  <a:lnTo>
                    <a:pt x="12795" y="9674"/>
                  </a:lnTo>
                  <a:lnTo>
                    <a:pt x="12769" y="9743"/>
                  </a:lnTo>
                  <a:lnTo>
                    <a:pt x="12744" y="9812"/>
                  </a:lnTo>
                  <a:lnTo>
                    <a:pt x="12717" y="9880"/>
                  </a:lnTo>
                  <a:lnTo>
                    <a:pt x="12690" y="9948"/>
                  </a:lnTo>
                  <a:lnTo>
                    <a:pt x="12661" y="10015"/>
                  </a:lnTo>
                  <a:lnTo>
                    <a:pt x="12632" y="10082"/>
                  </a:lnTo>
                  <a:lnTo>
                    <a:pt x="12601" y="10148"/>
                  </a:lnTo>
                  <a:lnTo>
                    <a:pt x="12570" y="10214"/>
                  </a:lnTo>
                  <a:lnTo>
                    <a:pt x="12556" y="10244"/>
                  </a:lnTo>
                  <a:lnTo>
                    <a:pt x="12543" y="10274"/>
                  </a:lnTo>
                  <a:lnTo>
                    <a:pt x="12531" y="10305"/>
                  </a:lnTo>
                  <a:lnTo>
                    <a:pt x="12520" y="10336"/>
                  </a:lnTo>
                  <a:lnTo>
                    <a:pt x="12510" y="10367"/>
                  </a:lnTo>
                  <a:lnTo>
                    <a:pt x="12501" y="10399"/>
                  </a:lnTo>
                  <a:lnTo>
                    <a:pt x="12494" y="10430"/>
                  </a:lnTo>
                  <a:lnTo>
                    <a:pt x="12487" y="10462"/>
                  </a:lnTo>
                  <a:lnTo>
                    <a:pt x="12481" y="10495"/>
                  </a:lnTo>
                  <a:lnTo>
                    <a:pt x="12477" y="10527"/>
                  </a:lnTo>
                  <a:lnTo>
                    <a:pt x="12473" y="10559"/>
                  </a:lnTo>
                  <a:lnTo>
                    <a:pt x="12471" y="10591"/>
                  </a:lnTo>
                  <a:lnTo>
                    <a:pt x="12469" y="10623"/>
                  </a:lnTo>
                  <a:lnTo>
                    <a:pt x="12469" y="10655"/>
                  </a:lnTo>
                  <a:lnTo>
                    <a:pt x="12470" y="10687"/>
                  </a:lnTo>
                  <a:lnTo>
                    <a:pt x="12471" y="10719"/>
                  </a:lnTo>
                  <a:lnTo>
                    <a:pt x="12474" y="10752"/>
                  </a:lnTo>
                  <a:lnTo>
                    <a:pt x="12478" y="10784"/>
                  </a:lnTo>
                  <a:lnTo>
                    <a:pt x="12483" y="10816"/>
                  </a:lnTo>
                  <a:lnTo>
                    <a:pt x="12488" y="10848"/>
                  </a:lnTo>
                  <a:lnTo>
                    <a:pt x="12495" y="10879"/>
                  </a:lnTo>
                  <a:lnTo>
                    <a:pt x="12503" y="10911"/>
                  </a:lnTo>
                  <a:lnTo>
                    <a:pt x="12512" y="10942"/>
                  </a:lnTo>
                  <a:lnTo>
                    <a:pt x="12522" y="10972"/>
                  </a:lnTo>
                  <a:lnTo>
                    <a:pt x="12532" y="11003"/>
                  </a:lnTo>
                  <a:lnTo>
                    <a:pt x="12544" y="11034"/>
                  </a:lnTo>
                  <a:lnTo>
                    <a:pt x="12557" y="11064"/>
                  </a:lnTo>
                  <a:lnTo>
                    <a:pt x="12571" y="11093"/>
                  </a:lnTo>
                  <a:lnTo>
                    <a:pt x="12586" y="11123"/>
                  </a:lnTo>
                  <a:lnTo>
                    <a:pt x="12602" y="11151"/>
                  </a:lnTo>
                  <a:lnTo>
                    <a:pt x="12619" y="11180"/>
                  </a:lnTo>
                  <a:lnTo>
                    <a:pt x="12638" y="11207"/>
                  </a:lnTo>
                  <a:lnTo>
                    <a:pt x="13511" y="12514"/>
                  </a:lnTo>
                  <a:lnTo>
                    <a:pt x="12543" y="13480"/>
                  </a:lnTo>
                  <a:lnTo>
                    <a:pt x="11233" y="12608"/>
                  </a:lnTo>
                  <a:lnTo>
                    <a:pt x="11202" y="12588"/>
                  </a:lnTo>
                  <a:lnTo>
                    <a:pt x="11169" y="12569"/>
                  </a:lnTo>
                  <a:lnTo>
                    <a:pt x="11137" y="12551"/>
                  </a:lnTo>
                  <a:lnTo>
                    <a:pt x="11103" y="12535"/>
                  </a:lnTo>
                  <a:lnTo>
                    <a:pt x="11069" y="12520"/>
                  </a:lnTo>
                  <a:lnTo>
                    <a:pt x="11035" y="12506"/>
                  </a:lnTo>
                  <a:lnTo>
                    <a:pt x="11000" y="12494"/>
                  </a:lnTo>
                  <a:lnTo>
                    <a:pt x="10965" y="12483"/>
                  </a:lnTo>
                  <a:lnTo>
                    <a:pt x="10930" y="12473"/>
                  </a:lnTo>
                  <a:lnTo>
                    <a:pt x="10894" y="12464"/>
                  </a:lnTo>
                  <a:lnTo>
                    <a:pt x="10858" y="12457"/>
                  </a:lnTo>
                  <a:lnTo>
                    <a:pt x="10822" y="12451"/>
                  </a:lnTo>
                  <a:lnTo>
                    <a:pt x="10786" y="12446"/>
                  </a:lnTo>
                  <a:lnTo>
                    <a:pt x="10748" y="12443"/>
                  </a:lnTo>
                  <a:lnTo>
                    <a:pt x="10712" y="12441"/>
                  </a:lnTo>
                  <a:lnTo>
                    <a:pt x="10676" y="12440"/>
                  </a:lnTo>
                  <a:lnTo>
                    <a:pt x="10648" y="12441"/>
                  </a:lnTo>
                  <a:lnTo>
                    <a:pt x="10620" y="12442"/>
                  </a:lnTo>
                  <a:lnTo>
                    <a:pt x="10592" y="12444"/>
                  </a:lnTo>
                  <a:lnTo>
                    <a:pt x="10563" y="12446"/>
                  </a:lnTo>
                  <a:lnTo>
                    <a:pt x="10536" y="12450"/>
                  </a:lnTo>
                  <a:lnTo>
                    <a:pt x="10508" y="12454"/>
                  </a:lnTo>
                  <a:lnTo>
                    <a:pt x="10480" y="12459"/>
                  </a:lnTo>
                  <a:lnTo>
                    <a:pt x="10453" y="12465"/>
                  </a:lnTo>
                  <a:lnTo>
                    <a:pt x="10425" y="12472"/>
                  </a:lnTo>
                  <a:lnTo>
                    <a:pt x="10397" y="12479"/>
                  </a:lnTo>
                  <a:lnTo>
                    <a:pt x="10370" y="12488"/>
                  </a:lnTo>
                  <a:lnTo>
                    <a:pt x="10343" y="12497"/>
                  </a:lnTo>
                  <a:lnTo>
                    <a:pt x="10317" y="12506"/>
                  </a:lnTo>
                  <a:lnTo>
                    <a:pt x="10290" y="12517"/>
                  </a:lnTo>
                  <a:lnTo>
                    <a:pt x="10264" y="12528"/>
                  </a:lnTo>
                  <a:lnTo>
                    <a:pt x="10237" y="12540"/>
                  </a:lnTo>
                  <a:lnTo>
                    <a:pt x="10172" y="12571"/>
                  </a:lnTo>
                  <a:lnTo>
                    <a:pt x="10106" y="12602"/>
                  </a:lnTo>
                  <a:lnTo>
                    <a:pt x="10038" y="12631"/>
                  </a:lnTo>
                  <a:lnTo>
                    <a:pt x="9971" y="12661"/>
                  </a:lnTo>
                  <a:lnTo>
                    <a:pt x="9903" y="12688"/>
                  </a:lnTo>
                  <a:lnTo>
                    <a:pt x="9835" y="12715"/>
                  </a:lnTo>
                  <a:lnTo>
                    <a:pt x="9766" y="12740"/>
                  </a:lnTo>
                  <a:lnTo>
                    <a:pt x="9696" y="12765"/>
                  </a:lnTo>
                  <a:lnTo>
                    <a:pt x="9665" y="12777"/>
                  </a:lnTo>
                  <a:lnTo>
                    <a:pt x="9635" y="12789"/>
                  </a:lnTo>
                  <a:lnTo>
                    <a:pt x="9605" y="12802"/>
                  </a:lnTo>
                  <a:lnTo>
                    <a:pt x="9575" y="12816"/>
                  </a:lnTo>
                  <a:lnTo>
                    <a:pt x="9545" y="12832"/>
                  </a:lnTo>
                  <a:lnTo>
                    <a:pt x="9517" y="12848"/>
                  </a:lnTo>
                  <a:lnTo>
                    <a:pt x="9489" y="12864"/>
                  </a:lnTo>
                  <a:lnTo>
                    <a:pt x="9462" y="12882"/>
                  </a:lnTo>
                  <a:lnTo>
                    <a:pt x="9436" y="12901"/>
                  </a:lnTo>
                  <a:lnTo>
                    <a:pt x="9410" y="12920"/>
                  </a:lnTo>
                  <a:lnTo>
                    <a:pt x="9384" y="12941"/>
                  </a:lnTo>
                  <a:lnTo>
                    <a:pt x="9360" y="12962"/>
                  </a:lnTo>
                  <a:lnTo>
                    <a:pt x="9336" y="12984"/>
                  </a:lnTo>
                  <a:lnTo>
                    <a:pt x="9313" y="13007"/>
                  </a:lnTo>
                  <a:lnTo>
                    <a:pt x="9291" y="13030"/>
                  </a:lnTo>
                  <a:lnTo>
                    <a:pt x="9269" y="13054"/>
                  </a:lnTo>
                  <a:lnTo>
                    <a:pt x="9249" y="13078"/>
                  </a:lnTo>
                  <a:lnTo>
                    <a:pt x="9228" y="13103"/>
                  </a:lnTo>
                  <a:lnTo>
                    <a:pt x="9209" y="13129"/>
                  </a:lnTo>
                  <a:lnTo>
                    <a:pt x="9190" y="13156"/>
                  </a:lnTo>
                  <a:lnTo>
                    <a:pt x="9173" y="13183"/>
                  </a:lnTo>
                  <a:lnTo>
                    <a:pt x="9156" y="13211"/>
                  </a:lnTo>
                  <a:lnTo>
                    <a:pt x="9141" y="13239"/>
                  </a:lnTo>
                  <a:lnTo>
                    <a:pt x="9126" y="13268"/>
                  </a:lnTo>
                  <a:lnTo>
                    <a:pt x="9112" y="13297"/>
                  </a:lnTo>
                  <a:lnTo>
                    <a:pt x="9099" y="13327"/>
                  </a:lnTo>
                  <a:lnTo>
                    <a:pt x="9087" y="13357"/>
                  </a:lnTo>
                  <a:lnTo>
                    <a:pt x="9076" y="13388"/>
                  </a:lnTo>
                  <a:lnTo>
                    <a:pt x="9066" y="13419"/>
                  </a:lnTo>
                  <a:lnTo>
                    <a:pt x="9056" y="13451"/>
                  </a:lnTo>
                  <a:lnTo>
                    <a:pt x="9048" y="13484"/>
                  </a:lnTo>
                  <a:lnTo>
                    <a:pt x="9041" y="13516"/>
                  </a:lnTo>
                  <a:lnTo>
                    <a:pt x="8732" y="15054"/>
                  </a:lnTo>
                  <a:lnTo>
                    <a:pt x="7363" y="15054"/>
                  </a:lnTo>
                  <a:lnTo>
                    <a:pt x="7055" y="13516"/>
                  </a:lnTo>
                  <a:lnTo>
                    <a:pt x="7048" y="13484"/>
                  </a:lnTo>
                  <a:lnTo>
                    <a:pt x="7040" y="13451"/>
                  </a:lnTo>
                  <a:lnTo>
                    <a:pt x="7030" y="13419"/>
                  </a:lnTo>
                  <a:lnTo>
                    <a:pt x="7020" y="13388"/>
                  </a:lnTo>
                  <a:lnTo>
                    <a:pt x="7009" y="13357"/>
                  </a:lnTo>
                  <a:lnTo>
                    <a:pt x="6997" y="13327"/>
                  </a:lnTo>
                  <a:lnTo>
                    <a:pt x="6984" y="13297"/>
                  </a:lnTo>
                  <a:lnTo>
                    <a:pt x="6970" y="13268"/>
                  </a:lnTo>
                  <a:lnTo>
                    <a:pt x="6955" y="13239"/>
                  </a:lnTo>
                  <a:lnTo>
                    <a:pt x="6940" y="13211"/>
                  </a:lnTo>
                  <a:lnTo>
                    <a:pt x="6923" y="13183"/>
                  </a:lnTo>
                  <a:lnTo>
                    <a:pt x="6906" y="13156"/>
                  </a:lnTo>
                  <a:lnTo>
                    <a:pt x="6887" y="13129"/>
                  </a:lnTo>
                  <a:lnTo>
                    <a:pt x="6868" y="13103"/>
                  </a:lnTo>
                  <a:lnTo>
                    <a:pt x="6847" y="13078"/>
                  </a:lnTo>
                  <a:lnTo>
                    <a:pt x="6827" y="13054"/>
                  </a:lnTo>
                  <a:lnTo>
                    <a:pt x="6805" y="13030"/>
                  </a:lnTo>
                  <a:lnTo>
                    <a:pt x="6783" y="13007"/>
                  </a:lnTo>
                  <a:lnTo>
                    <a:pt x="6760" y="12984"/>
                  </a:lnTo>
                  <a:lnTo>
                    <a:pt x="6736" y="12962"/>
                  </a:lnTo>
                  <a:lnTo>
                    <a:pt x="6712" y="12941"/>
                  </a:lnTo>
                  <a:lnTo>
                    <a:pt x="6686" y="12920"/>
                  </a:lnTo>
                  <a:lnTo>
                    <a:pt x="6660" y="12901"/>
                  </a:lnTo>
                  <a:lnTo>
                    <a:pt x="6634" y="12882"/>
                  </a:lnTo>
                  <a:lnTo>
                    <a:pt x="6607" y="12864"/>
                  </a:lnTo>
                  <a:lnTo>
                    <a:pt x="6579" y="12848"/>
                  </a:lnTo>
                  <a:lnTo>
                    <a:pt x="6551" y="12832"/>
                  </a:lnTo>
                  <a:lnTo>
                    <a:pt x="6521" y="12816"/>
                  </a:lnTo>
                  <a:lnTo>
                    <a:pt x="6491" y="12802"/>
                  </a:lnTo>
                  <a:lnTo>
                    <a:pt x="6461" y="12789"/>
                  </a:lnTo>
                  <a:lnTo>
                    <a:pt x="6431" y="12777"/>
                  </a:lnTo>
                  <a:lnTo>
                    <a:pt x="6400" y="12765"/>
                  </a:lnTo>
                  <a:lnTo>
                    <a:pt x="6330" y="12740"/>
                  </a:lnTo>
                  <a:lnTo>
                    <a:pt x="6261" y="12715"/>
                  </a:lnTo>
                  <a:lnTo>
                    <a:pt x="6193" y="12688"/>
                  </a:lnTo>
                  <a:lnTo>
                    <a:pt x="6125" y="12661"/>
                  </a:lnTo>
                  <a:lnTo>
                    <a:pt x="6058" y="12632"/>
                  </a:lnTo>
                  <a:lnTo>
                    <a:pt x="5990" y="12602"/>
                  </a:lnTo>
                  <a:lnTo>
                    <a:pt x="5924" y="12572"/>
                  </a:lnTo>
                  <a:lnTo>
                    <a:pt x="5859" y="12541"/>
                  </a:lnTo>
                  <a:lnTo>
                    <a:pt x="5832" y="12529"/>
                  </a:lnTo>
                  <a:lnTo>
                    <a:pt x="5806" y="12517"/>
                  </a:lnTo>
                  <a:lnTo>
                    <a:pt x="5779" y="12507"/>
                  </a:lnTo>
                  <a:lnTo>
                    <a:pt x="5752" y="12497"/>
                  </a:lnTo>
                  <a:lnTo>
                    <a:pt x="5725" y="12488"/>
                  </a:lnTo>
                  <a:lnTo>
                    <a:pt x="5698" y="12479"/>
                  </a:lnTo>
                  <a:lnTo>
                    <a:pt x="5670" y="12472"/>
                  </a:lnTo>
                  <a:lnTo>
                    <a:pt x="5643" y="12465"/>
                  </a:lnTo>
                  <a:lnTo>
                    <a:pt x="5615" y="12459"/>
                  </a:lnTo>
                  <a:lnTo>
                    <a:pt x="5588" y="12454"/>
                  </a:lnTo>
                  <a:lnTo>
                    <a:pt x="5560" y="12450"/>
                  </a:lnTo>
                  <a:lnTo>
                    <a:pt x="5533" y="12446"/>
                  </a:lnTo>
                  <a:lnTo>
                    <a:pt x="5504" y="12444"/>
                  </a:lnTo>
                  <a:lnTo>
                    <a:pt x="5476" y="12442"/>
                  </a:lnTo>
                  <a:lnTo>
                    <a:pt x="5448" y="12441"/>
                  </a:lnTo>
                  <a:lnTo>
                    <a:pt x="5420" y="12440"/>
                  </a:lnTo>
                  <a:lnTo>
                    <a:pt x="5384" y="12441"/>
                  </a:lnTo>
                  <a:lnTo>
                    <a:pt x="5347" y="12443"/>
                  </a:lnTo>
                  <a:lnTo>
                    <a:pt x="5310" y="12446"/>
                  </a:lnTo>
                  <a:lnTo>
                    <a:pt x="5274" y="12451"/>
                  </a:lnTo>
                  <a:lnTo>
                    <a:pt x="5238" y="12457"/>
                  </a:lnTo>
                  <a:lnTo>
                    <a:pt x="5202" y="12464"/>
                  </a:lnTo>
                  <a:lnTo>
                    <a:pt x="5166" y="12473"/>
                  </a:lnTo>
                  <a:lnTo>
                    <a:pt x="5130" y="12483"/>
                  </a:lnTo>
                  <a:lnTo>
                    <a:pt x="5096" y="12494"/>
                  </a:lnTo>
                  <a:lnTo>
                    <a:pt x="5061" y="12506"/>
                  </a:lnTo>
                  <a:lnTo>
                    <a:pt x="5027" y="12520"/>
                  </a:lnTo>
                  <a:lnTo>
                    <a:pt x="4992" y="12535"/>
                  </a:lnTo>
                  <a:lnTo>
                    <a:pt x="4959" y="12551"/>
                  </a:lnTo>
                  <a:lnTo>
                    <a:pt x="4926" y="12569"/>
                  </a:lnTo>
                  <a:lnTo>
                    <a:pt x="4894" y="12588"/>
                  </a:lnTo>
                  <a:lnTo>
                    <a:pt x="4862" y="12608"/>
                  </a:lnTo>
                  <a:lnTo>
                    <a:pt x="3552" y="13480"/>
                  </a:lnTo>
                  <a:lnTo>
                    <a:pt x="2584" y="12514"/>
                  </a:lnTo>
                  <a:lnTo>
                    <a:pt x="3457" y="11207"/>
                  </a:lnTo>
                  <a:lnTo>
                    <a:pt x="3476" y="11180"/>
                  </a:lnTo>
                  <a:lnTo>
                    <a:pt x="3493" y="11151"/>
                  </a:lnTo>
                  <a:lnTo>
                    <a:pt x="3509" y="11123"/>
                  </a:lnTo>
                  <a:lnTo>
                    <a:pt x="3524" y="11093"/>
                  </a:lnTo>
                  <a:lnTo>
                    <a:pt x="3537" y="11064"/>
                  </a:lnTo>
                  <a:lnTo>
                    <a:pt x="3550" y="11034"/>
                  </a:lnTo>
                  <a:lnTo>
                    <a:pt x="3562" y="11003"/>
                  </a:lnTo>
                  <a:lnTo>
                    <a:pt x="3573" y="10972"/>
                  </a:lnTo>
                  <a:lnTo>
                    <a:pt x="3583" y="10942"/>
                  </a:lnTo>
                  <a:lnTo>
                    <a:pt x="3592" y="10911"/>
                  </a:lnTo>
                  <a:lnTo>
                    <a:pt x="3600" y="10879"/>
                  </a:lnTo>
                  <a:lnTo>
                    <a:pt x="3606" y="10848"/>
                  </a:lnTo>
                  <a:lnTo>
                    <a:pt x="3612" y="10816"/>
                  </a:lnTo>
                  <a:lnTo>
                    <a:pt x="3617" y="10784"/>
                  </a:lnTo>
                  <a:lnTo>
                    <a:pt x="3621" y="10753"/>
                  </a:lnTo>
                  <a:lnTo>
                    <a:pt x="3624" y="10720"/>
                  </a:lnTo>
                  <a:lnTo>
                    <a:pt x="3625" y="10688"/>
                  </a:lnTo>
                  <a:lnTo>
                    <a:pt x="3626" y="10655"/>
                  </a:lnTo>
                  <a:lnTo>
                    <a:pt x="3626" y="10623"/>
                  </a:lnTo>
                  <a:lnTo>
                    <a:pt x="3624" y="10591"/>
                  </a:lnTo>
                  <a:lnTo>
                    <a:pt x="3622" y="10559"/>
                  </a:lnTo>
                  <a:lnTo>
                    <a:pt x="3618" y="10527"/>
                  </a:lnTo>
                  <a:lnTo>
                    <a:pt x="3614" y="10495"/>
                  </a:lnTo>
                  <a:lnTo>
                    <a:pt x="3608" y="10462"/>
                  </a:lnTo>
                  <a:lnTo>
                    <a:pt x="3602" y="10431"/>
                  </a:lnTo>
                  <a:lnTo>
                    <a:pt x="3594" y="10399"/>
                  </a:lnTo>
                  <a:lnTo>
                    <a:pt x="3585" y="10368"/>
                  </a:lnTo>
                  <a:lnTo>
                    <a:pt x="3576" y="10337"/>
                  </a:lnTo>
                  <a:lnTo>
                    <a:pt x="3565" y="10306"/>
                  </a:lnTo>
                  <a:lnTo>
                    <a:pt x="3553" y="10275"/>
                  </a:lnTo>
                  <a:lnTo>
                    <a:pt x="3540" y="10245"/>
                  </a:lnTo>
                  <a:lnTo>
                    <a:pt x="3526" y="10215"/>
                  </a:lnTo>
                  <a:lnTo>
                    <a:pt x="3495" y="10148"/>
                  </a:lnTo>
                  <a:lnTo>
                    <a:pt x="3464" y="10082"/>
                  </a:lnTo>
                  <a:lnTo>
                    <a:pt x="3435" y="10016"/>
                  </a:lnTo>
                  <a:lnTo>
                    <a:pt x="3406" y="9949"/>
                  </a:lnTo>
                  <a:lnTo>
                    <a:pt x="3378" y="9881"/>
                  </a:lnTo>
                  <a:lnTo>
                    <a:pt x="3352" y="9813"/>
                  </a:lnTo>
                  <a:lnTo>
                    <a:pt x="3326" y="9744"/>
                  </a:lnTo>
                  <a:lnTo>
                    <a:pt x="3300" y="9675"/>
                  </a:lnTo>
                  <a:lnTo>
                    <a:pt x="3289" y="9643"/>
                  </a:lnTo>
                  <a:lnTo>
                    <a:pt x="3277" y="9612"/>
                  </a:lnTo>
                  <a:lnTo>
                    <a:pt x="3263" y="9582"/>
                  </a:lnTo>
                  <a:lnTo>
                    <a:pt x="3249" y="9553"/>
                  </a:lnTo>
                  <a:lnTo>
                    <a:pt x="3234" y="9524"/>
                  </a:lnTo>
                  <a:lnTo>
                    <a:pt x="3218" y="9496"/>
                  </a:lnTo>
                  <a:lnTo>
                    <a:pt x="3201" y="9468"/>
                  </a:lnTo>
                  <a:lnTo>
                    <a:pt x="3183" y="9441"/>
                  </a:lnTo>
                  <a:lnTo>
                    <a:pt x="3165" y="9414"/>
                  </a:lnTo>
                  <a:lnTo>
                    <a:pt x="3145" y="9388"/>
                  </a:lnTo>
                  <a:lnTo>
                    <a:pt x="3124" y="9362"/>
                  </a:lnTo>
                  <a:lnTo>
                    <a:pt x="3103" y="9338"/>
                  </a:lnTo>
                  <a:lnTo>
                    <a:pt x="3081" y="9314"/>
                  </a:lnTo>
                  <a:lnTo>
                    <a:pt x="3059" y="9291"/>
                  </a:lnTo>
                  <a:lnTo>
                    <a:pt x="3036" y="9269"/>
                  </a:lnTo>
                  <a:lnTo>
                    <a:pt x="3012" y="9248"/>
                  </a:lnTo>
                  <a:lnTo>
                    <a:pt x="2987" y="9227"/>
                  </a:lnTo>
                  <a:lnTo>
                    <a:pt x="2961" y="9207"/>
                  </a:lnTo>
                  <a:lnTo>
                    <a:pt x="2935" y="9188"/>
                  </a:lnTo>
                  <a:lnTo>
                    <a:pt x="2909" y="9170"/>
                  </a:lnTo>
                  <a:lnTo>
                    <a:pt x="2882" y="9152"/>
                  </a:lnTo>
                  <a:lnTo>
                    <a:pt x="2854" y="9136"/>
                  </a:lnTo>
                  <a:lnTo>
                    <a:pt x="2826" y="9120"/>
                  </a:lnTo>
                  <a:lnTo>
                    <a:pt x="2797" y="9104"/>
                  </a:lnTo>
                  <a:lnTo>
                    <a:pt x="2767" y="9090"/>
                  </a:lnTo>
                  <a:lnTo>
                    <a:pt x="2737" y="9077"/>
                  </a:lnTo>
                  <a:lnTo>
                    <a:pt x="2707" y="9065"/>
                  </a:lnTo>
                  <a:lnTo>
                    <a:pt x="2676" y="9054"/>
                  </a:lnTo>
                  <a:lnTo>
                    <a:pt x="2645" y="9044"/>
                  </a:lnTo>
                  <a:lnTo>
                    <a:pt x="2613" y="9035"/>
                  </a:lnTo>
                  <a:lnTo>
                    <a:pt x="2581" y="9027"/>
                  </a:lnTo>
                  <a:lnTo>
                    <a:pt x="2548" y="9020"/>
                  </a:lnTo>
                  <a:lnTo>
                    <a:pt x="1006" y="8712"/>
                  </a:lnTo>
                  <a:lnTo>
                    <a:pt x="1006" y="7347"/>
                  </a:lnTo>
                  <a:lnTo>
                    <a:pt x="2548" y="7039"/>
                  </a:lnTo>
                  <a:lnTo>
                    <a:pt x="2581" y="7032"/>
                  </a:lnTo>
                  <a:lnTo>
                    <a:pt x="2613" y="7024"/>
                  </a:lnTo>
                  <a:lnTo>
                    <a:pt x="2645" y="7015"/>
                  </a:lnTo>
                  <a:lnTo>
                    <a:pt x="2676" y="7005"/>
                  </a:lnTo>
                  <a:lnTo>
                    <a:pt x="2707" y="6994"/>
                  </a:lnTo>
                  <a:lnTo>
                    <a:pt x="2737" y="6982"/>
                  </a:lnTo>
                  <a:lnTo>
                    <a:pt x="2767" y="6969"/>
                  </a:lnTo>
                  <a:lnTo>
                    <a:pt x="2797" y="6955"/>
                  </a:lnTo>
                  <a:lnTo>
                    <a:pt x="2826" y="6939"/>
                  </a:lnTo>
                  <a:lnTo>
                    <a:pt x="2854" y="6923"/>
                  </a:lnTo>
                  <a:lnTo>
                    <a:pt x="2882" y="6907"/>
                  </a:lnTo>
                  <a:lnTo>
                    <a:pt x="2909" y="6889"/>
                  </a:lnTo>
                  <a:lnTo>
                    <a:pt x="2935" y="6871"/>
                  </a:lnTo>
                  <a:lnTo>
                    <a:pt x="2961" y="6852"/>
                  </a:lnTo>
                  <a:lnTo>
                    <a:pt x="2987" y="6832"/>
                  </a:lnTo>
                  <a:lnTo>
                    <a:pt x="3012" y="6812"/>
                  </a:lnTo>
                  <a:lnTo>
                    <a:pt x="3036" y="6790"/>
                  </a:lnTo>
                  <a:lnTo>
                    <a:pt x="3059" y="6768"/>
                  </a:lnTo>
                  <a:lnTo>
                    <a:pt x="3081" y="6745"/>
                  </a:lnTo>
                  <a:lnTo>
                    <a:pt x="3103" y="6721"/>
                  </a:lnTo>
                  <a:lnTo>
                    <a:pt x="3124" y="6697"/>
                  </a:lnTo>
                  <a:lnTo>
                    <a:pt x="3145" y="6672"/>
                  </a:lnTo>
                  <a:lnTo>
                    <a:pt x="3165" y="6645"/>
                  </a:lnTo>
                  <a:lnTo>
                    <a:pt x="3183" y="6618"/>
                  </a:lnTo>
                  <a:lnTo>
                    <a:pt x="3201" y="6591"/>
                  </a:lnTo>
                  <a:lnTo>
                    <a:pt x="3218" y="6564"/>
                  </a:lnTo>
                  <a:lnTo>
                    <a:pt x="3234" y="6535"/>
                  </a:lnTo>
                  <a:lnTo>
                    <a:pt x="3249" y="6506"/>
                  </a:lnTo>
                  <a:lnTo>
                    <a:pt x="3263" y="6477"/>
                  </a:lnTo>
                  <a:lnTo>
                    <a:pt x="3277" y="6447"/>
                  </a:lnTo>
                  <a:lnTo>
                    <a:pt x="3289" y="6416"/>
                  </a:lnTo>
                  <a:lnTo>
                    <a:pt x="3300" y="6384"/>
                  </a:lnTo>
                  <a:lnTo>
                    <a:pt x="3326" y="6315"/>
                  </a:lnTo>
                  <a:lnTo>
                    <a:pt x="3351" y="6247"/>
                  </a:lnTo>
                  <a:lnTo>
                    <a:pt x="3378" y="6179"/>
                  </a:lnTo>
                  <a:lnTo>
                    <a:pt x="3406" y="6110"/>
                  </a:lnTo>
                  <a:lnTo>
                    <a:pt x="3434" y="6043"/>
                  </a:lnTo>
                  <a:lnTo>
                    <a:pt x="3463" y="5977"/>
                  </a:lnTo>
                  <a:lnTo>
                    <a:pt x="3495" y="5911"/>
                  </a:lnTo>
                  <a:lnTo>
                    <a:pt x="3526" y="5845"/>
                  </a:lnTo>
                  <a:lnTo>
                    <a:pt x="3540" y="5815"/>
                  </a:lnTo>
                  <a:lnTo>
                    <a:pt x="3553" y="5784"/>
                  </a:lnTo>
                  <a:lnTo>
                    <a:pt x="3565" y="5754"/>
                  </a:lnTo>
                  <a:lnTo>
                    <a:pt x="3575" y="5723"/>
                  </a:lnTo>
                  <a:lnTo>
                    <a:pt x="3585" y="5692"/>
                  </a:lnTo>
                  <a:lnTo>
                    <a:pt x="3594" y="5660"/>
                  </a:lnTo>
                  <a:lnTo>
                    <a:pt x="3602" y="5629"/>
                  </a:lnTo>
                  <a:lnTo>
                    <a:pt x="3608" y="5597"/>
                  </a:lnTo>
                  <a:lnTo>
                    <a:pt x="3614" y="5564"/>
                  </a:lnTo>
                  <a:lnTo>
                    <a:pt x="3618" y="5532"/>
                  </a:lnTo>
                  <a:lnTo>
                    <a:pt x="3622" y="5500"/>
                  </a:lnTo>
                  <a:lnTo>
                    <a:pt x="3624" y="5468"/>
                  </a:lnTo>
                  <a:lnTo>
                    <a:pt x="3626" y="5436"/>
                  </a:lnTo>
                  <a:lnTo>
                    <a:pt x="3626" y="5403"/>
                  </a:lnTo>
                  <a:lnTo>
                    <a:pt x="3625" y="5371"/>
                  </a:lnTo>
                  <a:lnTo>
                    <a:pt x="3624" y="5339"/>
                  </a:lnTo>
                  <a:lnTo>
                    <a:pt x="3621" y="5306"/>
                  </a:lnTo>
                  <a:lnTo>
                    <a:pt x="3617" y="5274"/>
                  </a:lnTo>
                  <a:lnTo>
                    <a:pt x="3613" y="5243"/>
                  </a:lnTo>
                  <a:lnTo>
                    <a:pt x="3607" y="5211"/>
                  </a:lnTo>
                  <a:lnTo>
                    <a:pt x="3600" y="5179"/>
                  </a:lnTo>
                  <a:lnTo>
                    <a:pt x="3592" y="5148"/>
                  </a:lnTo>
                  <a:lnTo>
                    <a:pt x="3583" y="5117"/>
                  </a:lnTo>
                  <a:lnTo>
                    <a:pt x="3573" y="5086"/>
                  </a:lnTo>
                  <a:lnTo>
                    <a:pt x="3562" y="5056"/>
                  </a:lnTo>
                  <a:lnTo>
                    <a:pt x="3551" y="5024"/>
                  </a:lnTo>
                  <a:lnTo>
                    <a:pt x="3538" y="4995"/>
                  </a:lnTo>
                  <a:lnTo>
                    <a:pt x="3524" y="4965"/>
                  </a:lnTo>
                  <a:lnTo>
                    <a:pt x="3509" y="4936"/>
                  </a:lnTo>
                  <a:lnTo>
                    <a:pt x="3493" y="4907"/>
                  </a:lnTo>
                  <a:lnTo>
                    <a:pt x="3476" y="4879"/>
                  </a:lnTo>
                  <a:lnTo>
                    <a:pt x="3457" y="4851"/>
                  </a:lnTo>
                  <a:lnTo>
                    <a:pt x="2584" y="3544"/>
                  </a:lnTo>
                  <a:lnTo>
                    <a:pt x="3552" y="2578"/>
                  </a:lnTo>
                  <a:lnTo>
                    <a:pt x="4862" y="3450"/>
                  </a:lnTo>
                  <a:lnTo>
                    <a:pt x="4894" y="3470"/>
                  </a:lnTo>
                  <a:lnTo>
                    <a:pt x="4926" y="3489"/>
                  </a:lnTo>
                  <a:lnTo>
                    <a:pt x="4959" y="3507"/>
                  </a:lnTo>
                  <a:lnTo>
                    <a:pt x="4992" y="3523"/>
                  </a:lnTo>
                  <a:lnTo>
                    <a:pt x="5027" y="3538"/>
                  </a:lnTo>
                  <a:lnTo>
                    <a:pt x="5061" y="3552"/>
                  </a:lnTo>
                  <a:lnTo>
                    <a:pt x="5096" y="3564"/>
                  </a:lnTo>
                  <a:lnTo>
                    <a:pt x="5130" y="3576"/>
                  </a:lnTo>
                  <a:lnTo>
                    <a:pt x="5166" y="3586"/>
                  </a:lnTo>
                  <a:lnTo>
                    <a:pt x="5202" y="3594"/>
                  </a:lnTo>
                  <a:lnTo>
                    <a:pt x="5238" y="3601"/>
                  </a:lnTo>
                  <a:lnTo>
                    <a:pt x="5274" y="3607"/>
                  </a:lnTo>
                  <a:lnTo>
                    <a:pt x="5310" y="3612"/>
                  </a:lnTo>
                  <a:lnTo>
                    <a:pt x="5347" y="3615"/>
                  </a:lnTo>
                  <a:lnTo>
                    <a:pt x="5384" y="3617"/>
                  </a:lnTo>
                  <a:lnTo>
                    <a:pt x="5420" y="3618"/>
                  </a:lnTo>
                  <a:lnTo>
                    <a:pt x="5448" y="3617"/>
                  </a:lnTo>
                  <a:lnTo>
                    <a:pt x="5476" y="3616"/>
                  </a:lnTo>
                  <a:lnTo>
                    <a:pt x="5504" y="3614"/>
                  </a:lnTo>
                  <a:lnTo>
                    <a:pt x="5532" y="3612"/>
                  </a:lnTo>
                  <a:lnTo>
                    <a:pt x="5560" y="3608"/>
                  </a:lnTo>
                  <a:lnTo>
                    <a:pt x="5588" y="3604"/>
                  </a:lnTo>
                  <a:lnTo>
                    <a:pt x="5615" y="3599"/>
                  </a:lnTo>
                  <a:lnTo>
                    <a:pt x="5643" y="3593"/>
                  </a:lnTo>
                  <a:lnTo>
                    <a:pt x="5670" y="3586"/>
                  </a:lnTo>
                  <a:lnTo>
                    <a:pt x="5698" y="3579"/>
                  </a:lnTo>
                  <a:lnTo>
                    <a:pt x="5725" y="3571"/>
                  </a:lnTo>
                  <a:lnTo>
                    <a:pt x="5752" y="3562"/>
                  </a:lnTo>
                  <a:lnTo>
                    <a:pt x="5779" y="3552"/>
                  </a:lnTo>
                  <a:lnTo>
                    <a:pt x="5805" y="3542"/>
                  </a:lnTo>
                  <a:lnTo>
                    <a:pt x="5832" y="3531"/>
                  </a:lnTo>
                  <a:lnTo>
                    <a:pt x="5859" y="3518"/>
                  </a:lnTo>
                  <a:lnTo>
                    <a:pt x="5924" y="3487"/>
                  </a:lnTo>
                  <a:lnTo>
                    <a:pt x="5990" y="3457"/>
                  </a:lnTo>
                  <a:lnTo>
                    <a:pt x="6057" y="3428"/>
                  </a:lnTo>
                  <a:lnTo>
                    <a:pt x="6124" y="3398"/>
                  </a:lnTo>
                  <a:lnTo>
                    <a:pt x="6192" y="3370"/>
                  </a:lnTo>
                  <a:lnTo>
                    <a:pt x="6260" y="3344"/>
                  </a:lnTo>
                  <a:lnTo>
                    <a:pt x="6329" y="3318"/>
                  </a:lnTo>
                  <a:lnTo>
                    <a:pt x="6399" y="3293"/>
                  </a:lnTo>
                  <a:lnTo>
                    <a:pt x="6430" y="3282"/>
                  </a:lnTo>
                  <a:lnTo>
                    <a:pt x="6461" y="3270"/>
                  </a:lnTo>
                  <a:lnTo>
                    <a:pt x="6491" y="3256"/>
                  </a:lnTo>
                  <a:lnTo>
                    <a:pt x="6520" y="3242"/>
                  </a:lnTo>
                  <a:lnTo>
                    <a:pt x="6550" y="3227"/>
                  </a:lnTo>
                  <a:lnTo>
                    <a:pt x="6578" y="3211"/>
                  </a:lnTo>
                  <a:lnTo>
                    <a:pt x="6606" y="3194"/>
                  </a:lnTo>
                  <a:lnTo>
                    <a:pt x="6633" y="3176"/>
                  </a:lnTo>
                  <a:lnTo>
                    <a:pt x="6660" y="3158"/>
                  </a:lnTo>
                  <a:lnTo>
                    <a:pt x="6686" y="3138"/>
                  </a:lnTo>
                  <a:lnTo>
                    <a:pt x="6712" y="3117"/>
                  </a:lnTo>
                  <a:lnTo>
                    <a:pt x="6736" y="3096"/>
                  </a:lnTo>
                  <a:lnTo>
                    <a:pt x="6760" y="3074"/>
                  </a:lnTo>
                  <a:lnTo>
                    <a:pt x="6783" y="3052"/>
                  </a:lnTo>
                  <a:lnTo>
                    <a:pt x="6805" y="3029"/>
                  </a:lnTo>
                  <a:lnTo>
                    <a:pt x="6827" y="3005"/>
                  </a:lnTo>
                  <a:lnTo>
                    <a:pt x="6847" y="2980"/>
                  </a:lnTo>
                  <a:lnTo>
                    <a:pt x="6868" y="2955"/>
                  </a:lnTo>
                  <a:lnTo>
                    <a:pt x="6887" y="2929"/>
                  </a:lnTo>
                  <a:lnTo>
                    <a:pt x="6906" y="2903"/>
                  </a:lnTo>
                  <a:lnTo>
                    <a:pt x="6923" y="2876"/>
                  </a:lnTo>
                  <a:lnTo>
                    <a:pt x="6940" y="2847"/>
                  </a:lnTo>
                  <a:lnTo>
                    <a:pt x="6955" y="2819"/>
                  </a:lnTo>
                  <a:lnTo>
                    <a:pt x="6970" y="2790"/>
                  </a:lnTo>
                  <a:lnTo>
                    <a:pt x="6984" y="2761"/>
                  </a:lnTo>
                  <a:lnTo>
                    <a:pt x="6997" y="2731"/>
                  </a:lnTo>
                  <a:lnTo>
                    <a:pt x="7009" y="2701"/>
                  </a:lnTo>
                  <a:lnTo>
                    <a:pt x="7020" y="2670"/>
                  </a:lnTo>
                  <a:lnTo>
                    <a:pt x="7030" y="2639"/>
                  </a:lnTo>
                  <a:lnTo>
                    <a:pt x="7040" y="2608"/>
                  </a:lnTo>
                  <a:lnTo>
                    <a:pt x="7048" y="2575"/>
                  </a:lnTo>
                  <a:lnTo>
                    <a:pt x="7055" y="2542"/>
                  </a:lnTo>
                  <a:lnTo>
                    <a:pt x="7363" y="1004"/>
                  </a:lnTo>
                  <a:lnTo>
                    <a:pt x="8732" y="1004"/>
                  </a:lnTo>
                  <a:lnTo>
                    <a:pt x="9040" y="2542"/>
                  </a:lnTo>
                  <a:lnTo>
                    <a:pt x="9047" y="2575"/>
                  </a:lnTo>
                  <a:lnTo>
                    <a:pt x="9055" y="2608"/>
                  </a:lnTo>
                  <a:lnTo>
                    <a:pt x="9065" y="2639"/>
                  </a:lnTo>
                  <a:lnTo>
                    <a:pt x="9075" y="2670"/>
                  </a:lnTo>
                  <a:lnTo>
                    <a:pt x="9086" y="2701"/>
                  </a:lnTo>
                  <a:lnTo>
                    <a:pt x="9098" y="2731"/>
                  </a:lnTo>
                  <a:lnTo>
                    <a:pt x="9111" y="2761"/>
                  </a:lnTo>
                  <a:lnTo>
                    <a:pt x="9125" y="2790"/>
                  </a:lnTo>
                  <a:lnTo>
                    <a:pt x="9140" y="2819"/>
                  </a:lnTo>
                  <a:lnTo>
                    <a:pt x="9155" y="2847"/>
                  </a:lnTo>
                  <a:lnTo>
                    <a:pt x="9172" y="2876"/>
                  </a:lnTo>
                  <a:lnTo>
                    <a:pt x="9189" y="2903"/>
                  </a:lnTo>
                  <a:lnTo>
                    <a:pt x="9208" y="2929"/>
                  </a:lnTo>
                  <a:lnTo>
                    <a:pt x="9227" y="2955"/>
                  </a:lnTo>
                  <a:lnTo>
                    <a:pt x="9248" y="2980"/>
                  </a:lnTo>
                  <a:lnTo>
                    <a:pt x="9268" y="3005"/>
                  </a:lnTo>
                  <a:lnTo>
                    <a:pt x="9290" y="3029"/>
                  </a:lnTo>
                  <a:lnTo>
                    <a:pt x="9312" y="3052"/>
                  </a:lnTo>
                  <a:lnTo>
                    <a:pt x="9335" y="3074"/>
                  </a:lnTo>
                  <a:lnTo>
                    <a:pt x="9359" y="3096"/>
                  </a:lnTo>
                  <a:lnTo>
                    <a:pt x="9383" y="3117"/>
                  </a:lnTo>
                  <a:lnTo>
                    <a:pt x="9409" y="3138"/>
                  </a:lnTo>
                  <a:lnTo>
                    <a:pt x="9435" y="3158"/>
                  </a:lnTo>
                  <a:lnTo>
                    <a:pt x="9462" y="3176"/>
                  </a:lnTo>
                  <a:lnTo>
                    <a:pt x="9489" y="3194"/>
                  </a:lnTo>
                  <a:lnTo>
                    <a:pt x="9517" y="3211"/>
                  </a:lnTo>
                  <a:lnTo>
                    <a:pt x="9545" y="3227"/>
                  </a:lnTo>
                  <a:lnTo>
                    <a:pt x="9575" y="3242"/>
                  </a:lnTo>
                  <a:lnTo>
                    <a:pt x="9604" y="3256"/>
                  </a:lnTo>
                  <a:lnTo>
                    <a:pt x="9634" y="3270"/>
                  </a:lnTo>
                  <a:lnTo>
                    <a:pt x="9665" y="3282"/>
                  </a:lnTo>
                  <a:lnTo>
                    <a:pt x="9696" y="3293"/>
                  </a:lnTo>
                  <a:lnTo>
                    <a:pt x="9766" y="3318"/>
                  </a:lnTo>
                  <a:lnTo>
                    <a:pt x="9834" y="3344"/>
                  </a:lnTo>
                  <a:lnTo>
                    <a:pt x="9902" y="3370"/>
                  </a:lnTo>
                  <a:lnTo>
                    <a:pt x="9971" y="3398"/>
                  </a:lnTo>
                  <a:lnTo>
                    <a:pt x="10037" y="3427"/>
                  </a:lnTo>
                  <a:lnTo>
                    <a:pt x="10105" y="3456"/>
                  </a:lnTo>
                  <a:lnTo>
                    <a:pt x="10171" y="3487"/>
                  </a:lnTo>
                  <a:lnTo>
                    <a:pt x="10236" y="3518"/>
                  </a:lnTo>
                  <a:lnTo>
                    <a:pt x="10263" y="3530"/>
                  </a:lnTo>
                  <a:lnTo>
                    <a:pt x="10290" y="3541"/>
                  </a:lnTo>
                  <a:lnTo>
                    <a:pt x="10316" y="3552"/>
                  </a:lnTo>
                  <a:lnTo>
                    <a:pt x="10343" y="3562"/>
                  </a:lnTo>
                  <a:lnTo>
                    <a:pt x="10370" y="3571"/>
                  </a:lnTo>
                  <a:lnTo>
                    <a:pt x="10397" y="3579"/>
                  </a:lnTo>
                  <a:lnTo>
                    <a:pt x="10425" y="3586"/>
                  </a:lnTo>
                  <a:lnTo>
                    <a:pt x="10452" y="3593"/>
                  </a:lnTo>
                  <a:lnTo>
                    <a:pt x="10480" y="3599"/>
                  </a:lnTo>
                  <a:lnTo>
                    <a:pt x="10507" y="3604"/>
                  </a:lnTo>
                  <a:lnTo>
                    <a:pt x="10535" y="3608"/>
                  </a:lnTo>
                  <a:lnTo>
                    <a:pt x="10563" y="3612"/>
                  </a:lnTo>
                  <a:lnTo>
                    <a:pt x="10592" y="3614"/>
                  </a:lnTo>
                  <a:lnTo>
                    <a:pt x="10620" y="3616"/>
                  </a:lnTo>
                  <a:lnTo>
                    <a:pt x="10648" y="3617"/>
                  </a:lnTo>
                  <a:lnTo>
                    <a:pt x="10676" y="3618"/>
                  </a:lnTo>
                  <a:lnTo>
                    <a:pt x="10712" y="3617"/>
                  </a:lnTo>
                  <a:lnTo>
                    <a:pt x="10748" y="3615"/>
                  </a:lnTo>
                  <a:lnTo>
                    <a:pt x="10786" y="3612"/>
                  </a:lnTo>
                  <a:lnTo>
                    <a:pt x="10822" y="3607"/>
                  </a:lnTo>
                  <a:lnTo>
                    <a:pt x="10858" y="3601"/>
                  </a:lnTo>
                  <a:lnTo>
                    <a:pt x="10894" y="3594"/>
                  </a:lnTo>
                  <a:lnTo>
                    <a:pt x="10930" y="3586"/>
                  </a:lnTo>
                  <a:lnTo>
                    <a:pt x="10965" y="3576"/>
                  </a:lnTo>
                  <a:lnTo>
                    <a:pt x="11000" y="3564"/>
                  </a:lnTo>
                  <a:lnTo>
                    <a:pt x="11035" y="3552"/>
                  </a:lnTo>
                  <a:lnTo>
                    <a:pt x="11069" y="3538"/>
                  </a:lnTo>
                  <a:lnTo>
                    <a:pt x="11103" y="3523"/>
                  </a:lnTo>
                  <a:lnTo>
                    <a:pt x="11137" y="3507"/>
                  </a:lnTo>
                  <a:lnTo>
                    <a:pt x="11169" y="3489"/>
                  </a:lnTo>
                  <a:lnTo>
                    <a:pt x="11202" y="3470"/>
                  </a:lnTo>
                  <a:lnTo>
                    <a:pt x="11233" y="3450"/>
                  </a:lnTo>
                  <a:lnTo>
                    <a:pt x="12543" y="2578"/>
                  </a:lnTo>
                  <a:lnTo>
                    <a:pt x="13511" y="3544"/>
                  </a:lnTo>
                  <a:lnTo>
                    <a:pt x="12638" y="4851"/>
                  </a:lnTo>
                  <a:lnTo>
                    <a:pt x="12619" y="4879"/>
                  </a:lnTo>
                  <a:lnTo>
                    <a:pt x="12602" y="4907"/>
                  </a:lnTo>
                  <a:lnTo>
                    <a:pt x="12586" y="4936"/>
                  </a:lnTo>
                  <a:lnTo>
                    <a:pt x="12571" y="4965"/>
                  </a:lnTo>
                  <a:lnTo>
                    <a:pt x="12557" y="4995"/>
                  </a:lnTo>
                  <a:lnTo>
                    <a:pt x="12544" y="5024"/>
                  </a:lnTo>
                  <a:lnTo>
                    <a:pt x="12533" y="5056"/>
                  </a:lnTo>
                  <a:lnTo>
                    <a:pt x="12522" y="5086"/>
                  </a:lnTo>
                  <a:lnTo>
                    <a:pt x="12512" y="5117"/>
                  </a:lnTo>
                  <a:lnTo>
                    <a:pt x="12503" y="5148"/>
                  </a:lnTo>
                  <a:lnTo>
                    <a:pt x="12495" y="5179"/>
                  </a:lnTo>
                  <a:lnTo>
                    <a:pt x="12489" y="5211"/>
                  </a:lnTo>
                  <a:lnTo>
                    <a:pt x="12483" y="5242"/>
                  </a:lnTo>
                  <a:lnTo>
                    <a:pt x="12478" y="5274"/>
                  </a:lnTo>
                  <a:lnTo>
                    <a:pt x="12474" y="5306"/>
                  </a:lnTo>
                  <a:lnTo>
                    <a:pt x="12472" y="5339"/>
                  </a:lnTo>
                  <a:lnTo>
                    <a:pt x="12470" y="5371"/>
                  </a:lnTo>
                  <a:lnTo>
                    <a:pt x="12469" y="5403"/>
                  </a:lnTo>
                  <a:lnTo>
                    <a:pt x="12470" y="5435"/>
                  </a:lnTo>
                  <a:lnTo>
                    <a:pt x="12471" y="5467"/>
                  </a:lnTo>
                  <a:lnTo>
                    <a:pt x="12473" y="5500"/>
                  </a:lnTo>
                  <a:lnTo>
                    <a:pt x="12477" y="5532"/>
                  </a:lnTo>
                  <a:lnTo>
                    <a:pt x="12481" y="5563"/>
                  </a:lnTo>
                  <a:lnTo>
                    <a:pt x="12487" y="5596"/>
                  </a:lnTo>
                  <a:lnTo>
                    <a:pt x="12494" y="5628"/>
                  </a:lnTo>
                  <a:lnTo>
                    <a:pt x="12501" y="5660"/>
                  </a:lnTo>
                  <a:lnTo>
                    <a:pt x="12510" y="5691"/>
                  </a:lnTo>
                  <a:lnTo>
                    <a:pt x="12519" y="5722"/>
                  </a:lnTo>
                  <a:lnTo>
                    <a:pt x="12530" y="5753"/>
                  </a:lnTo>
                  <a:lnTo>
                    <a:pt x="12542" y="5784"/>
                  </a:lnTo>
                  <a:lnTo>
                    <a:pt x="12555" y="5814"/>
                  </a:lnTo>
                  <a:lnTo>
                    <a:pt x="12569" y="5844"/>
                  </a:lnTo>
                  <a:lnTo>
                    <a:pt x="12600" y="5910"/>
                  </a:lnTo>
                  <a:lnTo>
                    <a:pt x="12631" y="5976"/>
                  </a:lnTo>
                  <a:lnTo>
                    <a:pt x="12661" y="6043"/>
                  </a:lnTo>
                  <a:lnTo>
                    <a:pt x="12689" y="6110"/>
                  </a:lnTo>
                  <a:lnTo>
                    <a:pt x="12717" y="6178"/>
                  </a:lnTo>
                  <a:lnTo>
                    <a:pt x="12744" y="6246"/>
                  </a:lnTo>
                  <a:lnTo>
                    <a:pt x="12769" y="6315"/>
                  </a:lnTo>
                  <a:lnTo>
                    <a:pt x="12795" y="6384"/>
                  </a:lnTo>
                  <a:lnTo>
                    <a:pt x="12807" y="6416"/>
                  </a:lnTo>
                  <a:lnTo>
                    <a:pt x="12819" y="6446"/>
                  </a:lnTo>
                  <a:lnTo>
                    <a:pt x="12832" y="6476"/>
                  </a:lnTo>
                  <a:lnTo>
                    <a:pt x="12846" y="6506"/>
                  </a:lnTo>
                  <a:lnTo>
                    <a:pt x="12861" y="6535"/>
                  </a:lnTo>
                  <a:lnTo>
                    <a:pt x="12877" y="6563"/>
                  </a:lnTo>
                  <a:lnTo>
                    <a:pt x="12894" y="6591"/>
                  </a:lnTo>
                  <a:lnTo>
                    <a:pt x="12912" y="6618"/>
                  </a:lnTo>
                  <a:lnTo>
                    <a:pt x="12931" y="6644"/>
                  </a:lnTo>
                  <a:lnTo>
                    <a:pt x="12950" y="6671"/>
                  </a:lnTo>
                  <a:lnTo>
                    <a:pt x="12971" y="6696"/>
                  </a:lnTo>
                  <a:lnTo>
                    <a:pt x="12992" y="6721"/>
                  </a:lnTo>
                  <a:lnTo>
                    <a:pt x="13014" y="6744"/>
                  </a:lnTo>
                  <a:lnTo>
                    <a:pt x="13036" y="6767"/>
                  </a:lnTo>
                  <a:lnTo>
                    <a:pt x="13059" y="6790"/>
                  </a:lnTo>
                  <a:lnTo>
                    <a:pt x="13083" y="6811"/>
                  </a:lnTo>
                  <a:lnTo>
                    <a:pt x="13108" y="6832"/>
                  </a:lnTo>
                  <a:lnTo>
                    <a:pt x="13134" y="6852"/>
                  </a:lnTo>
                  <a:lnTo>
                    <a:pt x="13160" y="6871"/>
                  </a:lnTo>
                  <a:lnTo>
                    <a:pt x="13186" y="6889"/>
                  </a:lnTo>
                  <a:lnTo>
                    <a:pt x="13213" y="6907"/>
                  </a:lnTo>
                  <a:lnTo>
                    <a:pt x="13241" y="6923"/>
                  </a:lnTo>
                  <a:lnTo>
                    <a:pt x="13269" y="6939"/>
                  </a:lnTo>
                  <a:lnTo>
                    <a:pt x="13298" y="6955"/>
                  </a:lnTo>
                  <a:lnTo>
                    <a:pt x="13328" y="6968"/>
                  </a:lnTo>
                  <a:lnTo>
                    <a:pt x="13358" y="6981"/>
                  </a:lnTo>
                  <a:lnTo>
                    <a:pt x="13388" y="6993"/>
                  </a:lnTo>
                  <a:lnTo>
                    <a:pt x="13419" y="7004"/>
                  </a:lnTo>
                  <a:lnTo>
                    <a:pt x="13450" y="7014"/>
                  </a:lnTo>
                  <a:lnTo>
                    <a:pt x="13483" y="7024"/>
                  </a:lnTo>
                  <a:lnTo>
                    <a:pt x="13515" y="7032"/>
                  </a:lnTo>
                  <a:lnTo>
                    <a:pt x="13547" y="7039"/>
                  </a:lnTo>
                  <a:lnTo>
                    <a:pt x="15088" y="7347"/>
                  </a:lnTo>
                  <a:lnTo>
                    <a:pt x="15089" y="8712"/>
                  </a:lnTo>
                  <a:lnTo>
                    <a:pt x="13547" y="9020"/>
                  </a:lnTo>
                  <a:close/>
                  <a:moveTo>
                    <a:pt x="15286" y="6362"/>
                  </a:moveTo>
                  <a:lnTo>
                    <a:pt x="13745" y="6054"/>
                  </a:lnTo>
                  <a:lnTo>
                    <a:pt x="13715" y="5971"/>
                  </a:lnTo>
                  <a:lnTo>
                    <a:pt x="13684" y="5889"/>
                  </a:lnTo>
                  <a:lnTo>
                    <a:pt x="13652" y="5807"/>
                  </a:lnTo>
                  <a:lnTo>
                    <a:pt x="13618" y="5726"/>
                  </a:lnTo>
                  <a:lnTo>
                    <a:pt x="13584" y="5646"/>
                  </a:lnTo>
                  <a:lnTo>
                    <a:pt x="13548" y="5565"/>
                  </a:lnTo>
                  <a:lnTo>
                    <a:pt x="13512" y="5486"/>
                  </a:lnTo>
                  <a:lnTo>
                    <a:pt x="13475" y="5408"/>
                  </a:lnTo>
                  <a:lnTo>
                    <a:pt x="14348" y="4101"/>
                  </a:lnTo>
                  <a:lnTo>
                    <a:pt x="14372" y="4063"/>
                  </a:lnTo>
                  <a:lnTo>
                    <a:pt x="14394" y="4025"/>
                  </a:lnTo>
                  <a:lnTo>
                    <a:pt x="14414" y="3986"/>
                  </a:lnTo>
                  <a:lnTo>
                    <a:pt x="14433" y="3947"/>
                  </a:lnTo>
                  <a:lnTo>
                    <a:pt x="14449" y="3906"/>
                  </a:lnTo>
                  <a:lnTo>
                    <a:pt x="14464" y="3865"/>
                  </a:lnTo>
                  <a:lnTo>
                    <a:pt x="14476" y="3824"/>
                  </a:lnTo>
                  <a:lnTo>
                    <a:pt x="14489" y="3783"/>
                  </a:lnTo>
                  <a:lnTo>
                    <a:pt x="14498" y="3741"/>
                  </a:lnTo>
                  <a:lnTo>
                    <a:pt x="14505" y="3699"/>
                  </a:lnTo>
                  <a:lnTo>
                    <a:pt x="14511" y="3656"/>
                  </a:lnTo>
                  <a:lnTo>
                    <a:pt x="14515" y="3614"/>
                  </a:lnTo>
                  <a:lnTo>
                    <a:pt x="14517" y="3572"/>
                  </a:lnTo>
                  <a:lnTo>
                    <a:pt x="14517" y="3530"/>
                  </a:lnTo>
                  <a:lnTo>
                    <a:pt x="14515" y="3488"/>
                  </a:lnTo>
                  <a:lnTo>
                    <a:pt x="14512" y="3446"/>
                  </a:lnTo>
                  <a:lnTo>
                    <a:pt x="14507" y="3404"/>
                  </a:lnTo>
                  <a:lnTo>
                    <a:pt x="14500" y="3361"/>
                  </a:lnTo>
                  <a:lnTo>
                    <a:pt x="14492" y="3320"/>
                  </a:lnTo>
                  <a:lnTo>
                    <a:pt x="14480" y="3279"/>
                  </a:lnTo>
                  <a:lnTo>
                    <a:pt x="14468" y="3239"/>
                  </a:lnTo>
                  <a:lnTo>
                    <a:pt x="14455" y="3198"/>
                  </a:lnTo>
                  <a:lnTo>
                    <a:pt x="14439" y="3159"/>
                  </a:lnTo>
                  <a:lnTo>
                    <a:pt x="14422" y="3119"/>
                  </a:lnTo>
                  <a:lnTo>
                    <a:pt x="14403" y="3081"/>
                  </a:lnTo>
                  <a:lnTo>
                    <a:pt x="14382" y="3043"/>
                  </a:lnTo>
                  <a:lnTo>
                    <a:pt x="14360" y="3006"/>
                  </a:lnTo>
                  <a:lnTo>
                    <a:pt x="14336" y="2970"/>
                  </a:lnTo>
                  <a:lnTo>
                    <a:pt x="14309" y="2935"/>
                  </a:lnTo>
                  <a:lnTo>
                    <a:pt x="14282" y="2901"/>
                  </a:lnTo>
                  <a:lnTo>
                    <a:pt x="14253" y="2868"/>
                  </a:lnTo>
                  <a:lnTo>
                    <a:pt x="14222" y="2834"/>
                  </a:lnTo>
                  <a:lnTo>
                    <a:pt x="13254" y="1869"/>
                  </a:lnTo>
                  <a:lnTo>
                    <a:pt x="13236" y="1852"/>
                  </a:lnTo>
                  <a:lnTo>
                    <a:pt x="13217" y="1834"/>
                  </a:lnTo>
                  <a:lnTo>
                    <a:pt x="13198" y="1817"/>
                  </a:lnTo>
                  <a:lnTo>
                    <a:pt x="13179" y="1801"/>
                  </a:lnTo>
                  <a:lnTo>
                    <a:pt x="13159" y="1786"/>
                  </a:lnTo>
                  <a:lnTo>
                    <a:pt x="13139" y="1771"/>
                  </a:lnTo>
                  <a:lnTo>
                    <a:pt x="13118" y="1755"/>
                  </a:lnTo>
                  <a:lnTo>
                    <a:pt x="13097" y="1741"/>
                  </a:lnTo>
                  <a:lnTo>
                    <a:pt x="13076" y="1728"/>
                  </a:lnTo>
                  <a:lnTo>
                    <a:pt x="13055" y="1715"/>
                  </a:lnTo>
                  <a:lnTo>
                    <a:pt x="13034" y="1702"/>
                  </a:lnTo>
                  <a:lnTo>
                    <a:pt x="13012" y="1691"/>
                  </a:lnTo>
                  <a:lnTo>
                    <a:pt x="12990" y="1680"/>
                  </a:lnTo>
                  <a:lnTo>
                    <a:pt x="12968" y="1669"/>
                  </a:lnTo>
                  <a:lnTo>
                    <a:pt x="12945" y="1659"/>
                  </a:lnTo>
                  <a:lnTo>
                    <a:pt x="12923" y="1649"/>
                  </a:lnTo>
                  <a:lnTo>
                    <a:pt x="12900" y="1640"/>
                  </a:lnTo>
                  <a:lnTo>
                    <a:pt x="12877" y="1632"/>
                  </a:lnTo>
                  <a:lnTo>
                    <a:pt x="12854" y="1624"/>
                  </a:lnTo>
                  <a:lnTo>
                    <a:pt x="12831" y="1617"/>
                  </a:lnTo>
                  <a:lnTo>
                    <a:pt x="12808" y="1610"/>
                  </a:lnTo>
                  <a:lnTo>
                    <a:pt x="12783" y="1604"/>
                  </a:lnTo>
                  <a:lnTo>
                    <a:pt x="12759" y="1599"/>
                  </a:lnTo>
                  <a:lnTo>
                    <a:pt x="12736" y="1594"/>
                  </a:lnTo>
                  <a:lnTo>
                    <a:pt x="12712" y="1590"/>
                  </a:lnTo>
                  <a:lnTo>
                    <a:pt x="12688" y="1586"/>
                  </a:lnTo>
                  <a:lnTo>
                    <a:pt x="12664" y="1583"/>
                  </a:lnTo>
                  <a:lnTo>
                    <a:pt x="12640" y="1580"/>
                  </a:lnTo>
                  <a:lnTo>
                    <a:pt x="12615" y="1578"/>
                  </a:lnTo>
                  <a:lnTo>
                    <a:pt x="12591" y="1577"/>
                  </a:lnTo>
                  <a:lnTo>
                    <a:pt x="12566" y="1576"/>
                  </a:lnTo>
                  <a:lnTo>
                    <a:pt x="12542" y="1575"/>
                  </a:lnTo>
                  <a:lnTo>
                    <a:pt x="12506" y="1576"/>
                  </a:lnTo>
                  <a:lnTo>
                    <a:pt x="12470" y="1578"/>
                  </a:lnTo>
                  <a:lnTo>
                    <a:pt x="12433" y="1581"/>
                  </a:lnTo>
                  <a:lnTo>
                    <a:pt x="12398" y="1586"/>
                  </a:lnTo>
                  <a:lnTo>
                    <a:pt x="12362" y="1592"/>
                  </a:lnTo>
                  <a:lnTo>
                    <a:pt x="12326" y="1599"/>
                  </a:lnTo>
                  <a:lnTo>
                    <a:pt x="12291" y="1607"/>
                  </a:lnTo>
                  <a:lnTo>
                    <a:pt x="12255" y="1617"/>
                  </a:lnTo>
                  <a:lnTo>
                    <a:pt x="12220" y="1628"/>
                  </a:lnTo>
                  <a:lnTo>
                    <a:pt x="12185" y="1641"/>
                  </a:lnTo>
                  <a:lnTo>
                    <a:pt x="12151" y="1654"/>
                  </a:lnTo>
                  <a:lnTo>
                    <a:pt x="12117" y="1670"/>
                  </a:lnTo>
                  <a:lnTo>
                    <a:pt x="12083" y="1686"/>
                  </a:lnTo>
                  <a:lnTo>
                    <a:pt x="12050" y="1704"/>
                  </a:lnTo>
                  <a:lnTo>
                    <a:pt x="12018" y="1723"/>
                  </a:lnTo>
                  <a:lnTo>
                    <a:pt x="11986" y="1743"/>
                  </a:lnTo>
                  <a:lnTo>
                    <a:pt x="10676" y="2615"/>
                  </a:lnTo>
                  <a:lnTo>
                    <a:pt x="10597" y="2577"/>
                  </a:lnTo>
                  <a:lnTo>
                    <a:pt x="10517" y="2540"/>
                  </a:lnTo>
                  <a:lnTo>
                    <a:pt x="10437" y="2505"/>
                  </a:lnTo>
                  <a:lnTo>
                    <a:pt x="10356" y="2471"/>
                  </a:lnTo>
                  <a:lnTo>
                    <a:pt x="10275" y="2438"/>
                  </a:lnTo>
                  <a:lnTo>
                    <a:pt x="10192" y="2406"/>
                  </a:lnTo>
                  <a:lnTo>
                    <a:pt x="10110" y="2375"/>
                  </a:lnTo>
                  <a:lnTo>
                    <a:pt x="10026" y="2346"/>
                  </a:lnTo>
                  <a:lnTo>
                    <a:pt x="9718" y="808"/>
                  </a:lnTo>
                  <a:lnTo>
                    <a:pt x="9708" y="764"/>
                  </a:lnTo>
                  <a:lnTo>
                    <a:pt x="9697" y="721"/>
                  </a:lnTo>
                  <a:lnTo>
                    <a:pt x="9683" y="679"/>
                  </a:lnTo>
                  <a:lnTo>
                    <a:pt x="9668" y="638"/>
                  </a:lnTo>
                  <a:lnTo>
                    <a:pt x="9652" y="598"/>
                  </a:lnTo>
                  <a:lnTo>
                    <a:pt x="9633" y="559"/>
                  </a:lnTo>
                  <a:lnTo>
                    <a:pt x="9614" y="520"/>
                  </a:lnTo>
                  <a:lnTo>
                    <a:pt x="9592" y="483"/>
                  </a:lnTo>
                  <a:lnTo>
                    <a:pt x="9568" y="447"/>
                  </a:lnTo>
                  <a:lnTo>
                    <a:pt x="9544" y="413"/>
                  </a:lnTo>
                  <a:lnTo>
                    <a:pt x="9518" y="378"/>
                  </a:lnTo>
                  <a:lnTo>
                    <a:pt x="9491" y="345"/>
                  </a:lnTo>
                  <a:lnTo>
                    <a:pt x="9463" y="314"/>
                  </a:lnTo>
                  <a:lnTo>
                    <a:pt x="9433" y="284"/>
                  </a:lnTo>
                  <a:lnTo>
                    <a:pt x="9401" y="255"/>
                  </a:lnTo>
                  <a:lnTo>
                    <a:pt x="9369" y="228"/>
                  </a:lnTo>
                  <a:lnTo>
                    <a:pt x="9336" y="202"/>
                  </a:lnTo>
                  <a:lnTo>
                    <a:pt x="9302" y="177"/>
                  </a:lnTo>
                  <a:lnTo>
                    <a:pt x="9267" y="154"/>
                  </a:lnTo>
                  <a:lnTo>
                    <a:pt x="9229" y="131"/>
                  </a:lnTo>
                  <a:lnTo>
                    <a:pt x="9192" y="111"/>
                  </a:lnTo>
                  <a:lnTo>
                    <a:pt x="9154" y="92"/>
                  </a:lnTo>
                  <a:lnTo>
                    <a:pt x="9115" y="75"/>
                  </a:lnTo>
                  <a:lnTo>
                    <a:pt x="9075" y="60"/>
                  </a:lnTo>
                  <a:lnTo>
                    <a:pt x="9034" y="46"/>
                  </a:lnTo>
                  <a:lnTo>
                    <a:pt x="8993" y="34"/>
                  </a:lnTo>
                  <a:lnTo>
                    <a:pt x="8951" y="24"/>
                  </a:lnTo>
                  <a:lnTo>
                    <a:pt x="8908" y="15"/>
                  </a:lnTo>
                  <a:lnTo>
                    <a:pt x="8864" y="9"/>
                  </a:lnTo>
                  <a:lnTo>
                    <a:pt x="8821" y="4"/>
                  </a:lnTo>
                  <a:lnTo>
                    <a:pt x="8777" y="1"/>
                  </a:lnTo>
                  <a:lnTo>
                    <a:pt x="8732" y="0"/>
                  </a:lnTo>
                  <a:lnTo>
                    <a:pt x="7363" y="0"/>
                  </a:lnTo>
                  <a:lnTo>
                    <a:pt x="7318" y="1"/>
                  </a:lnTo>
                  <a:lnTo>
                    <a:pt x="7274" y="4"/>
                  </a:lnTo>
                  <a:lnTo>
                    <a:pt x="7231" y="9"/>
                  </a:lnTo>
                  <a:lnTo>
                    <a:pt x="7187" y="15"/>
                  </a:lnTo>
                  <a:lnTo>
                    <a:pt x="7144" y="24"/>
                  </a:lnTo>
                  <a:lnTo>
                    <a:pt x="7102" y="34"/>
                  </a:lnTo>
                  <a:lnTo>
                    <a:pt x="7061" y="46"/>
                  </a:lnTo>
                  <a:lnTo>
                    <a:pt x="7020" y="60"/>
                  </a:lnTo>
                  <a:lnTo>
                    <a:pt x="6980" y="75"/>
                  </a:lnTo>
                  <a:lnTo>
                    <a:pt x="6941" y="92"/>
                  </a:lnTo>
                  <a:lnTo>
                    <a:pt x="6903" y="111"/>
                  </a:lnTo>
                  <a:lnTo>
                    <a:pt x="6866" y="131"/>
                  </a:lnTo>
                  <a:lnTo>
                    <a:pt x="6829" y="154"/>
                  </a:lnTo>
                  <a:lnTo>
                    <a:pt x="6793" y="177"/>
                  </a:lnTo>
                  <a:lnTo>
                    <a:pt x="6759" y="202"/>
                  </a:lnTo>
                  <a:lnTo>
                    <a:pt x="6726" y="228"/>
                  </a:lnTo>
                  <a:lnTo>
                    <a:pt x="6694" y="255"/>
                  </a:lnTo>
                  <a:lnTo>
                    <a:pt x="6662" y="284"/>
                  </a:lnTo>
                  <a:lnTo>
                    <a:pt x="6633" y="314"/>
                  </a:lnTo>
                  <a:lnTo>
                    <a:pt x="6604" y="345"/>
                  </a:lnTo>
                  <a:lnTo>
                    <a:pt x="6577" y="378"/>
                  </a:lnTo>
                  <a:lnTo>
                    <a:pt x="6551" y="413"/>
                  </a:lnTo>
                  <a:lnTo>
                    <a:pt x="6527" y="447"/>
                  </a:lnTo>
                  <a:lnTo>
                    <a:pt x="6503" y="483"/>
                  </a:lnTo>
                  <a:lnTo>
                    <a:pt x="6482" y="520"/>
                  </a:lnTo>
                  <a:lnTo>
                    <a:pt x="6462" y="559"/>
                  </a:lnTo>
                  <a:lnTo>
                    <a:pt x="6444" y="598"/>
                  </a:lnTo>
                  <a:lnTo>
                    <a:pt x="6427" y="638"/>
                  </a:lnTo>
                  <a:lnTo>
                    <a:pt x="6412" y="679"/>
                  </a:lnTo>
                  <a:lnTo>
                    <a:pt x="6398" y="721"/>
                  </a:lnTo>
                  <a:lnTo>
                    <a:pt x="6387" y="764"/>
                  </a:lnTo>
                  <a:lnTo>
                    <a:pt x="6377" y="808"/>
                  </a:lnTo>
                  <a:lnTo>
                    <a:pt x="6069" y="2346"/>
                  </a:lnTo>
                  <a:lnTo>
                    <a:pt x="5985" y="2375"/>
                  </a:lnTo>
                  <a:lnTo>
                    <a:pt x="5903" y="2406"/>
                  </a:lnTo>
                  <a:lnTo>
                    <a:pt x="5820" y="2438"/>
                  </a:lnTo>
                  <a:lnTo>
                    <a:pt x="5739" y="2471"/>
                  </a:lnTo>
                  <a:lnTo>
                    <a:pt x="5658" y="2505"/>
                  </a:lnTo>
                  <a:lnTo>
                    <a:pt x="5578" y="2540"/>
                  </a:lnTo>
                  <a:lnTo>
                    <a:pt x="5499" y="2577"/>
                  </a:lnTo>
                  <a:lnTo>
                    <a:pt x="5420" y="2615"/>
                  </a:lnTo>
                  <a:lnTo>
                    <a:pt x="4110" y="1743"/>
                  </a:lnTo>
                  <a:lnTo>
                    <a:pt x="4078" y="1723"/>
                  </a:lnTo>
                  <a:lnTo>
                    <a:pt x="4046" y="1704"/>
                  </a:lnTo>
                  <a:lnTo>
                    <a:pt x="4012" y="1686"/>
                  </a:lnTo>
                  <a:lnTo>
                    <a:pt x="3978" y="1670"/>
                  </a:lnTo>
                  <a:lnTo>
                    <a:pt x="3944" y="1654"/>
                  </a:lnTo>
                  <a:lnTo>
                    <a:pt x="3910" y="1641"/>
                  </a:lnTo>
                  <a:lnTo>
                    <a:pt x="3875" y="1628"/>
                  </a:lnTo>
                  <a:lnTo>
                    <a:pt x="3840" y="1617"/>
                  </a:lnTo>
                  <a:lnTo>
                    <a:pt x="3804" y="1607"/>
                  </a:lnTo>
                  <a:lnTo>
                    <a:pt x="3769" y="1599"/>
                  </a:lnTo>
                  <a:lnTo>
                    <a:pt x="3733" y="1592"/>
                  </a:lnTo>
                  <a:lnTo>
                    <a:pt x="3698" y="1586"/>
                  </a:lnTo>
                  <a:lnTo>
                    <a:pt x="3662" y="1581"/>
                  </a:lnTo>
                  <a:lnTo>
                    <a:pt x="3625" y="1578"/>
                  </a:lnTo>
                  <a:lnTo>
                    <a:pt x="3589" y="1576"/>
                  </a:lnTo>
                  <a:lnTo>
                    <a:pt x="3553" y="1575"/>
                  </a:lnTo>
                  <a:lnTo>
                    <a:pt x="3529" y="1576"/>
                  </a:lnTo>
                  <a:lnTo>
                    <a:pt x="3504" y="1577"/>
                  </a:lnTo>
                  <a:lnTo>
                    <a:pt x="3480" y="1578"/>
                  </a:lnTo>
                  <a:lnTo>
                    <a:pt x="3455" y="1580"/>
                  </a:lnTo>
                  <a:lnTo>
                    <a:pt x="3431" y="1583"/>
                  </a:lnTo>
                  <a:lnTo>
                    <a:pt x="3407" y="1586"/>
                  </a:lnTo>
                  <a:lnTo>
                    <a:pt x="3383" y="1590"/>
                  </a:lnTo>
                  <a:lnTo>
                    <a:pt x="3359" y="1594"/>
                  </a:lnTo>
                  <a:lnTo>
                    <a:pt x="3336" y="1599"/>
                  </a:lnTo>
                  <a:lnTo>
                    <a:pt x="3312" y="1604"/>
                  </a:lnTo>
                  <a:lnTo>
                    <a:pt x="3288" y="1610"/>
                  </a:lnTo>
                  <a:lnTo>
                    <a:pt x="3264" y="1617"/>
                  </a:lnTo>
                  <a:lnTo>
                    <a:pt x="3241" y="1624"/>
                  </a:lnTo>
                  <a:lnTo>
                    <a:pt x="3218" y="1632"/>
                  </a:lnTo>
                  <a:lnTo>
                    <a:pt x="3195" y="1640"/>
                  </a:lnTo>
                  <a:lnTo>
                    <a:pt x="3173" y="1649"/>
                  </a:lnTo>
                  <a:lnTo>
                    <a:pt x="3150" y="1659"/>
                  </a:lnTo>
                  <a:lnTo>
                    <a:pt x="3127" y="1669"/>
                  </a:lnTo>
                  <a:lnTo>
                    <a:pt x="3105" y="1680"/>
                  </a:lnTo>
                  <a:lnTo>
                    <a:pt x="3083" y="1691"/>
                  </a:lnTo>
                  <a:lnTo>
                    <a:pt x="3061" y="1702"/>
                  </a:lnTo>
                  <a:lnTo>
                    <a:pt x="3040" y="1715"/>
                  </a:lnTo>
                  <a:lnTo>
                    <a:pt x="3019" y="1728"/>
                  </a:lnTo>
                  <a:lnTo>
                    <a:pt x="2998" y="1741"/>
                  </a:lnTo>
                  <a:lnTo>
                    <a:pt x="2978" y="1755"/>
                  </a:lnTo>
                  <a:lnTo>
                    <a:pt x="2956" y="1771"/>
                  </a:lnTo>
                  <a:lnTo>
                    <a:pt x="2936" y="1786"/>
                  </a:lnTo>
                  <a:lnTo>
                    <a:pt x="2917" y="1801"/>
                  </a:lnTo>
                  <a:lnTo>
                    <a:pt x="2897" y="1817"/>
                  </a:lnTo>
                  <a:lnTo>
                    <a:pt x="2878" y="1834"/>
                  </a:lnTo>
                  <a:lnTo>
                    <a:pt x="2860" y="1852"/>
                  </a:lnTo>
                  <a:lnTo>
                    <a:pt x="2841" y="1869"/>
                  </a:lnTo>
                  <a:lnTo>
                    <a:pt x="1873" y="2834"/>
                  </a:lnTo>
                  <a:lnTo>
                    <a:pt x="1843" y="2868"/>
                  </a:lnTo>
                  <a:lnTo>
                    <a:pt x="1814" y="2901"/>
                  </a:lnTo>
                  <a:lnTo>
                    <a:pt x="1786" y="2935"/>
                  </a:lnTo>
                  <a:lnTo>
                    <a:pt x="1759" y="2970"/>
                  </a:lnTo>
                  <a:lnTo>
                    <a:pt x="1735" y="3006"/>
                  </a:lnTo>
                  <a:lnTo>
                    <a:pt x="1713" y="3043"/>
                  </a:lnTo>
                  <a:lnTo>
                    <a:pt x="1692" y="3081"/>
                  </a:lnTo>
                  <a:lnTo>
                    <a:pt x="1673" y="3119"/>
                  </a:lnTo>
                  <a:lnTo>
                    <a:pt x="1656" y="3159"/>
                  </a:lnTo>
                  <a:lnTo>
                    <a:pt x="1641" y="3198"/>
                  </a:lnTo>
                  <a:lnTo>
                    <a:pt x="1627" y="3239"/>
                  </a:lnTo>
                  <a:lnTo>
                    <a:pt x="1615" y="3279"/>
                  </a:lnTo>
                  <a:lnTo>
                    <a:pt x="1604" y="3320"/>
                  </a:lnTo>
                  <a:lnTo>
                    <a:pt x="1595" y="3361"/>
                  </a:lnTo>
                  <a:lnTo>
                    <a:pt x="1588" y="3404"/>
                  </a:lnTo>
                  <a:lnTo>
                    <a:pt x="1583" y="3446"/>
                  </a:lnTo>
                  <a:lnTo>
                    <a:pt x="1580" y="3488"/>
                  </a:lnTo>
                  <a:lnTo>
                    <a:pt x="1579" y="3530"/>
                  </a:lnTo>
                  <a:lnTo>
                    <a:pt x="1579" y="3572"/>
                  </a:lnTo>
                  <a:lnTo>
                    <a:pt x="1581" y="3614"/>
                  </a:lnTo>
                  <a:lnTo>
                    <a:pt x="1585" y="3656"/>
                  </a:lnTo>
                  <a:lnTo>
                    <a:pt x="1590" y="3699"/>
                  </a:lnTo>
                  <a:lnTo>
                    <a:pt x="1598" y="3741"/>
                  </a:lnTo>
                  <a:lnTo>
                    <a:pt x="1607" y="3783"/>
                  </a:lnTo>
                  <a:lnTo>
                    <a:pt x="1619" y="3824"/>
                  </a:lnTo>
                  <a:lnTo>
                    <a:pt x="1632" y="3865"/>
                  </a:lnTo>
                  <a:lnTo>
                    <a:pt x="1646" y="3906"/>
                  </a:lnTo>
                  <a:lnTo>
                    <a:pt x="1663" y="3947"/>
                  </a:lnTo>
                  <a:lnTo>
                    <a:pt x="1681" y="3986"/>
                  </a:lnTo>
                  <a:lnTo>
                    <a:pt x="1702" y="4025"/>
                  </a:lnTo>
                  <a:lnTo>
                    <a:pt x="1724" y="4063"/>
                  </a:lnTo>
                  <a:lnTo>
                    <a:pt x="1747" y="4101"/>
                  </a:lnTo>
                  <a:lnTo>
                    <a:pt x="2620" y="5408"/>
                  </a:lnTo>
                  <a:lnTo>
                    <a:pt x="2583" y="5486"/>
                  </a:lnTo>
                  <a:lnTo>
                    <a:pt x="2546" y="5565"/>
                  </a:lnTo>
                  <a:lnTo>
                    <a:pt x="2511" y="5646"/>
                  </a:lnTo>
                  <a:lnTo>
                    <a:pt x="2477" y="5726"/>
                  </a:lnTo>
                  <a:lnTo>
                    <a:pt x="2443" y="5807"/>
                  </a:lnTo>
                  <a:lnTo>
                    <a:pt x="2411" y="5890"/>
                  </a:lnTo>
                  <a:lnTo>
                    <a:pt x="2380" y="5972"/>
                  </a:lnTo>
                  <a:lnTo>
                    <a:pt x="2351" y="6055"/>
                  </a:lnTo>
                  <a:lnTo>
                    <a:pt x="809" y="6362"/>
                  </a:lnTo>
                  <a:lnTo>
                    <a:pt x="766" y="6372"/>
                  </a:lnTo>
                  <a:lnTo>
                    <a:pt x="722" y="6383"/>
                  </a:lnTo>
                  <a:lnTo>
                    <a:pt x="681" y="6398"/>
                  </a:lnTo>
                  <a:lnTo>
                    <a:pt x="640" y="6413"/>
                  </a:lnTo>
                  <a:lnTo>
                    <a:pt x="600" y="6429"/>
                  </a:lnTo>
                  <a:lnTo>
                    <a:pt x="559" y="6448"/>
                  </a:lnTo>
                  <a:lnTo>
                    <a:pt x="521" y="6467"/>
                  </a:lnTo>
                  <a:lnTo>
                    <a:pt x="484" y="6489"/>
                  </a:lnTo>
                  <a:lnTo>
                    <a:pt x="448" y="6512"/>
                  </a:lnTo>
                  <a:lnTo>
                    <a:pt x="412" y="6536"/>
                  </a:lnTo>
                  <a:lnTo>
                    <a:pt x="379" y="6562"/>
                  </a:lnTo>
                  <a:lnTo>
                    <a:pt x="346" y="6589"/>
                  </a:lnTo>
                  <a:lnTo>
                    <a:pt x="315" y="6617"/>
                  </a:lnTo>
                  <a:lnTo>
                    <a:pt x="285" y="6647"/>
                  </a:lnTo>
                  <a:lnTo>
                    <a:pt x="256" y="6679"/>
                  </a:lnTo>
                  <a:lnTo>
                    <a:pt x="228" y="6711"/>
                  </a:lnTo>
                  <a:lnTo>
                    <a:pt x="202" y="6744"/>
                  </a:lnTo>
                  <a:lnTo>
                    <a:pt x="177" y="6778"/>
                  </a:lnTo>
                  <a:lnTo>
                    <a:pt x="154" y="6813"/>
                  </a:lnTo>
                  <a:lnTo>
                    <a:pt x="132" y="6850"/>
                  </a:lnTo>
                  <a:lnTo>
                    <a:pt x="112" y="6887"/>
                  </a:lnTo>
                  <a:lnTo>
                    <a:pt x="93" y="6925"/>
                  </a:lnTo>
                  <a:lnTo>
                    <a:pt x="75" y="6965"/>
                  </a:lnTo>
                  <a:lnTo>
                    <a:pt x="60" y="7005"/>
                  </a:lnTo>
                  <a:lnTo>
                    <a:pt x="46" y="7045"/>
                  </a:lnTo>
                  <a:lnTo>
                    <a:pt x="34" y="7086"/>
                  </a:lnTo>
                  <a:lnTo>
                    <a:pt x="24" y="7128"/>
                  </a:lnTo>
                  <a:lnTo>
                    <a:pt x="15" y="7171"/>
                  </a:lnTo>
                  <a:lnTo>
                    <a:pt x="9" y="7215"/>
                  </a:lnTo>
                  <a:lnTo>
                    <a:pt x="4" y="7258"/>
                  </a:lnTo>
                  <a:lnTo>
                    <a:pt x="1" y="7302"/>
                  </a:lnTo>
                  <a:lnTo>
                    <a:pt x="0" y="7347"/>
                  </a:lnTo>
                  <a:lnTo>
                    <a:pt x="0" y="8712"/>
                  </a:lnTo>
                  <a:lnTo>
                    <a:pt x="1" y="8757"/>
                  </a:lnTo>
                  <a:lnTo>
                    <a:pt x="4" y="8801"/>
                  </a:lnTo>
                  <a:lnTo>
                    <a:pt x="9" y="8844"/>
                  </a:lnTo>
                  <a:lnTo>
                    <a:pt x="15" y="8888"/>
                  </a:lnTo>
                  <a:lnTo>
                    <a:pt x="24" y="8931"/>
                  </a:lnTo>
                  <a:lnTo>
                    <a:pt x="34" y="8972"/>
                  </a:lnTo>
                  <a:lnTo>
                    <a:pt x="46" y="9014"/>
                  </a:lnTo>
                  <a:lnTo>
                    <a:pt x="60" y="9054"/>
                  </a:lnTo>
                  <a:lnTo>
                    <a:pt x="75" y="9094"/>
                  </a:lnTo>
                  <a:lnTo>
                    <a:pt x="93" y="9134"/>
                  </a:lnTo>
                  <a:lnTo>
                    <a:pt x="112" y="9172"/>
                  </a:lnTo>
                  <a:lnTo>
                    <a:pt x="132" y="9209"/>
                  </a:lnTo>
                  <a:lnTo>
                    <a:pt x="154" y="9245"/>
                  </a:lnTo>
                  <a:lnTo>
                    <a:pt x="177" y="9280"/>
                  </a:lnTo>
                  <a:lnTo>
                    <a:pt x="202" y="9315"/>
                  </a:lnTo>
                  <a:lnTo>
                    <a:pt x="228" y="9348"/>
                  </a:lnTo>
                  <a:lnTo>
                    <a:pt x="256" y="9380"/>
                  </a:lnTo>
                  <a:lnTo>
                    <a:pt x="285" y="9412"/>
                  </a:lnTo>
                  <a:lnTo>
                    <a:pt x="315" y="9441"/>
                  </a:lnTo>
                  <a:lnTo>
                    <a:pt x="346" y="9470"/>
                  </a:lnTo>
                  <a:lnTo>
                    <a:pt x="379" y="9497"/>
                  </a:lnTo>
                  <a:lnTo>
                    <a:pt x="412" y="9523"/>
                  </a:lnTo>
                  <a:lnTo>
                    <a:pt x="448" y="9547"/>
                  </a:lnTo>
                  <a:lnTo>
                    <a:pt x="484" y="9570"/>
                  </a:lnTo>
                  <a:lnTo>
                    <a:pt x="521" y="9591"/>
                  </a:lnTo>
                  <a:lnTo>
                    <a:pt x="559" y="9611"/>
                  </a:lnTo>
                  <a:lnTo>
                    <a:pt x="600" y="9629"/>
                  </a:lnTo>
                  <a:lnTo>
                    <a:pt x="640" y="9646"/>
                  </a:lnTo>
                  <a:lnTo>
                    <a:pt x="681" y="9661"/>
                  </a:lnTo>
                  <a:lnTo>
                    <a:pt x="722" y="9675"/>
                  </a:lnTo>
                  <a:lnTo>
                    <a:pt x="766" y="9687"/>
                  </a:lnTo>
                  <a:lnTo>
                    <a:pt x="809" y="9697"/>
                  </a:lnTo>
                  <a:lnTo>
                    <a:pt x="2351" y="10004"/>
                  </a:lnTo>
                  <a:lnTo>
                    <a:pt x="2380" y="10087"/>
                  </a:lnTo>
                  <a:lnTo>
                    <a:pt x="2411" y="10169"/>
                  </a:lnTo>
                  <a:lnTo>
                    <a:pt x="2443" y="10252"/>
                  </a:lnTo>
                  <a:lnTo>
                    <a:pt x="2477" y="10333"/>
                  </a:lnTo>
                  <a:lnTo>
                    <a:pt x="2511" y="10413"/>
                  </a:lnTo>
                  <a:lnTo>
                    <a:pt x="2546" y="10494"/>
                  </a:lnTo>
                  <a:lnTo>
                    <a:pt x="2583" y="10573"/>
                  </a:lnTo>
                  <a:lnTo>
                    <a:pt x="2620" y="10651"/>
                  </a:lnTo>
                  <a:lnTo>
                    <a:pt x="1747" y="11957"/>
                  </a:lnTo>
                  <a:lnTo>
                    <a:pt x="1724" y="11995"/>
                  </a:lnTo>
                  <a:lnTo>
                    <a:pt x="1702" y="12033"/>
                  </a:lnTo>
                  <a:lnTo>
                    <a:pt x="1681" y="12072"/>
                  </a:lnTo>
                  <a:lnTo>
                    <a:pt x="1663" y="12111"/>
                  </a:lnTo>
                  <a:lnTo>
                    <a:pt x="1646" y="12153"/>
                  </a:lnTo>
                  <a:lnTo>
                    <a:pt x="1632" y="12193"/>
                  </a:lnTo>
                  <a:lnTo>
                    <a:pt x="1619" y="12234"/>
                  </a:lnTo>
                  <a:lnTo>
                    <a:pt x="1607" y="12275"/>
                  </a:lnTo>
                  <a:lnTo>
                    <a:pt x="1598" y="12317"/>
                  </a:lnTo>
                  <a:lnTo>
                    <a:pt x="1590" y="12359"/>
                  </a:lnTo>
                  <a:lnTo>
                    <a:pt x="1585" y="12402"/>
                  </a:lnTo>
                  <a:lnTo>
                    <a:pt x="1581" y="12444"/>
                  </a:lnTo>
                  <a:lnTo>
                    <a:pt x="1579" y="12486"/>
                  </a:lnTo>
                  <a:lnTo>
                    <a:pt x="1579" y="12528"/>
                  </a:lnTo>
                  <a:lnTo>
                    <a:pt x="1580" y="12571"/>
                  </a:lnTo>
                  <a:lnTo>
                    <a:pt x="1583" y="12613"/>
                  </a:lnTo>
                  <a:lnTo>
                    <a:pt x="1588" y="12654"/>
                  </a:lnTo>
                  <a:lnTo>
                    <a:pt x="1595" y="12697"/>
                  </a:lnTo>
                  <a:lnTo>
                    <a:pt x="1604" y="12738"/>
                  </a:lnTo>
                  <a:lnTo>
                    <a:pt x="1615" y="12779"/>
                  </a:lnTo>
                  <a:lnTo>
                    <a:pt x="1627" y="12820"/>
                  </a:lnTo>
                  <a:lnTo>
                    <a:pt x="1641" y="12860"/>
                  </a:lnTo>
                  <a:lnTo>
                    <a:pt x="1656" y="12900"/>
                  </a:lnTo>
                  <a:lnTo>
                    <a:pt x="1673" y="12940"/>
                  </a:lnTo>
                  <a:lnTo>
                    <a:pt x="1692" y="12978"/>
                  </a:lnTo>
                  <a:lnTo>
                    <a:pt x="1713" y="13016"/>
                  </a:lnTo>
                  <a:lnTo>
                    <a:pt x="1735" y="13052"/>
                  </a:lnTo>
                  <a:lnTo>
                    <a:pt x="1759" y="13088"/>
                  </a:lnTo>
                  <a:lnTo>
                    <a:pt x="1786" y="13124"/>
                  </a:lnTo>
                  <a:lnTo>
                    <a:pt x="1814" y="13158"/>
                  </a:lnTo>
                  <a:lnTo>
                    <a:pt x="1843" y="13191"/>
                  </a:lnTo>
                  <a:lnTo>
                    <a:pt x="1873" y="13224"/>
                  </a:lnTo>
                  <a:lnTo>
                    <a:pt x="2841" y="14189"/>
                  </a:lnTo>
                  <a:lnTo>
                    <a:pt x="2860" y="14207"/>
                  </a:lnTo>
                  <a:lnTo>
                    <a:pt x="2878" y="14224"/>
                  </a:lnTo>
                  <a:lnTo>
                    <a:pt x="2897" y="14241"/>
                  </a:lnTo>
                  <a:lnTo>
                    <a:pt x="2917" y="14257"/>
                  </a:lnTo>
                  <a:lnTo>
                    <a:pt x="2936" y="14273"/>
                  </a:lnTo>
                  <a:lnTo>
                    <a:pt x="2956" y="14288"/>
                  </a:lnTo>
                  <a:lnTo>
                    <a:pt x="2978" y="14303"/>
                  </a:lnTo>
                  <a:lnTo>
                    <a:pt x="2998" y="14317"/>
                  </a:lnTo>
                  <a:lnTo>
                    <a:pt x="3019" y="14331"/>
                  </a:lnTo>
                  <a:lnTo>
                    <a:pt x="3040" y="14344"/>
                  </a:lnTo>
                  <a:lnTo>
                    <a:pt x="3061" y="14356"/>
                  </a:lnTo>
                  <a:lnTo>
                    <a:pt x="3083" y="14368"/>
                  </a:lnTo>
                  <a:lnTo>
                    <a:pt x="3105" y="14379"/>
                  </a:lnTo>
                  <a:lnTo>
                    <a:pt x="3127" y="14389"/>
                  </a:lnTo>
                  <a:lnTo>
                    <a:pt x="3150" y="14399"/>
                  </a:lnTo>
                  <a:lnTo>
                    <a:pt x="3173" y="14409"/>
                  </a:lnTo>
                  <a:lnTo>
                    <a:pt x="3195" y="14418"/>
                  </a:lnTo>
                  <a:lnTo>
                    <a:pt x="3218" y="14426"/>
                  </a:lnTo>
                  <a:lnTo>
                    <a:pt x="3241" y="14434"/>
                  </a:lnTo>
                  <a:lnTo>
                    <a:pt x="3264" y="14441"/>
                  </a:lnTo>
                  <a:lnTo>
                    <a:pt x="3288" y="14448"/>
                  </a:lnTo>
                  <a:lnTo>
                    <a:pt x="3312" y="14454"/>
                  </a:lnTo>
                  <a:lnTo>
                    <a:pt x="3336" y="14459"/>
                  </a:lnTo>
                  <a:lnTo>
                    <a:pt x="3359" y="14464"/>
                  </a:lnTo>
                  <a:lnTo>
                    <a:pt x="3383" y="14469"/>
                  </a:lnTo>
                  <a:lnTo>
                    <a:pt x="3407" y="14473"/>
                  </a:lnTo>
                  <a:lnTo>
                    <a:pt x="3431" y="14476"/>
                  </a:lnTo>
                  <a:lnTo>
                    <a:pt x="3455" y="14478"/>
                  </a:lnTo>
                  <a:lnTo>
                    <a:pt x="3480" y="14480"/>
                  </a:lnTo>
                  <a:lnTo>
                    <a:pt x="3504" y="14482"/>
                  </a:lnTo>
                  <a:lnTo>
                    <a:pt x="3529" y="14483"/>
                  </a:lnTo>
                  <a:lnTo>
                    <a:pt x="3553" y="14483"/>
                  </a:lnTo>
                  <a:lnTo>
                    <a:pt x="3589" y="14482"/>
                  </a:lnTo>
                  <a:lnTo>
                    <a:pt x="3625" y="14480"/>
                  </a:lnTo>
                  <a:lnTo>
                    <a:pt x="3662" y="14477"/>
                  </a:lnTo>
                  <a:lnTo>
                    <a:pt x="3698" y="14473"/>
                  </a:lnTo>
                  <a:lnTo>
                    <a:pt x="3733" y="14467"/>
                  </a:lnTo>
                  <a:lnTo>
                    <a:pt x="3769" y="14460"/>
                  </a:lnTo>
                  <a:lnTo>
                    <a:pt x="3804" y="14451"/>
                  </a:lnTo>
                  <a:lnTo>
                    <a:pt x="3840" y="14441"/>
                  </a:lnTo>
                  <a:lnTo>
                    <a:pt x="3875" y="14430"/>
                  </a:lnTo>
                  <a:lnTo>
                    <a:pt x="3910" y="14418"/>
                  </a:lnTo>
                  <a:lnTo>
                    <a:pt x="3944" y="14404"/>
                  </a:lnTo>
                  <a:lnTo>
                    <a:pt x="3978" y="14389"/>
                  </a:lnTo>
                  <a:lnTo>
                    <a:pt x="4013" y="14372"/>
                  </a:lnTo>
                  <a:lnTo>
                    <a:pt x="4046" y="14355"/>
                  </a:lnTo>
                  <a:lnTo>
                    <a:pt x="4078" y="14336"/>
                  </a:lnTo>
                  <a:lnTo>
                    <a:pt x="4110" y="14315"/>
                  </a:lnTo>
                  <a:lnTo>
                    <a:pt x="5420" y="13443"/>
                  </a:lnTo>
                  <a:lnTo>
                    <a:pt x="5499" y="13482"/>
                  </a:lnTo>
                  <a:lnTo>
                    <a:pt x="5578" y="13518"/>
                  </a:lnTo>
                  <a:lnTo>
                    <a:pt x="5658" y="13553"/>
                  </a:lnTo>
                  <a:lnTo>
                    <a:pt x="5739" y="13587"/>
                  </a:lnTo>
                  <a:lnTo>
                    <a:pt x="5820" y="13620"/>
                  </a:lnTo>
                  <a:lnTo>
                    <a:pt x="5903" y="13652"/>
                  </a:lnTo>
                  <a:lnTo>
                    <a:pt x="5985" y="13683"/>
                  </a:lnTo>
                  <a:lnTo>
                    <a:pt x="6069" y="13713"/>
                  </a:lnTo>
                  <a:lnTo>
                    <a:pt x="6377" y="15251"/>
                  </a:lnTo>
                  <a:lnTo>
                    <a:pt x="6387" y="15295"/>
                  </a:lnTo>
                  <a:lnTo>
                    <a:pt x="6398" y="15337"/>
                  </a:lnTo>
                  <a:lnTo>
                    <a:pt x="6412" y="15380"/>
                  </a:lnTo>
                  <a:lnTo>
                    <a:pt x="6427" y="15421"/>
                  </a:lnTo>
                  <a:lnTo>
                    <a:pt x="6444" y="15461"/>
                  </a:lnTo>
                  <a:lnTo>
                    <a:pt x="6462" y="15500"/>
                  </a:lnTo>
                  <a:lnTo>
                    <a:pt x="6482" y="15538"/>
                  </a:lnTo>
                  <a:lnTo>
                    <a:pt x="6503" y="15575"/>
                  </a:lnTo>
                  <a:lnTo>
                    <a:pt x="6527" y="15611"/>
                  </a:lnTo>
                  <a:lnTo>
                    <a:pt x="6551" y="15646"/>
                  </a:lnTo>
                  <a:lnTo>
                    <a:pt x="6577" y="15681"/>
                  </a:lnTo>
                  <a:lnTo>
                    <a:pt x="6604" y="15713"/>
                  </a:lnTo>
                  <a:lnTo>
                    <a:pt x="6633" y="15744"/>
                  </a:lnTo>
                  <a:lnTo>
                    <a:pt x="6662" y="15774"/>
                  </a:lnTo>
                  <a:lnTo>
                    <a:pt x="6694" y="15803"/>
                  </a:lnTo>
                  <a:lnTo>
                    <a:pt x="6726" y="15831"/>
                  </a:lnTo>
                  <a:lnTo>
                    <a:pt x="6759" y="15857"/>
                  </a:lnTo>
                  <a:lnTo>
                    <a:pt x="6793" y="15881"/>
                  </a:lnTo>
                  <a:lnTo>
                    <a:pt x="6829" y="15904"/>
                  </a:lnTo>
                  <a:lnTo>
                    <a:pt x="6866" y="15927"/>
                  </a:lnTo>
                  <a:lnTo>
                    <a:pt x="6903" y="15947"/>
                  </a:lnTo>
                  <a:lnTo>
                    <a:pt x="6941" y="15966"/>
                  </a:lnTo>
                  <a:lnTo>
                    <a:pt x="6980" y="15983"/>
                  </a:lnTo>
                  <a:lnTo>
                    <a:pt x="7020" y="15998"/>
                  </a:lnTo>
                  <a:lnTo>
                    <a:pt x="7061" y="16012"/>
                  </a:lnTo>
                  <a:lnTo>
                    <a:pt x="7102" y="16024"/>
                  </a:lnTo>
                  <a:lnTo>
                    <a:pt x="7144" y="16034"/>
                  </a:lnTo>
                  <a:lnTo>
                    <a:pt x="7187" y="16043"/>
                  </a:lnTo>
                  <a:lnTo>
                    <a:pt x="7231" y="16049"/>
                  </a:lnTo>
                  <a:lnTo>
                    <a:pt x="7274" y="16054"/>
                  </a:lnTo>
                  <a:lnTo>
                    <a:pt x="7318" y="16057"/>
                  </a:lnTo>
                  <a:lnTo>
                    <a:pt x="7363" y="16058"/>
                  </a:lnTo>
                  <a:lnTo>
                    <a:pt x="8732" y="16058"/>
                  </a:lnTo>
                  <a:lnTo>
                    <a:pt x="8777" y="16057"/>
                  </a:lnTo>
                  <a:lnTo>
                    <a:pt x="8821" y="16054"/>
                  </a:lnTo>
                  <a:lnTo>
                    <a:pt x="8864" y="16049"/>
                  </a:lnTo>
                  <a:lnTo>
                    <a:pt x="8908" y="16043"/>
                  </a:lnTo>
                  <a:lnTo>
                    <a:pt x="8951" y="16034"/>
                  </a:lnTo>
                  <a:lnTo>
                    <a:pt x="8993" y="16024"/>
                  </a:lnTo>
                  <a:lnTo>
                    <a:pt x="9034" y="16012"/>
                  </a:lnTo>
                  <a:lnTo>
                    <a:pt x="9075" y="15998"/>
                  </a:lnTo>
                  <a:lnTo>
                    <a:pt x="9115" y="15983"/>
                  </a:lnTo>
                  <a:lnTo>
                    <a:pt x="9154" y="15966"/>
                  </a:lnTo>
                  <a:lnTo>
                    <a:pt x="9192" y="15947"/>
                  </a:lnTo>
                  <a:lnTo>
                    <a:pt x="9229" y="15927"/>
                  </a:lnTo>
                  <a:lnTo>
                    <a:pt x="9267" y="15904"/>
                  </a:lnTo>
                  <a:lnTo>
                    <a:pt x="9302" y="15881"/>
                  </a:lnTo>
                  <a:lnTo>
                    <a:pt x="9336" y="15857"/>
                  </a:lnTo>
                  <a:lnTo>
                    <a:pt x="9369" y="15831"/>
                  </a:lnTo>
                  <a:lnTo>
                    <a:pt x="9401" y="15803"/>
                  </a:lnTo>
                  <a:lnTo>
                    <a:pt x="9433" y="15774"/>
                  </a:lnTo>
                  <a:lnTo>
                    <a:pt x="9463" y="15744"/>
                  </a:lnTo>
                  <a:lnTo>
                    <a:pt x="9491" y="15713"/>
                  </a:lnTo>
                  <a:lnTo>
                    <a:pt x="9518" y="15681"/>
                  </a:lnTo>
                  <a:lnTo>
                    <a:pt x="9544" y="15646"/>
                  </a:lnTo>
                  <a:lnTo>
                    <a:pt x="9568" y="15611"/>
                  </a:lnTo>
                  <a:lnTo>
                    <a:pt x="9592" y="15575"/>
                  </a:lnTo>
                  <a:lnTo>
                    <a:pt x="9614" y="15538"/>
                  </a:lnTo>
                  <a:lnTo>
                    <a:pt x="9633" y="15500"/>
                  </a:lnTo>
                  <a:lnTo>
                    <a:pt x="9652" y="15461"/>
                  </a:lnTo>
                  <a:lnTo>
                    <a:pt x="9668" y="15421"/>
                  </a:lnTo>
                  <a:lnTo>
                    <a:pt x="9683" y="15380"/>
                  </a:lnTo>
                  <a:lnTo>
                    <a:pt x="9697" y="15337"/>
                  </a:lnTo>
                  <a:lnTo>
                    <a:pt x="9708" y="15295"/>
                  </a:lnTo>
                  <a:lnTo>
                    <a:pt x="9718" y="15251"/>
                  </a:lnTo>
                  <a:lnTo>
                    <a:pt x="10027" y="13713"/>
                  </a:lnTo>
                  <a:lnTo>
                    <a:pt x="10111" y="13683"/>
                  </a:lnTo>
                  <a:lnTo>
                    <a:pt x="10193" y="13652"/>
                  </a:lnTo>
                  <a:lnTo>
                    <a:pt x="10276" y="13620"/>
                  </a:lnTo>
                  <a:lnTo>
                    <a:pt x="10357" y="13587"/>
                  </a:lnTo>
                  <a:lnTo>
                    <a:pt x="10438" y="13553"/>
                  </a:lnTo>
                  <a:lnTo>
                    <a:pt x="10517" y="13518"/>
                  </a:lnTo>
                  <a:lnTo>
                    <a:pt x="10597" y="13481"/>
                  </a:lnTo>
                  <a:lnTo>
                    <a:pt x="10676" y="13443"/>
                  </a:lnTo>
                  <a:lnTo>
                    <a:pt x="11986" y="14315"/>
                  </a:lnTo>
                  <a:lnTo>
                    <a:pt x="12018" y="14336"/>
                  </a:lnTo>
                  <a:lnTo>
                    <a:pt x="12050" y="14355"/>
                  </a:lnTo>
                  <a:lnTo>
                    <a:pt x="12083" y="14372"/>
                  </a:lnTo>
                  <a:lnTo>
                    <a:pt x="12117" y="14389"/>
                  </a:lnTo>
                  <a:lnTo>
                    <a:pt x="12151" y="14404"/>
                  </a:lnTo>
                  <a:lnTo>
                    <a:pt x="12185" y="14418"/>
                  </a:lnTo>
                  <a:lnTo>
                    <a:pt x="12220" y="14430"/>
                  </a:lnTo>
                  <a:lnTo>
                    <a:pt x="12255" y="14441"/>
                  </a:lnTo>
                  <a:lnTo>
                    <a:pt x="12291" y="14451"/>
                  </a:lnTo>
                  <a:lnTo>
                    <a:pt x="12326" y="14460"/>
                  </a:lnTo>
                  <a:lnTo>
                    <a:pt x="12362" y="14467"/>
                  </a:lnTo>
                  <a:lnTo>
                    <a:pt x="12398" y="14473"/>
                  </a:lnTo>
                  <a:lnTo>
                    <a:pt x="12433" y="14477"/>
                  </a:lnTo>
                  <a:lnTo>
                    <a:pt x="12470" y="14480"/>
                  </a:lnTo>
                  <a:lnTo>
                    <a:pt x="12506" y="14482"/>
                  </a:lnTo>
                  <a:lnTo>
                    <a:pt x="12542" y="14483"/>
                  </a:lnTo>
                  <a:lnTo>
                    <a:pt x="12566" y="14483"/>
                  </a:lnTo>
                  <a:lnTo>
                    <a:pt x="12591" y="14482"/>
                  </a:lnTo>
                  <a:lnTo>
                    <a:pt x="12615" y="14480"/>
                  </a:lnTo>
                  <a:lnTo>
                    <a:pt x="12640" y="14478"/>
                  </a:lnTo>
                  <a:lnTo>
                    <a:pt x="12664" y="14476"/>
                  </a:lnTo>
                  <a:lnTo>
                    <a:pt x="12688" y="14473"/>
                  </a:lnTo>
                  <a:lnTo>
                    <a:pt x="12712" y="14469"/>
                  </a:lnTo>
                  <a:lnTo>
                    <a:pt x="12736" y="14464"/>
                  </a:lnTo>
                  <a:lnTo>
                    <a:pt x="12759" y="14459"/>
                  </a:lnTo>
                  <a:lnTo>
                    <a:pt x="12783" y="14454"/>
                  </a:lnTo>
                  <a:lnTo>
                    <a:pt x="12808" y="14448"/>
                  </a:lnTo>
                  <a:lnTo>
                    <a:pt x="12831" y="14441"/>
                  </a:lnTo>
                  <a:lnTo>
                    <a:pt x="12854" y="14434"/>
                  </a:lnTo>
                  <a:lnTo>
                    <a:pt x="12877" y="14426"/>
                  </a:lnTo>
                  <a:lnTo>
                    <a:pt x="12900" y="14418"/>
                  </a:lnTo>
                  <a:lnTo>
                    <a:pt x="12923" y="14409"/>
                  </a:lnTo>
                  <a:lnTo>
                    <a:pt x="12945" y="14399"/>
                  </a:lnTo>
                  <a:lnTo>
                    <a:pt x="12968" y="14389"/>
                  </a:lnTo>
                  <a:lnTo>
                    <a:pt x="12990" y="14379"/>
                  </a:lnTo>
                  <a:lnTo>
                    <a:pt x="13012" y="14368"/>
                  </a:lnTo>
                  <a:lnTo>
                    <a:pt x="13034" y="14356"/>
                  </a:lnTo>
                  <a:lnTo>
                    <a:pt x="13055" y="14344"/>
                  </a:lnTo>
                  <a:lnTo>
                    <a:pt x="13076" y="14331"/>
                  </a:lnTo>
                  <a:lnTo>
                    <a:pt x="13097" y="14317"/>
                  </a:lnTo>
                  <a:lnTo>
                    <a:pt x="13118" y="14303"/>
                  </a:lnTo>
                  <a:lnTo>
                    <a:pt x="13139" y="14288"/>
                  </a:lnTo>
                  <a:lnTo>
                    <a:pt x="13159" y="14273"/>
                  </a:lnTo>
                  <a:lnTo>
                    <a:pt x="13179" y="14257"/>
                  </a:lnTo>
                  <a:lnTo>
                    <a:pt x="13198" y="14241"/>
                  </a:lnTo>
                  <a:lnTo>
                    <a:pt x="13217" y="14224"/>
                  </a:lnTo>
                  <a:lnTo>
                    <a:pt x="13236" y="14207"/>
                  </a:lnTo>
                  <a:lnTo>
                    <a:pt x="13254" y="14189"/>
                  </a:lnTo>
                  <a:lnTo>
                    <a:pt x="14222" y="13224"/>
                  </a:lnTo>
                  <a:lnTo>
                    <a:pt x="14253" y="13191"/>
                  </a:lnTo>
                  <a:lnTo>
                    <a:pt x="14282" y="13158"/>
                  </a:lnTo>
                  <a:lnTo>
                    <a:pt x="14309" y="13124"/>
                  </a:lnTo>
                  <a:lnTo>
                    <a:pt x="14336" y="13088"/>
                  </a:lnTo>
                  <a:lnTo>
                    <a:pt x="14360" y="13052"/>
                  </a:lnTo>
                  <a:lnTo>
                    <a:pt x="14382" y="13016"/>
                  </a:lnTo>
                  <a:lnTo>
                    <a:pt x="14403" y="12978"/>
                  </a:lnTo>
                  <a:lnTo>
                    <a:pt x="14422" y="12940"/>
                  </a:lnTo>
                  <a:lnTo>
                    <a:pt x="14439" y="12900"/>
                  </a:lnTo>
                  <a:lnTo>
                    <a:pt x="14455" y="12860"/>
                  </a:lnTo>
                  <a:lnTo>
                    <a:pt x="14468" y="12820"/>
                  </a:lnTo>
                  <a:lnTo>
                    <a:pt x="14480" y="12779"/>
                  </a:lnTo>
                  <a:lnTo>
                    <a:pt x="14492" y="12738"/>
                  </a:lnTo>
                  <a:lnTo>
                    <a:pt x="14500" y="12697"/>
                  </a:lnTo>
                  <a:lnTo>
                    <a:pt x="14507" y="12654"/>
                  </a:lnTo>
                  <a:lnTo>
                    <a:pt x="14512" y="12613"/>
                  </a:lnTo>
                  <a:lnTo>
                    <a:pt x="14515" y="12571"/>
                  </a:lnTo>
                  <a:lnTo>
                    <a:pt x="14517" y="12528"/>
                  </a:lnTo>
                  <a:lnTo>
                    <a:pt x="14517" y="12486"/>
                  </a:lnTo>
                  <a:lnTo>
                    <a:pt x="14515" y="12444"/>
                  </a:lnTo>
                  <a:lnTo>
                    <a:pt x="14511" y="12402"/>
                  </a:lnTo>
                  <a:lnTo>
                    <a:pt x="14505" y="12359"/>
                  </a:lnTo>
                  <a:lnTo>
                    <a:pt x="14498" y="12317"/>
                  </a:lnTo>
                  <a:lnTo>
                    <a:pt x="14489" y="12275"/>
                  </a:lnTo>
                  <a:lnTo>
                    <a:pt x="14476" y="12234"/>
                  </a:lnTo>
                  <a:lnTo>
                    <a:pt x="14464" y="12193"/>
                  </a:lnTo>
                  <a:lnTo>
                    <a:pt x="14449" y="12153"/>
                  </a:lnTo>
                  <a:lnTo>
                    <a:pt x="14433" y="12111"/>
                  </a:lnTo>
                  <a:lnTo>
                    <a:pt x="14414" y="12072"/>
                  </a:lnTo>
                  <a:lnTo>
                    <a:pt x="14394" y="12033"/>
                  </a:lnTo>
                  <a:lnTo>
                    <a:pt x="14372" y="11995"/>
                  </a:lnTo>
                  <a:lnTo>
                    <a:pt x="14348" y="11957"/>
                  </a:lnTo>
                  <a:lnTo>
                    <a:pt x="13475" y="10651"/>
                  </a:lnTo>
                  <a:lnTo>
                    <a:pt x="13512" y="10572"/>
                  </a:lnTo>
                  <a:lnTo>
                    <a:pt x="13549" y="10493"/>
                  </a:lnTo>
                  <a:lnTo>
                    <a:pt x="13584" y="10413"/>
                  </a:lnTo>
                  <a:lnTo>
                    <a:pt x="13618" y="10332"/>
                  </a:lnTo>
                  <a:lnTo>
                    <a:pt x="13652" y="10251"/>
                  </a:lnTo>
                  <a:lnTo>
                    <a:pt x="13684" y="10169"/>
                  </a:lnTo>
                  <a:lnTo>
                    <a:pt x="13715" y="10087"/>
                  </a:lnTo>
                  <a:lnTo>
                    <a:pt x="13745" y="10004"/>
                  </a:lnTo>
                  <a:lnTo>
                    <a:pt x="15286" y="9697"/>
                  </a:lnTo>
                  <a:lnTo>
                    <a:pt x="15329" y="9687"/>
                  </a:lnTo>
                  <a:lnTo>
                    <a:pt x="15373" y="9675"/>
                  </a:lnTo>
                  <a:lnTo>
                    <a:pt x="15414" y="9661"/>
                  </a:lnTo>
                  <a:lnTo>
                    <a:pt x="15455" y="9646"/>
                  </a:lnTo>
                  <a:lnTo>
                    <a:pt x="15495" y="9629"/>
                  </a:lnTo>
                  <a:lnTo>
                    <a:pt x="15536" y="9611"/>
                  </a:lnTo>
                  <a:lnTo>
                    <a:pt x="15574" y="9591"/>
                  </a:lnTo>
                  <a:lnTo>
                    <a:pt x="15611" y="9570"/>
                  </a:lnTo>
                  <a:lnTo>
                    <a:pt x="15647" y="9547"/>
                  </a:lnTo>
                  <a:lnTo>
                    <a:pt x="15683" y="9523"/>
                  </a:lnTo>
                  <a:lnTo>
                    <a:pt x="15716" y="9497"/>
                  </a:lnTo>
                  <a:lnTo>
                    <a:pt x="15749" y="9470"/>
                  </a:lnTo>
                  <a:lnTo>
                    <a:pt x="15780" y="9441"/>
                  </a:lnTo>
                  <a:lnTo>
                    <a:pt x="15810" y="9412"/>
                  </a:lnTo>
                  <a:lnTo>
                    <a:pt x="15839" y="9380"/>
                  </a:lnTo>
                  <a:lnTo>
                    <a:pt x="15867" y="9348"/>
                  </a:lnTo>
                  <a:lnTo>
                    <a:pt x="15893" y="9315"/>
                  </a:lnTo>
                  <a:lnTo>
                    <a:pt x="15918" y="9280"/>
                  </a:lnTo>
                  <a:lnTo>
                    <a:pt x="15941" y="9245"/>
                  </a:lnTo>
                  <a:lnTo>
                    <a:pt x="15963" y="9209"/>
                  </a:lnTo>
                  <a:lnTo>
                    <a:pt x="15983" y="9172"/>
                  </a:lnTo>
                  <a:lnTo>
                    <a:pt x="16002" y="9134"/>
                  </a:lnTo>
                  <a:lnTo>
                    <a:pt x="16020" y="9094"/>
                  </a:lnTo>
                  <a:lnTo>
                    <a:pt x="16035" y="9054"/>
                  </a:lnTo>
                  <a:lnTo>
                    <a:pt x="16049" y="9014"/>
                  </a:lnTo>
                  <a:lnTo>
                    <a:pt x="16061" y="8972"/>
                  </a:lnTo>
                  <a:lnTo>
                    <a:pt x="16071" y="8931"/>
                  </a:lnTo>
                  <a:lnTo>
                    <a:pt x="16080" y="8888"/>
                  </a:lnTo>
                  <a:lnTo>
                    <a:pt x="16086" y="8844"/>
                  </a:lnTo>
                  <a:lnTo>
                    <a:pt x="16091" y="8801"/>
                  </a:lnTo>
                  <a:lnTo>
                    <a:pt x="16094" y="8757"/>
                  </a:lnTo>
                  <a:lnTo>
                    <a:pt x="16095" y="8712"/>
                  </a:lnTo>
                  <a:lnTo>
                    <a:pt x="16095" y="7347"/>
                  </a:lnTo>
                  <a:lnTo>
                    <a:pt x="16094" y="7302"/>
                  </a:lnTo>
                  <a:lnTo>
                    <a:pt x="16091" y="7258"/>
                  </a:lnTo>
                  <a:lnTo>
                    <a:pt x="16086" y="7215"/>
                  </a:lnTo>
                  <a:lnTo>
                    <a:pt x="16080" y="7171"/>
                  </a:lnTo>
                  <a:lnTo>
                    <a:pt x="16071" y="7128"/>
                  </a:lnTo>
                  <a:lnTo>
                    <a:pt x="16061" y="7086"/>
                  </a:lnTo>
                  <a:lnTo>
                    <a:pt x="16049" y="7045"/>
                  </a:lnTo>
                  <a:lnTo>
                    <a:pt x="16035" y="7005"/>
                  </a:lnTo>
                  <a:lnTo>
                    <a:pt x="16020" y="6965"/>
                  </a:lnTo>
                  <a:lnTo>
                    <a:pt x="16002" y="6925"/>
                  </a:lnTo>
                  <a:lnTo>
                    <a:pt x="15983" y="6887"/>
                  </a:lnTo>
                  <a:lnTo>
                    <a:pt x="15963" y="6850"/>
                  </a:lnTo>
                  <a:lnTo>
                    <a:pt x="15941" y="6813"/>
                  </a:lnTo>
                  <a:lnTo>
                    <a:pt x="15918" y="6778"/>
                  </a:lnTo>
                  <a:lnTo>
                    <a:pt x="15893" y="6744"/>
                  </a:lnTo>
                  <a:lnTo>
                    <a:pt x="15867" y="6711"/>
                  </a:lnTo>
                  <a:lnTo>
                    <a:pt x="15839" y="6679"/>
                  </a:lnTo>
                  <a:lnTo>
                    <a:pt x="15810" y="6647"/>
                  </a:lnTo>
                  <a:lnTo>
                    <a:pt x="15780" y="6617"/>
                  </a:lnTo>
                  <a:lnTo>
                    <a:pt x="15749" y="6589"/>
                  </a:lnTo>
                  <a:lnTo>
                    <a:pt x="15716" y="6562"/>
                  </a:lnTo>
                  <a:lnTo>
                    <a:pt x="15683" y="6536"/>
                  </a:lnTo>
                  <a:lnTo>
                    <a:pt x="15647" y="6512"/>
                  </a:lnTo>
                  <a:lnTo>
                    <a:pt x="15611" y="6489"/>
                  </a:lnTo>
                  <a:lnTo>
                    <a:pt x="15574" y="6467"/>
                  </a:lnTo>
                  <a:lnTo>
                    <a:pt x="15536" y="6448"/>
                  </a:lnTo>
                  <a:lnTo>
                    <a:pt x="15495" y="6429"/>
                  </a:lnTo>
                  <a:lnTo>
                    <a:pt x="15455" y="6413"/>
                  </a:lnTo>
                  <a:lnTo>
                    <a:pt x="15414" y="6398"/>
                  </a:lnTo>
                  <a:lnTo>
                    <a:pt x="15373" y="6383"/>
                  </a:lnTo>
                  <a:lnTo>
                    <a:pt x="15329" y="6372"/>
                  </a:lnTo>
                  <a:lnTo>
                    <a:pt x="15286" y="6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9" name="îṥľïḍe">
              <a:extLst>
                <a:ext uri="{FF2B5EF4-FFF2-40B4-BE49-F238E27FC236}">
                  <a16:creationId xmlns:a16="http://schemas.microsoft.com/office/drawing/2014/main" id="{DE9A7D57-F54C-44A1-BD61-952F544DABB4}"/>
                </a:ext>
              </a:extLst>
            </p:cNvPr>
            <p:cNvSpPr/>
            <p:nvPr/>
          </p:nvSpPr>
          <p:spPr bwMode="auto">
            <a:xfrm>
              <a:off x="1191294" y="1167056"/>
              <a:ext cx="119065" cy="118442"/>
            </a:xfrm>
            <a:custGeom>
              <a:avLst/>
              <a:gdLst>
                <a:gd name="T0" fmla="*/ 2899 w 7040"/>
                <a:gd name="T1" fmla="*/ 6524 h 7025"/>
                <a:gd name="T2" fmla="*/ 2185 w 7040"/>
                <a:gd name="T3" fmla="*/ 6283 h 7025"/>
                <a:gd name="T4" fmla="*/ 1560 w 7040"/>
                <a:gd name="T5" fmla="*/ 5884 h 7025"/>
                <a:gd name="T6" fmla="*/ 1051 w 7040"/>
                <a:gd name="T7" fmla="*/ 5351 h 7025"/>
                <a:gd name="T8" fmla="*/ 682 w 7040"/>
                <a:gd name="T9" fmla="*/ 4709 h 7025"/>
                <a:gd name="T10" fmla="*/ 475 w 7040"/>
                <a:gd name="T11" fmla="*/ 3980 h 7025"/>
                <a:gd name="T12" fmla="*/ 455 w 7040"/>
                <a:gd name="T13" fmla="*/ 3198 h 7025"/>
                <a:gd name="T14" fmla="*/ 626 w 7040"/>
                <a:gd name="T15" fmla="*/ 2456 h 7025"/>
                <a:gd name="T16" fmla="*/ 965 w 7040"/>
                <a:gd name="T17" fmla="*/ 1794 h 7025"/>
                <a:gd name="T18" fmla="*/ 1448 w 7040"/>
                <a:gd name="T19" fmla="*/ 1237 h 7025"/>
                <a:gd name="T20" fmla="*/ 2052 w 7040"/>
                <a:gd name="T21" fmla="*/ 810 h 7025"/>
                <a:gd name="T22" fmla="*/ 2750 w 7040"/>
                <a:gd name="T23" fmla="*/ 536 h 7025"/>
                <a:gd name="T24" fmla="*/ 3520 w 7040"/>
                <a:gd name="T25" fmla="*/ 439 h 7025"/>
                <a:gd name="T26" fmla="*/ 4289 w 7040"/>
                <a:gd name="T27" fmla="*/ 536 h 7025"/>
                <a:gd name="T28" fmla="*/ 4988 w 7040"/>
                <a:gd name="T29" fmla="*/ 810 h 7025"/>
                <a:gd name="T30" fmla="*/ 5591 w 7040"/>
                <a:gd name="T31" fmla="*/ 1237 h 7025"/>
                <a:gd name="T32" fmla="*/ 6075 w 7040"/>
                <a:gd name="T33" fmla="*/ 1794 h 7025"/>
                <a:gd name="T34" fmla="*/ 6414 w 7040"/>
                <a:gd name="T35" fmla="*/ 2456 h 7025"/>
                <a:gd name="T36" fmla="*/ 6585 w 7040"/>
                <a:gd name="T37" fmla="*/ 3198 h 7025"/>
                <a:gd name="T38" fmla="*/ 6565 w 7040"/>
                <a:gd name="T39" fmla="*/ 3980 h 7025"/>
                <a:gd name="T40" fmla="*/ 6358 w 7040"/>
                <a:gd name="T41" fmla="*/ 4709 h 7025"/>
                <a:gd name="T42" fmla="*/ 5988 w 7040"/>
                <a:gd name="T43" fmla="*/ 5351 h 7025"/>
                <a:gd name="T44" fmla="*/ 5479 w 7040"/>
                <a:gd name="T45" fmla="*/ 5884 h 7025"/>
                <a:gd name="T46" fmla="*/ 4855 w 7040"/>
                <a:gd name="T47" fmla="*/ 6283 h 7025"/>
                <a:gd name="T48" fmla="*/ 4140 w 7040"/>
                <a:gd name="T49" fmla="*/ 6524 h 7025"/>
                <a:gd name="T50" fmla="*/ 3520 w 7040"/>
                <a:gd name="T51" fmla="*/ 0 h 7025"/>
                <a:gd name="T52" fmla="*/ 2640 w 7040"/>
                <a:gd name="T53" fmla="*/ 110 h 7025"/>
                <a:gd name="T54" fmla="*/ 1842 w 7040"/>
                <a:gd name="T55" fmla="*/ 424 h 7025"/>
                <a:gd name="T56" fmla="*/ 1153 w 7040"/>
                <a:gd name="T57" fmla="*/ 912 h 7025"/>
                <a:gd name="T58" fmla="*/ 600 w 7040"/>
                <a:gd name="T59" fmla="*/ 1548 h 7025"/>
                <a:gd name="T60" fmla="*/ 213 w 7040"/>
                <a:gd name="T61" fmla="*/ 2305 h 7025"/>
                <a:gd name="T62" fmla="*/ 18 w 7040"/>
                <a:gd name="T63" fmla="*/ 3153 h 7025"/>
                <a:gd name="T64" fmla="*/ 40 w 7040"/>
                <a:gd name="T65" fmla="*/ 4047 h 7025"/>
                <a:gd name="T66" fmla="*/ 276 w 7040"/>
                <a:gd name="T67" fmla="*/ 4880 h 7025"/>
                <a:gd name="T68" fmla="*/ 699 w 7040"/>
                <a:gd name="T69" fmla="*/ 5614 h 7025"/>
                <a:gd name="T70" fmla="*/ 1280 w 7040"/>
                <a:gd name="T71" fmla="*/ 6222 h 7025"/>
                <a:gd name="T72" fmla="*/ 1993 w 7040"/>
                <a:gd name="T73" fmla="*/ 6678 h 7025"/>
                <a:gd name="T74" fmla="*/ 2810 w 7040"/>
                <a:gd name="T75" fmla="*/ 6953 h 7025"/>
                <a:gd name="T76" fmla="*/ 3702 w 7040"/>
                <a:gd name="T77" fmla="*/ 7020 h 7025"/>
                <a:gd name="T78" fmla="*/ 4567 w 7040"/>
                <a:gd name="T79" fmla="*/ 6867 h 7025"/>
                <a:gd name="T80" fmla="*/ 5345 w 7040"/>
                <a:gd name="T81" fmla="*/ 6517 h 7025"/>
                <a:gd name="T82" fmla="*/ 6009 w 7040"/>
                <a:gd name="T83" fmla="*/ 5996 h 7025"/>
                <a:gd name="T84" fmla="*/ 6531 w 7040"/>
                <a:gd name="T85" fmla="*/ 5333 h 7025"/>
                <a:gd name="T86" fmla="*/ 6882 w 7040"/>
                <a:gd name="T87" fmla="*/ 4556 h 7025"/>
                <a:gd name="T88" fmla="*/ 7036 w 7040"/>
                <a:gd name="T89" fmla="*/ 3693 h 7025"/>
                <a:gd name="T90" fmla="*/ 6969 w 7040"/>
                <a:gd name="T91" fmla="*/ 2805 h 7025"/>
                <a:gd name="T92" fmla="*/ 6693 w 7040"/>
                <a:gd name="T93" fmla="*/ 1990 h 7025"/>
                <a:gd name="T94" fmla="*/ 6237 w 7040"/>
                <a:gd name="T95" fmla="*/ 1278 h 7025"/>
                <a:gd name="T96" fmla="*/ 5626 w 7040"/>
                <a:gd name="T97" fmla="*/ 697 h 7025"/>
                <a:gd name="T98" fmla="*/ 4891 w 7040"/>
                <a:gd name="T99" fmla="*/ 276 h 7025"/>
                <a:gd name="T100" fmla="*/ 4056 w 7040"/>
                <a:gd name="T101" fmla="*/ 40 h 7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40" h="7025">
                  <a:moveTo>
                    <a:pt x="3520" y="6586"/>
                  </a:moveTo>
                  <a:lnTo>
                    <a:pt x="3362" y="6582"/>
                  </a:lnTo>
                  <a:lnTo>
                    <a:pt x="3205" y="6570"/>
                  </a:lnTo>
                  <a:lnTo>
                    <a:pt x="3051" y="6551"/>
                  </a:lnTo>
                  <a:lnTo>
                    <a:pt x="2899" y="6524"/>
                  </a:lnTo>
                  <a:lnTo>
                    <a:pt x="2750" y="6489"/>
                  </a:lnTo>
                  <a:lnTo>
                    <a:pt x="2604" y="6447"/>
                  </a:lnTo>
                  <a:lnTo>
                    <a:pt x="2460" y="6399"/>
                  </a:lnTo>
                  <a:lnTo>
                    <a:pt x="2320" y="6344"/>
                  </a:lnTo>
                  <a:lnTo>
                    <a:pt x="2185" y="6283"/>
                  </a:lnTo>
                  <a:lnTo>
                    <a:pt x="2052" y="6214"/>
                  </a:lnTo>
                  <a:lnTo>
                    <a:pt x="1922" y="6141"/>
                  </a:lnTo>
                  <a:lnTo>
                    <a:pt x="1797" y="6061"/>
                  </a:lnTo>
                  <a:lnTo>
                    <a:pt x="1677" y="5976"/>
                  </a:lnTo>
                  <a:lnTo>
                    <a:pt x="1560" y="5884"/>
                  </a:lnTo>
                  <a:lnTo>
                    <a:pt x="1448" y="5788"/>
                  </a:lnTo>
                  <a:lnTo>
                    <a:pt x="1342" y="5685"/>
                  </a:lnTo>
                  <a:lnTo>
                    <a:pt x="1240" y="5579"/>
                  </a:lnTo>
                  <a:lnTo>
                    <a:pt x="1142" y="5468"/>
                  </a:lnTo>
                  <a:lnTo>
                    <a:pt x="1051" y="5351"/>
                  </a:lnTo>
                  <a:lnTo>
                    <a:pt x="965" y="5231"/>
                  </a:lnTo>
                  <a:lnTo>
                    <a:pt x="885" y="5106"/>
                  </a:lnTo>
                  <a:lnTo>
                    <a:pt x="812" y="4977"/>
                  </a:lnTo>
                  <a:lnTo>
                    <a:pt x="743" y="4844"/>
                  </a:lnTo>
                  <a:lnTo>
                    <a:pt x="682" y="4709"/>
                  </a:lnTo>
                  <a:lnTo>
                    <a:pt x="626" y="4569"/>
                  </a:lnTo>
                  <a:lnTo>
                    <a:pt x="578" y="4426"/>
                  </a:lnTo>
                  <a:lnTo>
                    <a:pt x="536" y="4280"/>
                  </a:lnTo>
                  <a:lnTo>
                    <a:pt x="502" y="4132"/>
                  </a:lnTo>
                  <a:lnTo>
                    <a:pt x="475" y="3980"/>
                  </a:lnTo>
                  <a:lnTo>
                    <a:pt x="455" y="3827"/>
                  </a:lnTo>
                  <a:lnTo>
                    <a:pt x="443" y="3670"/>
                  </a:lnTo>
                  <a:lnTo>
                    <a:pt x="439" y="3513"/>
                  </a:lnTo>
                  <a:lnTo>
                    <a:pt x="443" y="3354"/>
                  </a:lnTo>
                  <a:lnTo>
                    <a:pt x="455" y="3198"/>
                  </a:lnTo>
                  <a:lnTo>
                    <a:pt x="475" y="3044"/>
                  </a:lnTo>
                  <a:lnTo>
                    <a:pt x="502" y="2893"/>
                  </a:lnTo>
                  <a:lnTo>
                    <a:pt x="536" y="2745"/>
                  </a:lnTo>
                  <a:lnTo>
                    <a:pt x="578" y="2598"/>
                  </a:lnTo>
                  <a:lnTo>
                    <a:pt x="626" y="2456"/>
                  </a:lnTo>
                  <a:lnTo>
                    <a:pt x="682" y="2316"/>
                  </a:lnTo>
                  <a:lnTo>
                    <a:pt x="743" y="2180"/>
                  </a:lnTo>
                  <a:lnTo>
                    <a:pt x="812" y="2047"/>
                  </a:lnTo>
                  <a:lnTo>
                    <a:pt x="885" y="1919"/>
                  </a:lnTo>
                  <a:lnTo>
                    <a:pt x="965" y="1794"/>
                  </a:lnTo>
                  <a:lnTo>
                    <a:pt x="1051" y="1674"/>
                  </a:lnTo>
                  <a:lnTo>
                    <a:pt x="1142" y="1557"/>
                  </a:lnTo>
                  <a:lnTo>
                    <a:pt x="1240" y="1446"/>
                  </a:lnTo>
                  <a:lnTo>
                    <a:pt x="1342" y="1340"/>
                  </a:lnTo>
                  <a:lnTo>
                    <a:pt x="1448" y="1237"/>
                  </a:lnTo>
                  <a:lnTo>
                    <a:pt x="1560" y="1141"/>
                  </a:lnTo>
                  <a:lnTo>
                    <a:pt x="1677" y="1049"/>
                  </a:lnTo>
                  <a:lnTo>
                    <a:pt x="1797" y="964"/>
                  </a:lnTo>
                  <a:lnTo>
                    <a:pt x="1922" y="884"/>
                  </a:lnTo>
                  <a:lnTo>
                    <a:pt x="2052" y="810"/>
                  </a:lnTo>
                  <a:lnTo>
                    <a:pt x="2185" y="742"/>
                  </a:lnTo>
                  <a:lnTo>
                    <a:pt x="2320" y="680"/>
                  </a:lnTo>
                  <a:lnTo>
                    <a:pt x="2460" y="625"/>
                  </a:lnTo>
                  <a:lnTo>
                    <a:pt x="2604" y="577"/>
                  </a:lnTo>
                  <a:lnTo>
                    <a:pt x="2750" y="536"/>
                  </a:lnTo>
                  <a:lnTo>
                    <a:pt x="2899" y="501"/>
                  </a:lnTo>
                  <a:lnTo>
                    <a:pt x="3051" y="474"/>
                  </a:lnTo>
                  <a:lnTo>
                    <a:pt x="3205" y="454"/>
                  </a:lnTo>
                  <a:lnTo>
                    <a:pt x="3362" y="443"/>
                  </a:lnTo>
                  <a:lnTo>
                    <a:pt x="3520" y="439"/>
                  </a:lnTo>
                  <a:lnTo>
                    <a:pt x="3678" y="443"/>
                  </a:lnTo>
                  <a:lnTo>
                    <a:pt x="3834" y="454"/>
                  </a:lnTo>
                  <a:lnTo>
                    <a:pt x="3989" y="474"/>
                  </a:lnTo>
                  <a:lnTo>
                    <a:pt x="4140" y="501"/>
                  </a:lnTo>
                  <a:lnTo>
                    <a:pt x="4289" y="536"/>
                  </a:lnTo>
                  <a:lnTo>
                    <a:pt x="4436" y="577"/>
                  </a:lnTo>
                  <a:lnTo>
                    <a:pt x="4579" y="625"/>
                  </a:lnTo>
                  <a:lnTo>
                    <a:pt x="4719" y="680"/>
                  </a:lnTo>
                  <a:lnTo>
                    <a:pt x="4855" y="742"/>
                  </a:lnTo>
                  <a:lnTo>
                    <a:pt x="4988" y="810"/>
                  </a:lnTo>
                  <a:lnTo>
                    <a:pt x="5117" y="884"/>
                  </a:lnTo>
                  <a:lnTo>
                    <a:pt x="5242" y="964"/>
                  </a:lnTo>
                  <a:lnTo>
                    <a:pt x="5362" y="1049"/>
                  </a:lnTo>
                  <a:lnTo>
                    <a:pt x="5479" y="1141"/>
                  </a:lnTo>
                  <a:lnTo>
                    <a:pt x="5591" y="1237"/>
                  </a:lnTo>
                  <a:lnTo>
                    <a:pt x="5698" y="1340"/>
                  </a:lnTo>
                  <a:lnTo>
                    <a:pt x="5800" y="1446"/>
                  </a:lnTo>
                  <a:lnTo>
                    <a:pt x="5897" y="1557"/>
                  </a:lnTo>
                  <a:lnTo>
                    <a:pt x="5988" y="1674"/>
                  </a:lnTo>
                  <a:lnTo>
                    <a:pt x="6075" y="1794"/>
                  </a:lnTo>
                  <a:lnTo>
                    <a:pt x="6154" y="1919"/>
                  </a:lnTo>
                  <a:lnTo>
                    <a:pt x="6228" y="2047"/>
                  </a:lnTo>
                  <a:lnTo>
                    <a:pt x="6297" y="2180"/>
                  </a:lnTo>
                  <a:lnTo>
                    <a:pt x="6358" y="2316"/>
                  </a:lnTo>
                  <a:lnTo>
                    <a:pt x="6414" y="2456"/>
                  </a:lnTo>
                  <a:lnTo>
                    <a:pt x="6462" y="2598"/>
                  </a:lnTo>
                  <a:lnTo>
                    <a:pt x="6503" y="2745"/>
                  </a:lnTo>
                  <a:lnTo>
                    <a:pt x="6538" y="2893"/>
                  </a:lnTo>
                  <a:lnTo>
                    <a:pt x="6565" y="3044"/>
                  </a:lnTo>
                  <a:lnTo>
                    <a:pt x="6585" y="3198"/>
                  </a:lnTo>
                  <a:lnTo>
                    <a:pt x="6597" y="3354"/>
                  </a:lnTo>
                  <a:lnTo>
                    <a:pt x="6601" y="3513"/>
                  </a:lnTo>
                  <a:lnTo>
                    <a:pt x="6597" y="3670"/>
                  </a:lnTo>
                  <a:lnTo>
                    <a:pt x="6585" y="3827"/>
                  </a:lnTo>
                  <a:lnTo>
                    <a:pt x="6565" y="3980"/>
                  </a:lnTo>
                  <a:lnTo>
                    <a:pt x="6538" y="4132"/>
                  </a:lnTo>
                  <a:lnTo>
                    <a:pt x="6503" y="4280"/>
                  </a:lnTo>
                  <a:lnTo>
                    <a:pt x="6462" y="4426"/>
                  </a:lnTo>
                  <a:lnTo>
                    <a:pt x="6414" y="4569"/>
                  </a:lnTo>
                  <a:lnTo>
                    <a:pt x="6358" y="4709"/>
                  </a:lnTo>
                  <a:lnTo>
                    <a:pt x="6297" y="4844"/>
                  </a:lnTo>
                  <a:lnTo>
                    <a:pt x="6228" y="4977"/>
                  </a:lnTo>
                  <a:lnTo>
                    <a:pt x="6154" y="5106"/>
                  </a:lnTo>
                  <a:lnTo>
                    <a:pt x="6075" y="5231"/>
                  </a:lnTo>
                  <a:lnTo>
                    <a:pt x="5988" y="5351"/>
                  </a:lnTo>
                  <a:lnTo>
                    <a:pt x="5897" y="5468"/>
                  </a:lnTo>
                  <a:lnTo>
                    <a:pt x="5800" y="5579"/>
                  </a:lnTo>
                  <a:lnTo>
                    <a:pt x="5698" y="5685"/>
                  </a:lnTo>
                  <a:lnTo>
                    <a:pt x="5591" y="5788"/>
                  </a:lnTo>
                  <a:lnTo>
                    <a:pt x="5479" y="5884"/>
                  </a:lnTo>
                  <a:lnTo>
                    <a:pt x="5362" y="5976"/>
                  </a:lnTo>
                  <a:lnTo>
                    <a:pt x="5242" y="6061"/>
                  </a:lnTo>
                  <a:lnTo>
                    <a:pt x="5117" y="6141"/>
                  </a:lnTo>
                  <a:lnTo>
                    <a:pt x="4988" y="6214"/>
                  </a:lnTo>
                  <a:lnTo>
                    <a:pt x="4855" y="6283"/>
                  </a:lnTo>
                  <a:lnTo>
                    <a:pt x="4719" y="6344"/>
                  </a:lnTo>
                  <a:lnTo>
                    <a:pt x="4579" y="6399"/>
                  </a:lnTo>
                  <a:lnTo>
                    <a:pt x="4436" y="6447"/>
                  </a:lnTo>
                  <a:lnTo>
                    <a:pt x="4289" y="6489"/>
                  </a:lnTo>
                  <a:lnTo>
                    <a:pt x="4140" y="6524"/>
                  </a:lnTo>
                  <a:lnTo>
                    <a:pt x="3989" y="6551"/>
                  </a:lnTo>
                  <a:lnTo>
                    <a:pt x="3834" y="6570"/>
                  </a:lnTo>
                  <a:lnTo>
                    <a:pt x="3678" y="6582"/>
                  </a:lnTo>
                  <a:lnTo>
                    <a:pt x="3520" y="6586"/>
                  </a:lnTo>
                  <a:close/>
                  <a:moveTo>
                    <a:pt x="3520" y="0"/>
                  </a:moveTo>
                  <a:lnTo>
                    <a:pt x="3338" y="5"/>
                  </a:lnTo>
                  <a:lnTo>
                    <a:pt x="3160" y="18"/>
                  </a:lnTo>
                  <a:lnTo>
                    <a:pt x="2984" y="40"/>
                  </a:lnTo>
                  <a:lnTo>
                    <a:pt x="2810" y="71"/>
                  </a:lnTo>
                  <a:lnTo>
                    <a:pt x="2640" y="110"/>
                  </a:lnTo>
                  <a:lnTo>
                    <a:pt x="2473" y="157"/>
                  </a:lnTo>
                  <a:lnTo>
                    <a:pt x="2309" y="213"/>
                  </a:lnTo>
                  <a:lnTo>
                    <a:pt x="2149" y="276"/>
                  </a:lnTo>
                  <a:lnTo>
                    <a:pt x="1993" y="346"/>
                  </a:lnTo>
                  <a:lnTo>
                    <a:pt x="1842" y="424"/>
                  </a:lnTo>
                  <a:lnTo>
                    <a:pt x="1695" y="508"/>
                  </a:lnTo>
                  <a:lnTo>
                    <a:pt x="1552" y="600"/>
                  </a:lnTo>
                  <a:lnTo>
                    <a:pt x="1414" y="697"/>
                  </a:lnTo>
                  <a:lnTo>
                    <a:pt x="1280" y="802"/>
                  </a:lnTo>
                  <a:lnTo>
                    <a:pt x="1153" y="912"/>
                  </a:lnTo>
                  <a:lnTo>
                    <a:pt x="1031" y="1028"/>
                  </a:lnTo>
                  <a:lnTo>
                    <a:pt x="914" y="1151"/>
                  </a:lnTo>
                  <a:lnTo>
                    <a:pt x="803" y="1278"/>
                  </a:lnTo>
                  <a:lnTo>
                    <a:pt x="699" y="1411"/>
                  </a:lnTo>
                  <a:lnTo>
                    <a:pt x="600" y="1548"/>
                  </a:lnTo>
                  <a:lnTo>
                    <a:pt x="509" y="1691"/>
                  </a:lnTo>
                  <a:lnTo>
                    <a:pt x="424" y="1838"/>
                  </a:lnTo>
                  <a:lnTo>
                    <a:pt x="347" y="1990"/>
                  </a:lnTo>
                  <a:lnTo>
                    <a:pt x="276" y="2145"/>
                  </a:lnTo>
                  <a:lnTo>
                    <a:pt x="213" y="2305"/>
                  </a:lnTo>
                  <a:lnTo>
                    <a:pt x="158" y="2468"/>
                  </a:lnTo>
                  <a:lnTo>
                    <a:pt x="110" y="2634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4" y="3332"/>
                  </a:lnTo>
                  <a:lnTo>
                    <a:pt x="0" y="3513"/>
                  </a:lnTo>
                  <a:lnTo>
                    <a:pt x="4" y="3693"/>
                  </a:lnTo>
                  <a:lnTo>
                    <a:pt x="18" y="3872"/>
                  </a:lnTo>
                  <a:lnTo>
                    <a:pt x="40" y="4047"/>
                  </a:lnTo>
                  <a:lnTo>
                    <a:pt x="71" y="4220"/>
                  </a:lnTo>
                  <a:lnTo>
                    <a:pt x="110" y="4390"/>
                  </a:lnTo>
                  <a:lnTo>
                    <a:pt x="158" y="4556"/>
                  </a:lnTo>
                  <a:lnTo>
                    <a:pt x="213" y="4720"/>
                  </a:lnTo>
                  <a:lnTo>
                    <a:pt x="276" y="4880"/>
                  </a:lnTo>
                  <a:lnTo>
                    <a:pt x="347" y="5035"/>
                  </a:lnTo>
                  <a:lnTo>
                    <a:pt x="424" y="5187"/>
                  </a:lnTo>
                  <a:lnTo>
                    <a:pt x="509" y="5333"/>
                  </a:lnTo>
                  <a:lnTo>
                    <a:pt x="600" y="5476"/>
                  </a:lnTo>
                  <a:lnTo>
                    <a:pt x="699" y="5614"/>
                  </a:lnTo>
                  <a:lnTo>
                    <a:pt x="803" y="5747"/>
                  </a:lnTo>
                  <a:lnTo>
                    <a:pt x="914" y="5874"/>
                  </a:lnTo>
                  <a:lnTo>
                    <a:pt x="1031" y="5996"/>
                  </a:lnTo>
                  <a:lnTo>
                    <a:pt x="1153" y="6112"/>
                  </a:lnTo>
                  <a:lnTo>
                    <a:pt x="1280" y="6222"/>
                  </a:lnTo>
                  <a:lnTo>
                    <a:pt x="1414" y="6327"/>
                  </a:lnTo>
                  <a:lnTo>
                    <a:pt x="1552" y="6425"/>
                  </a:lnTo>
                  <a:lnTo>
                    <a:pt x="1695" y="6517"/>
                  </a:lnTo>
                  <a:lnTo>
                    <a:pt x="1842" y="6601"/>
                  </a:lnTo>
                  <a:lnTo>
                    <a:pt x="1993" y="6678"/>
                  </a:lnTo>
                  <a:lnTo>
                    <a:pt x="2149" y="6748"/>
                  </a:lnTo>
                  <a:lnTo>
                    <a:pt x="2309" y="6812"/>
                  </a:lnTo>
                  <a:lnTo>
                    <a:pt x="2473" y="6867"/>
                  </a:lnTo>
                  <a:lnTo>
                    <a:pt x="2640" y="6914"/>
                  </a:lnTo>
                  <a:lnTo>
                    <a:pt x="2810" y="6953"/>
                  </a:lnTo>
                  <a:lnTo>
                    <a:pt x="2984" y="6984"/>
                  </a:lnTo>
                  <a:lnTo>
                    <a:pt x="3160" y="7006"/>
                  </a:lnTo>
                  <a:lnTo>
                    <a:pt x="3338" y="7020"/>
                  </a:lnTo>
                  <a:lnTo>
                    <a:pt x="3520" y="7025"/>
                  </a:lnTo>
                  <a:lnTo>
                    <a:pt x="3702" y="7020"/>
                  </a:lnTo>
                  <a:lnTo>
                    <a:pt x="3880" y="7006"/>
                  </a:lnTo>
                  <a:lnTo>
                    <a:pt x="4056" y="6984"/>
                  </a:lnTo>
                  <a:lnTo>
                    <a:pt x="4230" y="6953"/>
                  </a:lnTo>
                  <a:lnTo>
                    <a:pt x="4400" y="6914"/>
                  </a:lnTo>
                  <a:lnTo>
                    <a:pt x="4567" y="6867"/>
                  </a:lnTo>
                  <a:lnTo>
                    <a:pt x="4731" y="6812"/>
                  </a:lnTo>
                  <a:lnTo>
                    <a:pt x="4891" y="6748"/>
                  </a:lnTo>
                  <a:lnTo>
                    <a:pt x="5047" y="6678"/>
                  </a:lnTo>
                  <a:lnTo>
                    <a:pt x="5197" y="6601"/>
                  </a:lnTo>
                  <a:lnTo>
                    <a:pt x="5345" y="6517"/>
                  </a:lnTo>
                  <a:lnTo>
                    <a:pt x="5488" y="6425"/>
                  </a:lnTo>
                  <a:lnTo>
                    <a:pt x="5626" y="6327"/>
                  </a:lnTo>
                  <a:lnTo>
                    <a:pt x="5759" y="6222"/>
                  </a:lnTo>
                  <a:lnTo>
                    <a:pt x="5886" y="6112"/>
                  </a:lnTo>
                  <a:lnTo>
                    <a:pt x="6009" y="5996"/>
                  </a:lnTo>
                  <a:lnTo>
                    <a:pt x="6126" y="5874"/>
                  </a:lnTo>
                  <a:lnTo>
                    <a:pt x="6237" y="5747"/>
                  </a:lnTo>
                  <a:lnTo>
                    <a:pt x="6341" y="5614"/>
                  </a:lnTo>
                  <a:lnTo>
                    <a:pt x="6439" y="5476"/>
                  </a:lnTo>
                  <a:lnTo>
                    <a:pt x="6531" y="5333"/>
                  </a:lnTo>
                  <a:lnTo>
                    <a:pt x="6616" y="5187"/>
                  </a:lnTo>
                  <a:lnTo>
                    <a:pt x="6693" y="5035"/>
                  </a:lnTo>
                  <a:lnTo>
                    <a:pt x="6764" y="4880"/>
                  </a:lnTo>
                  <a:lnTo>
                    <a:pt x="6827" y="4720"/>
                  </a:lnTo>
                  <a:lnTo>
                    <a:pt x="6882" y="4556"/>
                  </a:lnTo>
                  <a:lnTo>
                    <a:pt x="6930" y="4390"/>
                  </a:lnTo>
                  <a:lnTo>
                    <a:pt x="6969" y="4220"/>
                  </a:lnTo>
                  <a:lnTo>
                    <a:pt x="7000" y="4047"/>
                  </a:lnTo>
                  <a:lnTo>
                    <a:pt x="7022" y="3872"/>
                  </a:lnTo>
                  <a:lnTo>
                    <a:pt x="7036" y="3693"/>
                  </a:lnTo>
                  <a:lnTo>
                    <a:pt x="7040" y="3513"/>
                  </a:lnTo>
                  <a:lnTo>
                    <a:pt x="7036" y="3332"/>
                  </a:lnTo>
                  <a:lnTo>
                    <a:pt x="7022" y="3153"/>
                  </a:lnTo>
                  <a:lnTo>
                    <a:pt x="7000" y="2978"/>
                  </a:lnTo>
                  <a:lnTo>
                    <a:pt x="6969" y="2805"/>
                  </a:lnTo>
                  <a:lnTo>
                    <a:pt x="6930" y="2634"/>
                  </a:lnTo>
                  <a:lnTo>
                    <a:pt x="6882" y="2468"/>
                  </a:lnTo>
                  <a:lnTo>
                    <a:pt x="6827" y="2305"/>
                  </a:lnTo>
                  <a:lnTo>
                    <a:pt x="6764" y="2145"/>
                  </a:lnTo>
                  <a:lnTo>
                    <a:pt x="6693" y="1990"/>
                  </a:lnTo>
                  <a:lnTo>
                    <a:pt x="6616" y="1838"/>
                  </a:lnTo>
                  <a:lnTo>
                    <a:pt x="6531" y="1691"/>
                  </a:lnTo>
                  <a:lnTo>
                    <a:pt x="6439" y="1548"/>
                  </a:lnTo>
                  <a:lnTo>
                    <a:pt x="6341" y="1411"/>
                  </a:lnTo>
                  <a:lnTo>
                    <a:pt x="6237" y="1278"/>
                  </a:lnTo>
                  <a:lnTo>
                    <a:pt x="6126" y="1151"/>
                  </a:lnTo>
                  <a:lnTo>
                    <a:pt x="6009" y="1028"/>
                  </a:lnTo>
                  <a:lnTo>
                    <a:pt x="5886" y="912"/>
                  </a:lnTo>
                  <a:lnTo>
                    <a:pt x="5759" y="802"/>
                  </a:lnTo>
                  <a:lnTo>
                    <a:pt x="5626" y="697"/>
                  </a:lnTo>
                  <a:lnTo>
                    <a:pt x="5488" y="600"/>
                  </a:lnTo>
                  <a:lnTo>
                    <a:pt x="5345" y="508"/>
                  </a:lnTo>
                  <a:lnTo>
                    <a:pt x="5197" y="424"/>
                  </a:lnTo>
                  <a:lnTo>
                    <a:pt x="5047" y="346"/>
                  </a:lnTo>
                  <a:lnTo>
                    <a:pt x="4891" y="276"/>
                  </a:lnTo>
                  <a:lnTo>
                    <a:pt x="4731" y="213"/>
                  </a:lnTo>
                  <a:lnTo>
                    <a:pt x="4567" y="157"/>
                  </a:lnTo>
                  <a:lnTo>
                    <a:pt x="4400" y="110"/>
                  </a:lnTo>
                  <a:lnTo>
                    <a:pt x="4230" y="71"/>
                  </a:lnTo>
                  <a:lnTo>
                    <a:pt x="4056" y="40"/>
                  </a:lnTo>
                  <a:lnTo>
                    <a:pt x="3880" y="18"/>
                  </a:lnTo>
                  <a:lnTo>
                    <a:pt x="3702" y="5"/>
                  </a:lnTo>
                  <a:lnTo>
                    <a:pt x="35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0" name="iṩlîḓê">
              <a:extLst>
                <a:ext uri="{FF2B5EF4-FFF2-40B4-BE49-F238E27FC236}">
                  <a16:creationId xmlns:a16="http://schemas.microsoft.com/office/drawing/2014/main" id="{A23CA2C1-3B1D-48E7-A5E8-45B8210EEB74}"/>
                </a:ext>
              </a:extLst>
            </p:cNvPr>
            <p:cNvSpPr/>
            <p:nvPr/>
          </p:nvSpPr>
          <p:spPr bwMode="auto">
            <a:xfrm>
              <a:off x="1216853" y="1192615"/>
              <a:ext cx="67948" cy="67325"/>
            </a:xfrm>
            <a:custGeom>
              <a:avLst/>
              <a:gdLst>
                <a:gd name="T0" fmla="*/ 1708 w 4023"/>
                <a:gd name="T1" fmla="*/ 3482 h 4015"/>
                <a:gd name="T2" fmla="*/ 1358 w 4023"/>
                <a:gd name="T3" fmla="*/ 3364 h 4015"/>
                <a:gd name="T4" fmla="*/ 1052 w 4023"/>
                <a:gd name="T5" fmla="*/ 3169 h 4015"/>
                <a:gd name="T6" fmla="*/ 803 w 4023"/>
                <a:gd name="T7" fmla="*/ 2908 h 4015"/>
                <a:gd name="T8" fmla="*/ 621 w 4023"/>
                <a:gd name="T9" fmla="*/ 2593 h 4015"/>
                <a:gd name="T10" fmla="*/ 521 w 4023"/>
                <a:gd name="T11" fmla="*/ 2236 h 4015"/>
                <a:gd name="T12" fmla="*/ 511 w 4023"/>
                <a:gd name="T13" fmla="*/ 1853 h 4015"/>
                <a:gd name="T14" fmla="*/ 595 w 4023"/>
                <a:gd name="T15" fmla="*/ 1490 h 4015"/>
                <a:gd name="T16" fmla="*/ 761 w 4023"/>
                <a:gd name="T17" fmla="*/ 1165 h 4015"/>
                <a:gd name="T18" fmla="*/ 998 w 4023"/>
                <a:gd name="T19" fmla="*/ 893 h 4015"/>
                <a:gd name="T20" fmla="*/ 1293 w 4023"/>
                <a:gd name="T21" fmla="*/ 684 h 4015"/>
                <a:gd name="T22" fmla="*/ 1635 w 4023"/>
                <a:gd name="T23" fmla="*/ 549 h 4015"/>
                <a:gd name="T24" fmla="*/ 2012 w 4023"/>
                <a:gd name="T25" fmla="*/ 502 h 4015"/>
                <a:gd name="T26" fmla="*/ 2389 w 4023"/>
                <a:gd name="T27" fmla="*/ 549 h 4015"/>
                <a:gd name="T28" fmla="*/ 2731 w 4023"/>
                <a:gd name="T29" fmla="*/ 684 h 4015"/>
                <a:gd name="T30" fmla="*/ 3026 w 4023"/>
                <a:gd name="T31" fmla="*/ 893 h 4015"/>
                <a:gd name="T32" fmla="*/ 3263 w 4023"/>
                <a:gd name="T33" fmla="*/ 1165 h 4015"/>
                <a:gd name="T34" fmla="*/ 3429 w 4023"/>
                <a:gd name="T35" fmla="*/ 1490 h 4015"/>
                <a:gd name="T36" fmla="*/ 3513 w 4023"/>
                <a:gd name="T37" fmla="*/ 1853 h 4015"/>
                <a:gd name="T38" fmla="*/ 3503 w 4023"/>
                <a:gd name="T39" fmla="*/ 2236 h 4015"/>
                <a:gd name="T40" fmla="*/ 3402 w 4023"/>
                <a:gd name="T41" fmla="*/ 2593 h 4015"/>
                <a:gd name="T42" fmla="*/ 3221 w 4023"/>
                <a:gd name="T43" fmla="*/ 2908 h 4015"/>
                <a:gd name="T44" fmla="*/ 2971 w 4023"/>
                <a:gd name="T45" fmla="*/ 3169 h 4015"/>
                <a:gd name="T46" fmla="*/ 2665 w 4023"/>
                <a:gd name="T47" fmla="*/ 3364 h 4015"/>
                <a:gd name="T48" fmla="*/ 2316 w 4023"/>
                <a:gd name="T49" fmla="*/ 3482 h 4015"/>
                <a:gd name="T50" fmla="*/ 2012 w 4023"/>
                <a:gd name="T51" fmla="*/ 0 h 4015"/>
                <a:gd name="T52" fmla="*/ 1509 w 4023"/>
                <a:gd name="T53" fmla="*/ 63 h 4015"/>
                <a:gd name="T54" fmla="*/ 1053 w 4023"/>
                <a:gd name="T55" fmla="*/ 242 h 4015"/>
                <a:gd name="T56" fmla="*/ 659 w 4023"/>
                <a:gd name="T57" fmla="*/ 521 h 4015"/>
                <a:gd name="T58" fmla="*/ 344 w 4023"/>
                <a:gd name="T59" fmla="*/ 884 h 4015"/>
                <a:gd name="T60" fmla="*/ 122 w 4023"/>
                <a:gd name="T61" fmla="*/ 1317 h 4015"/>
                <a:gd name="T62" fmla="*/ 11 w 4023"/>
                <a:gd name="T63" fmla="*/ 1802 h 4015"/>
                <a:gd name="T64" fmla="*/ 23 w 4023"/>
                <a:gd name="T65" fmla="*/ 2313 h 4015"/>
                <a:gd name="T66" fmla="*/ 159 w 4023"/>
                <a:gd name="T67" fmla="*/ 2788 h 4015"/>
                <a:gd name="T68" fmla="*/ 399 w 4023"/>
                <a:gd name="T69" fmla="*/ 3209 h 4015"/>
                <a:gd name="T70" fmla="*/ 732 w 4023"/>
                <a:gd name="T71" fmla="*/ 3556 h 4015"/>
                <a:gd name="T72" fmla="*/ 1139 w 4023"/>
                <a:gd name="T73" fmla="*/ 3817 h 4015"/>
                <a:gd name="T74" fmla="*/ 1606 w 4023"/>
                <a:gd name="T75" fmla="*/ 3974 h 4015"/>
                <a:gd name="T76" fmla="*/ 2115 w 4023"/>
                <a:gd name="T77" fmla="*/ 4012 h 4015"/>
                <a:gd name="T78" fmla="*/ 2610 w 4023"/>
                <a:gd name="T79" fmla="*/ 3925 h 4015"/>
                <a:gd name="T80" fmla="*/ 3055 w 4023"/>
                <a:gd name="T81" fmla="*/ 3724 h 4015"/>
                <a:gd name="T82" fmla="*/ 3435 w 4023"/>
                <a:gd name="T83" fmla="*/ 3427 h 4015"/>
                <a:gd name="T84" fmla="*/ 3733 w 4023"/>
                <a:gd name="T85" fmla="*/ 3048 h 4015"/>
                <a:gd name="T86" fmla="*/ 3933 w 4023"/>
                <a:gd name="T87" fmla="*/ 2605 h 4015"/>
                <a:gd name="T88" fmla="*/ 4021 w 4023"/>
                <a:gd name="T89" fmla="*/ 2111 h 4015"/>
                <a:gd name="T90" fmla="*/ 3983 w 4023"/>
                <a:gd name="T91" fmla="*/ 1603 h 4015"/>
                <a:gd name="T92" fmla="*/ 3825 w 4023"/>
                <a:gd name="T93" fmla="*/ 1137 h 4015"/>
                <a:gd name="T94" fmla="*/ 3565 w 4023"/>
                <a:gd name="T95" fmla="*/ 731 h 4015"/>
                <a:gd name="T96" fmla="*/ 3216 w 4023"/>
                <a:gd name="T97" fmla="*/ 399 h 4015"/>
                <a:gd name="T98" fmla="*/ 2795 w 4023"/>
                <a:gd name="T99" fmla="*/ 158 h 4015"/>
                <a:gd name="T100" fmla="*/ 2318 w 4023"/>
                <a:gd name="T101" fmla="*/ 23 h 4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023" h="4015">
                  <a:moveTo>
                    <a:pt x="2012" y="3513"/>
                  </a:moveTo>
                  <a:lnTo>
                    <a:pt x="1934" y="3511"/>
                  </a:lnTo>
                  <a:lnTo>
                    <a:pt x="1858" y="3505"/>
                  </a:lnTo>
                  <a:lnTo>
                    <a:pt x="1782" y="3495"/>
                  </a:lnTo>
                  <a:lnTo>
                    <a:pt x="1708" y="3482"/>
                  </a:lnTo>
                  <a:lnTo>
                    <a:pt x="1635" y="3465"/>
                  </a:lnTo>
                  <a:lnTo>
                    <a:pt x="1564" y="3445"/>
                  </a:lnTo>
                  <a:lnTo>
                    <a:pt x="1493" y="3422"/>
                  </a:lnTo>
                  <a:lnTo>
                    <a:pt x="1425" y="3395"/>
                  </a:lnTo>
                  <a:lnTo>
                    <a:pt x="1358" y="3364"/>
                  </a:lnTo>
                  <a:lnTo>
                    <a:pt x="1293" y="3331"/>
                  </a:lnTo>
                  <a:lnTo>
                    <a:pt x="1230" y="3294"/>
                  </a:lnTo>
                  <a:lnTo>
                    <a:pt x="1169" y="3255"/>
                  </a:lnTo>
                  <a:lnTo>
                    <a:pt x="1109" y="3213"/>
                  </a:lnTo>
                  <a:lnTo>
                    <a:pt x="1052" y="3169"/>
                  </a:lnTo>
                  <a:lnTo>
                    <a:pt x="998" y="3122"/>
                  </a:lnTo>
                  <a:lnTo>
                    <a:pt x="945" y="3071"/>
                  </a:lnTo>
                  <a:lnTo>
                    <a:pt x="895" y="3019"/>
                  </a:lnTo>
                  <a:lnTo>
                    <a:pt x="848" y="2965"/>
                  </a:lnTo>
                  <a:lnTo>
                    <a:pt x="803" y="2908"/>
                  </a:lnTo>
                  <a:lnTo>
                    <a:pt x="761" y="2849"/>
                  </a:lnTo>
                  <a:lnTo>
                    <a:pt x="722" y="2787"/>
                  </a:lnTo>
                  <a:lnTo>
                    <a:pt x="686" y="2725"/>
                  </a:lnTo>
                  <a:lnTo>
                    <a:pt x="651" y="2660"/>
                  </a:lnTo>
                  <a:lnTo>
                    <a:pt x="621" y="2593"/>
                  </a:lnTo>
                  <a:lnTo>
                    <a:pt x="595" y="2524"/>
                  </a:lnTo>
                  <a:lnTo>
                    <a:pt x="571" y="2455"/>
                  </a:lnTo>
                  <a:lnTo>
                    <a:pt x="551" y="2383"/>
                  </a:lnTo>
                  <a:lnTo>
                    <a:pt x="534" y="2311"/>
                  </a:lnTo>
                  <a:lnTo>
                    <a:pt x="521" y="2236"/>
                  </a:lnTo>
                  <a:lnTo>
                    <a:pt x="511" y="2161"/>
                  </a:lnTo>
                  <a:lnTo>
                    <a:pt x="505" y="2085"/>
                  </a:lnTo>
                  <a:lnTo>
                    <a:pt x="504" y="2008"/>
                  </a:lnTo>
                  <a:lnTo>
                    <a:pt x="505" y="1930"/>
                  </a:lnTo>
                  <a:lnTo>
                    <a:pt x="511" y="1853"/>
                  </a:lnTo>
                  <a:lnTo>
                    <a:pt x="521" y="1778"/>
                  </a:lnTo>
                  <a:lnTo>
                    <a:pt x="534" y="1704"/>
                  </a:lnTo>
                  <a:lnTo>
                    <a:pt x="551" y="1631"/>
                  </a:lnTo>
                  <a:lnTo>
                    <a:pt x="571" y="1560"/>
                  </a:lnTo>
                  <a:lnTo>
                    <a:pt x="595" y="1490"/>
                  </a:lnTo>
                  <a:lnTo>
                    <a:pt x="621" y="1421"/>
                  </a:lnTo>
                  <a:lnTo>
                    <a:pt x="651" y="1355"/>
                  </a:lnTo>
                  <a:lnTo>
                    <a:pt x="686" y="1290"/>
                  </a:lnTo>
                  <a:lnTo>
                    <a:pt x="722" y="1227"/>
                  </a:lnTo>
                  <a:lnTo>
                    <a:pt x="761" y="1165"/>
                  </a:lnTo>
                  <a:lnTo>
                    <a:pt x="803" y="1107"/>
                  </a:lnTo>
                  <a:lnTo>
                    <a:pt x="848" y="1050"/>
                  </a:lnTo>
                  <a:lnTo>
                    <a:pt x="895" y="995"/>
                  </a:lnTo>
                  <a:lnTo>
                    <a:pt x="945" y="943"/>
                  </a:lnTo>
                  <a:lnTo>
                    <a:pt x="998" y="893"/>
                  </a:lnTo>
                  <a:lnTo>
                    <a:pt x="1052" y="845"/>
                  </a:lnTo>
                  <a:lnTo>
                    <a:pt x="1109" y="801"/>
                  </a:lnTo>
                  <a:lnTo>
                    <a:pt x="1169" y="759"/>
                  </a:lnTo>
                  <a:lnTo>
                    <a:pt x="1230" y="720"/>
                  </a:lnTo>
                  <a:lnTo>
                    <a:pt x="1293" y="684"/>
                  </a:lnTo>
                  <a:lnTo>
                    <a:pt x="1358" y="651"/>
                  </a:lnTo>
                  <a:lnTo>
                    <a:pt x="1425" y="620"/>
                  </a:lnTo>
                  <a:lnTo>
                    <a:pt x="1493" y="593"/>
                  </a:lnTo>
                  <a:lnTo>
                    <a:pt x="1564" y="569"/>
                  </a:lnTo>
                  <a:lnTo>
                    <a:pt x="1635" y="549"/>
                  </a:lnTo>
                  <a:lnTo>
                    <a:pt x="1708" y="532"/>
                  </a:lnTo>
                  <a:lnTo>
                    <a:pt x="1782" y="519"/>
                  </a:lnTo>
                  <a:lnTo>
                    <a:pt x="1858" y="510"/>
                  </a:lnTo>
                  <a:lnTo>
                    <a:pt x="1934" y="504"/>
                  </a:lnTo>
                  <a:lnTo>
                    <a:pt x="2012" y="502"/>
                  </a:lnTo>
                  <a:lnTo>
                    <a:pt x="2090" y="504"/>
                  </a:lnTo>
                  <a:lnTo>
                    <a:pt x="2166" y="510"/>
                  </a:lnTo>
                  <a:lnTo>
                    <a:pt x="2242" y="519"/>
                  </a:lnTo>
                  <a:lnTo>
                    <a:pt x="2316" y="532"/>
                  </a:lnTo>
                  <a:lnTo>
                    <a:pt x="2389" y="549"/>
                  </a:lnTo>
                  <a:lnTo>
                    <a:pt x="2460" y="569"/>
                  </a:lnTo>
                  <a:lnTo>
                    <a:pt x="2531" y="593"/>
                  </a:lnTo>
                  <a:lnTo>
                    <a:pt x="2599" y="620"/>
                  </a:lnTo>
                  <a:lnTo>
                    <a:pt x="2665" y="651"/>
                  </a:lnTo>
                  <a:lnTo>
                    <a:pt x="2731" y="684"/>
                  </a:lnTo>
                  <a:lnTo>
                    <a:pt x="2794" y="720"/>
                  </a:lnTo>
                  <a:lnTo>
                    <a:pt x="2855" y="759"/>
                  </a:lnTo>
                  <a:lnTo>
                    <a:pt x="2915" y="801"/>
                  </a:lnTo>
                  <a:lnTo>
                    <a:pt x="2971" y="845"/>
                  </a:lnTo>
                  <a:lnTo>
                    <a:pt x="3026" y="893"/>
                  </a:lnTo>
                  <a:lnTo>
                    <a:pt x="3079" y="943"/>
                  </a:lnTo>
                  <a:lnTo>
                    <a:pt x="3129" y="995"/>
                  </a:lnTo>
                  <a:lnTo>
                    <a:pt x="3176" y="1050"/>
                  </a:lnTo>
                  <a:lnTo>
                    <a:pt x="3221" y="1107"/>
                  </a:lnTo>
                  <a:lnTo>
                    <a:pt x="3263" y="1165"/>
                  </a:lnTo>
                  <a:lnTo>
                    <a:pt x="3302" y="1227"/>
                  </a:lnTo>
                  <a:lnTo>
                    <a:pt x="3338" y="1290"/>
                  </a:lnTo>
                  <a:lnTo>
                    <a:pt x="3372" y="1355"/>
                  </a:lnTo>
                  <a:lnTo>
                    <a:pt x="3402" y="1421"/>
                  </a:lnTo>
                  <a:lnTo>
                    <a:pt x="3429" y="1490"/>
                  </a:lnTo>
                  <a:lnTo>
                    <a:pt x="3453" y="1560"/>
                  </a:lnTo>
                  <a:lnTo>
                    <a:pt x="3473" y="1631"/>
                  </a:lnTo>
                  <a:lnTo>
                    <a:pt x="3490" y="1704"/>
                  </a:lnTo>
                  <a:lnTo>
                    <a:pt x="3503" y="1778"/>
                  </a:lnTo>
                  <a:lnTo>
                    <a:pt x="3513" y="1853"/>
                  </a:lnTo>
                  <a:lnTo>
                    <a:pt x="3518" y="1930"/>
                  </a:lnTo>
                  <a:lnTo>
                    <a:pt x="3520" y="2008"/>
                  </a:lnTo>
                  <a:lnTo>
                    <a:pt x="3518" y="2085"/>
                  </a:lnTo>
                  <a:lnTo>
                    <a:pt x="3513" y="2161"/>
                  </a:lnTo>
                  <a:lnTo>
                    <a:pt x="3503" y="2236"/>
                  </a:lnTo>
                  <a:lnTo>
                    <a:pt x="3490" y="2311"/>
                  </a:lnTo>
                  <a:lnTo>
                    <a:pt x="3473" y="2383"/>
                  </a:lnTo>
                  <a:lnTo>
                    <a:pt x="3453" y="2455"/>
                  </a:lnTo>
                  <a:lnTo>
                    <a:pt x="3429" y="2524"/>
                  </a:lnTo>
                  <a:lnTo>
                    <a:pt x="3402" y="2593"/>
                  </a:lnTo>
                  <a:lnTo>
                    <a:pt x="3372" y="2660"/>
                  </a:lnTo>
                  <a:lnTo>
                    <a:pt x="3338" y="2725"/>
                  </a:lnTo>
                  <a:lnTo>
                    <a:pt x="3302" y="2787"/>
                  </a:lnTo>
                  <a:lnTo>
                    <a:pt x="3263" y="2849"/>
                  </a:lnTo>
                  <a:lnTo>
                    <a:pt x="3221" y="2908"/>
                  </a:lnTo>
                  <a:lnTo>
                    <a:pt x="3176" y="2965"/>
                  </a:lnTo>
                  <a:lnTo>
                    <a:pt x="3129" y="3019"/>
                  </a:lnTo>
                  <a:lnTo>
                    <a:pt x="3079" y="3071"/>
                  </a:lnTo>
                  <a:lnTo>
                    <a:pt x="3026" y="3122"/>
                  </a:lnTo>
                  <a:lnTo>
                    <a:pt x="2971" y="3169"/>
                  </a:lnTo>
                  <a:lnTo>
                    <a:pt x="2915" y="3213"/>
                  </a:lnTo>
                  <a:lnTo>
                    <a:pt x="2855" y="3255"/>
                  </a:lnTo>
                  <a:lnTo>
                    <a:pt x="2794" y="3294"/>
                  </a:lnTo>
                  <a:lnTo>
                    <a:pt x="2731" y="3331"/>
                  </a:lnTo>
                  <a:lnTo>
                    <a:pt x="2665" y="3364"/>
                  </a:lnTo>
                  <a:lnTo>
                    <a:pt x="2599" y="3395"/>
                  </a:lnTo>
                  <a:lnTo>
                    <a:pt x="2531" y="3422"/>
                  </a:lnTo>
                  <a:lnTo>
                    <a:pt x="2460" y="3445"/>
                  </a:lnTo>
                  <a:lnTo>
                    <a:pt x="2389" y="3465"/>
                  </a:lnTo>
                  <a:lnTo>
                    <a:pt x="2316" y="3482"/>
                  </a:lnTo>
                  <a:lnTo>
                    <a:pt x="2242" y="3495"/>
                  </a:lnTo>
                  <a:lnTo>
                    <a:pt x="2166" y="3505"/>
                  </a:lnTo>
                  <a:lnTo>
                    <a:pt x="2090" y="3511"/>
                  </a:lnTo>
                  <a:lnTo>
                    <a:pt x="2012" y="3513"/>
                  </a:lnTo>
                  <a:close/>
                  <a:moveTo>
                    <a:pt x="2012" y="0"/>
                  </a:moveTo>
                  <a:lnTo>
                    <a:pt x="1908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2"/>
                  </a:lnTo>
                  <a:lnTo>
                    <a:pt x="968" y="290"/>
                  </a:lnTo>
                  <a:lnTo>
                    <a:pt x="887" y="342"/>
                  </a:lnTo>
                  <a:lnTo>
                    <a:pt x="807" y="399"/>
                  </a:lnTo>
                  <a:lnTo>
                    <a:pt x="732" y="458"/>
                  </a:lnTo>
                  <a:lnTo>
                    <a:pt x="659" y="521"/>
                  </a:lnTo>
                  <a:lnTo>
                    <a:pt x="589" y="587"/>
                  </a:lnTo>
                  <a:lnTo>
                    <a:pt x="523" y="658"/>
                  </a:lnTo>
                  <a:lnTo>
                    <a:pt x="459" y="731"/>
                  </a:lnTo>
                  <a:lnTo>
                    <a:pt x="399" y="806"/>
                  </a:lnTo>
                  <a:lnTo>
                    <a:pt x="344" y="884"/>
                  </a:lnTo>
                  <a:lnTo>
                    <a:pt x="291" y="967"/>
                  </a:lnTo>
                  <a:lnTo>
                    <a:pt x="243" y="1050"/>
                  </a:lnTo>
                  <a:lnTo>
                    <a:pt x="198" y="1137"/>
                  </a:lnTo>
                  <a:lnTo>
                    <a:pt x="159" y="1226"/>
                  </a:lnTo>
                  <a:lnTo>
                    <a:pt x="122" y="1317"/>
                  </a:lnTo>
                  <a:lnTo>
                    <a:pt x="90" y="1410"/>
                  </a:lnTo>
                  <a:lnTo>
                    <a:pt x="63" y="1506"/>
                  </a:lnTo>
                  <a:lnTo>
                    <a:pt x="41" y="1603"/>
                  </a:lnTo>
                  <a:lnTo>
                    <a:pt x="23" y="1701"/>
                  </a:lnTo>
                  <a:lnTo>
                    <a:pt x="11" y="1802"/>
                  </a:lnTo>
                  <a:lnTo>
                    <a:pt x="3" y="1904"/>
                  </a:lnTo>
                  <a:lnTo>
                    <a:pt x="0" y="2008"/>
                  </a:lnTo>
                  <a:lnTo>
                    <a:pt x="3" y="2111"/>
                  </a:lnTo>
                  <a:lnTo>
                    <a:pt x="11" y="2212"/>
                  </a:lnTo>
                  <a:lnTo>
                    <a:pt x="23" y="2313"/>
                  </a:lnTo>
                  <a:lnTo>
                    <a:pt x="41" y="2412"/>
                  </a:lnTo>
                  <a:lnTo>
                    <a:pt x="63" y="2509"/>
                  </a:lnTo>
                  <a:lnTo>
                    <a:pt x="90" y="2605"/>
                  </a:lnTo>
                  <a:lnTo>
                    <a:pt x="122" y="2698"/>
                  </a:lnTo>
                  <a:lnTo>
                    <a:pt x="159" y="2788"/>
                  </a:lnTo>
                  <a:lnTo>
                    <a:pt x="198" y="2878"/>
                  </a:lnTo>
                  <a:lnTo>
                    <a:pt x="243" y="2964"/>
                  </a:lnTo>
                  <a:lnTo>
                    <a:pt x="291" y="3048"/>
                  </a:lnTo>
                  <a:lnTo>
                    <a:pt x="344" y="3130"/>
                  </a:lnTo>
                  <a:lnTo>
                    <a:pt x="399" y="3209"/>
                  </a:lnTo>
                  <a:lnTo>
                    <a:pt x="459" y="3284"/>
                  </a:lnTo>
                  <a:lnTo>
                    <a:pt x="523" y="3357"/>
                  </a:lnTo>
                  <a:lnTo>
                    <a:pt x="589" y="3427"/>
                  </a:lnTo>
                  <a:lnTo>
                    <a:pt x="659" y="3493"/>
                  </a:lnTo>
                  <a:lnTo>
                    <a:pt x="732" y="3556"/>
                  </a:lnTo>
                  <a:lnTo>
                    <a:pt x="807" y="3616"/>
                  </a:lnTo>
                  <a:lnTo>
                    <a:pt x="887" y="3672"/>
                  </a:lnTo>
                  <a:lnTo>
                    <a:pt x="968" y="3724"/>
                  </a:lnTo>
                  <a:lnTo>
                    <a:pt x="1053" y="3772"/>
                  </a:lnTo>
                  <a:lnTo>
                    <a:pt x="1139" y="3817"/>
                  </a:lnTo>
                  <a:lnTo>
                    <a:pt x="1229" y="3857"/>
                  </a:lnTo>
                  <a:lnTo>
                    <a:pt x="1319" y="3892"/>
                  </a:lnTo>
                  <a:lnTo>
                    <a:pt x="1413" y="3925"/>
                  </a:lnTo>
                  <a:lnTo>
                    <a:pt x="1509" y="3952"/>
                  </a:lnTo>
                  <a:lnTo>
                    <a:pt x="1606" y="3974"/>
                  </a:lnTo>
                  <a:lnTo>
                    <a:pt x="1706" y="3992"/>
                  </a:lnTo>
                  <a:lnTo>
                    <a:pt x="1806" y="4004"/>
                  </a:lnTo>
                  <a:lnTo>
                    <a:pt x="1908" y="4012"/>
                  </a:lnTo>
                  <a:lnTo>
                    <a:pt x="2012" y="4015"/>
                  </a:lnTo>
                  <a:lnTo>
                    <a:pt x="2115" y="4012"/>
                  </a:lnTo>
                  <a:lnTo>
                    <a:pt x="2218" y="4004"/>
                  </a:lnTo>
                  <a:lnTo>
                    <a:pt x="2318" y="3992"/>
                  </a:lnTo>
                  <a:lnTo>
                    <a:pt x="2417" y="3974"/>
                  </a:lnTo>
                  <a:lnTo>
                    <a:pt x="2514" y="3952"/>
                  </a:lnTo>
                  <a:lnTo>
                    <a:pt x="2610" y="3925"/>
                  </a:lnTo>
                  <a:lnTo>
                    <a:pt x="2704" y="3892"/>
                  </a:lnTo>
                  <a:lnTo>
                    <a:pt x="2795" y="3857"/>
                  </a:lnTo>
                  <a:lnTo>
                    <a:pt x="2884" y="3817"/>
                  </a:lnTo>
                  <a:lnTo>
                    <a:pt x="2971" y="3772"/>
                  </a:lnTo>
                  <a:lnTo>
                    <a:pt x="3055" y="3724"/>
                  </a:lnTo>
                  <a:lnTo>
                    <a:pt x="3137" y="3672"/>
                  </a:lnTo>
                  <a:lnTo>
                    <a:pt x="3216" y="3616"/>
                  </a:lnTo>
                  <a:lnTo>
                    <a:pt x="3292" y="3556"/>
                  </a:lnTo>
                  <a:lnTo>
                    <a:pt x="3364" y="3493"/>
                  </a:lnTo>
                  <a:lnTo>
                    <a:pt x="3435" y="3427"/>
                  </a:lnTo>
                  <a:lnTo>
                    <a:pt x="3501" y="3357"/>
                  </a:lnTo>
                  <a:lnTo>
                    <a:pt x="3565" y="3284"/>
                  </a:lnTo>
                  <a:lnTo>
                    <a:pt x="3624" y="3209"/>
                  </a:lnTo>
                  <a:lnTo>
                    <a:pt x="3680" y="3130"/>
                  </a:lnTo>
                  <a:lnTo>
                    <a:pt x="3733" y="3048"/>
                  </a:lnTo>
                  <a:lnTo>
                    <a:pt x="3781" y="2964"/>
                  </a:lnTo>
                  <a:lnTo>
                    <a:pt x="3825" y="2878"/>
                  </a:lnTo>
                  <a:lnTo>
                    <a:pt x="3865" y="2788"/>
                  </a:lnTo>
                  <a:lnTo>
                    <a:pt x="3902" y="2698"/>
                  </a:lnTo>
                  <a:lnTo>
                    <a:pt x="3933" y="2605"/>
                  </a:lnTo>
                  <a:lnTo>
                    <a:pt x="3960" y="2509"/>
                  </a:lnTo>
                  <a:lnTo>
                    <a:pt x="3983" y="2412"/>
                  </a:lnTo>
                  <a:lnTo>
                    <a:pt x="4000" y="2313"/>
                  </a:lnTo>
                  <a:lnTo>
                    <a:pt x="4013" y="2212"/>
                  </a:lnTo>
                  <a:lnTo>
                    <a:pt x="4021" y="2111"/>
                  </a:lnTo>
                  <a:lnTo>
                    <a:pt x="4023" y="2008"/>
                  </a:lnTo>
                  <a:lnTo>
                    <a:pt x="4021" y="1904"/>
                  </a:lnTo>
                  <a:lnTo>
                    <a:pt x="4013" y="1802"/>
                  </a:lnTo>
                  <a:lnTo>
                    <a:pt x="4000" y="1701"/>
                  </a:lnTo>
                  <a:lnTo>
                    <a:pt x="3983" y="1603"/>
                  </a:lnTo>
                  <a:lnTo>
                    <a:pt x="3960" y="1506"/>
                  </a:lnTo>
                  <a:lnTo>
                    <a:pt x="3933" y="1410"/>
                  </a:lnTo>
                  <a:lnTo>
                    <a:pt x="3902" y="1317"/>
                  </a:lnTo>
                  <a:lnTo>
                    <a:pt x="3865" y="1226"/>
                  </a:lnTo>
                  <a:lnTo>
                    <a:pt x="3825" y="1137"/>
                  </a:lnTo>
                  <a:lnTo>
                    <a:pt x="3781" y="1050"/>
                  </a:lnTo>
                  <a:lnTo>
                    <a:pt x="3733" y="967"/>
                  </a:lnTo>
                  <a:lnTo>
                    <a:pt x="3680" y="884"/>
                  </a:lnTo>
                  <a:lnTo>
                    <a:pt x="3624" y="806"/>
                  </a:lnTo>
                  <a:lnTo>
                    <a:pt x="3565" y="731"/>
                  </a:lnTo>
                  <a:lnTo>
                    <a:pt x="3501" y="658"/>
                  </a:lnTo>
                  <a:lnTo>
                    <a:pt x="3435" y="587"/>
                  </a:lnTo>
                  <a:lnTo>
                    <a:pt x="3364" y="521"/>
                  </a:lnTo>
                  <a:lnTo>
                    <a:pt x="3292" y="458"/>
                  </a:lnTo>
                  <a:lnTo>
                    <a:pt x="3216" y="399"/>
                  </a:lnTo>
                  <a:lnTo>
                    <a:pt x="3137" y="342"/>
                  </a:lnTo>
                  <a:lnTo>
                    <a:pt x="3055" y="290"/>
                  </a:lnTo>
                  <a:lnTo>
                    <a:pt x="2971" y="242"/>
                  </a:lnTo>
                  <a:lnTo>
                    <a:pt x="2884" y="198"/>
                  </a:lnTo>
                  <a:lnTo>
                    <a:pt x="2795" y="158"/>
                  </a:lnTo>
                  <a:lnTo>
                    <a:pt x="2704" y="122"/>
                  </a:lnTo>
                  <a:lnTo>
                    <a:pt x="2610" y="90"/>
                  </a:lnTo>
                  <a:lnTo>
                    <a:pt x="2514" y="63"/>
                  </a:lnTo>
                  <a:lnTo>
                    <a:pt x="2417" y="41"/>
                  </a:lnTo>
                  <a:lnTo>
                    <a:pt x="2318" y="23"/>
                  </a:lnTo>
                  <a:lnTo>
                    <a:pt x="2218" y="10"/>
                  </a:lnTo>
                  <a:lnTo>
                    <a:pt x="2115" y="3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1" name="îṩḷîḓé">
              <a:extLst>
                <a:ext uri="{FF2B5EF4-FFF2-40B4-BE49-F238E27FC236}">
                  <a16:creationId xmlns:a16="http://schemas.microsoft.com/office/drawing/2014/main" id="{B8A4D02A-A056-4382-AA30-AFFC5FF564BC}"/>
                </a:ext>
              </a:extLst>
            </p:cNvPr>
            <p:cNvSpPr/>
            <p:nvPr/>
          </p:nvSpPr>
          <p:spPr bwMode="auto">
            <a:xfrm>
              <a:off x="3081609" y="351001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2" name="íSľîḍê">
              <a:extLst>
                <a:ext uri="{FF2B5EF4-FFF2-40B4-BE49-F238E27FC236}">
                  <a16:creationId xmlns:a16="http://schemas.microsoft.com/office/drawing/2014/main" id="{8B8C3F99-2C6C-4D83-A118-3DF75C333D8D}"/>
                </a:ext>
              </a:extLst>
            </p:cNvPr>
            <p:cNvSpPr/>
            <p:nvPr/>
          </p:nvSpPr>
          <p:spPr bwMode="auto">
            <a:xfrm>
              <a:off x="3311435" y="466619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3" name="iṧḻiḑe">
              <a:extLst>
                <a:ext uri="{FF2B5EF4-FFF2-40B4-BE49-F238E27FC236}">
                  <a16:creationId xmlns:a16="http://schemas.microsoft.com/office/drawing/2014/main" id="{1B461432-F367-4F5F-86B7-086E1FD3D82C}"/>
                </a:ext>
              </a:extLst>
            </p:cNvPr>
            <p:cNvSpPr/>
            <p:nvPr/>
          </p:nvSpPr>
          <p:spPr bwMode="auto">
            <a:xfrm>
              <a:off x="3253626" y="408810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4" name="ïṥļîḍê">
              <a:extLst>
                <a:ext uri="{FF2B5EF4-FFF2-40B4-BE49-F238E27FC236}">
                  <a16:creationId xmlns:a16="http://schemas.microsoft.com/office/drawing/2014/main" id="{E444E319-C8F9-47AF-9145-897D72DBCFD6}"/>
                </a:ext>
              </a:extLst>
            </p:cNvPr>
            <p:cNvSpPr/>
            <p:nvPr/>
          </p:nvSpPr>
          <p:spPr bwMode="auto">
            <a:xfrm>
              <a:off x="3173842" y="82641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5" name="íśḷïďè">
              <a:extLst>
                <a:ext uri="{FF2B5EF4-FFF2-40B4-BE49-F238E27FC236}">
                  <a16:creationId xmlns:a16="http://schemas.microsoft.com/office/drawing/2014/main" id="{CF5E422E-AED2-4D72-A466-073B9677ADDE}"/>
                </a:ext>
              </a:extLst>
            </p:cNvPr>
            <p:cNvSpPr/>
            <p:nvPr/>
          </p:nvSpPr>
          <p:spPr bwMode="auto">
            <a:xfrm>
              <a:off x="3107808" y="76360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6" name="íSḷidê">
              <a:extLst>
                <a:ext uri="{FF2B5EF4-FFF2-40B4-BE49-F238E27FC236}">
                  <a16:creationId xmlns:a16="http://schemas.microsoft.com/office/drawing/2014/main" id="{E0618037-3E2C-4763-8DB4-C94107E490F8}"/>
                </a:ext>
              </a:extLst>
            </p:cNvPr>
            <p:cNvSpPr/>
            <p:nvPr/>
          </p:nvSpPr>
          <p:spPr bwMode="auto">
            <a:xfrm>
              <a:off x="3190898" y="2095478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7" name="iṣḻïḋè">
              <a:extLst>
                <a:ext uri="{FF2B5EF4-FFF2-40B4-BE49-F238E27FC236}">
                  <a16:creationId xmlns:a16="http://schemas.microsoft.com/office/drawing/2014/main" id="{741E20F8-E14D-4FB5-A710-FDF2B462CBFA}"/>
                </a:ext>
              </a:extLst>
            </p:cNvPr>
            <p:cNvSpPr/>
            <p:nvPr/>
          </p:nvSpPr>
          <p:spPr bwMode="auto">
            <a:xfrm>
              <a:off x="3114760" y="2019340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8" name="islîďé">
              <a:extLst>
                <a:ext uri="{FF2B5EF4-FFF2-40B4-BE49-F238E27FC236}">
                  <a16:creationId xmlns:a16="http://schemas.microsoft.com/office/drawing/2014/main" id="{D14526DB-9BAD-401E-B71F-3AF2DF0A3E45}"/>
                </a:ext>
              </a:extLst>
            </p:cNvPr>
            <p:cNvSpPr/>
            <p:nvPr/>
          </p:nvSpPr>
          <p:spPr bwMode="auto">
            <a:xfrm>
              <a:off x="4703538" y="723769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9" name="i$ḻiďe">
              <a:extLst>
                <a:ext uri="{FF2B5EF4-FFF2-40B4-BE49-F238E27FC236}">
                  <a16:creationId xmlns:a16="http://schemas.microsoft.com/office/drawing/2014/main" id="{B7079F0B-93B8-4749-A49D-9F99A68550BB}"/>
                </a:ext>
              </a:extLst>
            </p:cNvPr>
            <p:cNvSpPr/>
            <p:nvPr/>
          </p:nvSpPr>
          <p:spPr bwMode="auto">
            <a:xfrm>
              <a:off x="5473424" y="45036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0" name="işḻïḋè">
              <a:extLst>
                <a:ext uri="{FF2B5EF4-FFF2-40B4-BE49-F238E27FC236}">
                  <a16:creationId xmlns:a16="http://schemas.microsoft.com/office/drawing/2014/main" id="{66512EAF-1503-4B94-AC00-A4D79F86FC26}"/>
                </a:ext>
              </a:extLst>
            </p:cNvPr>
            <p:cNvSpPr/>
            <p:nvPr/>
          </p:nvSpPr>
          <p:spPr bwMode="auto">
            <a:xfrm>
              <a:off x="5533833" y="105445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1" name="ïṩ1idè">
              <a:extLst>
                <a:ext uri="{FF2B5EF4-FFF2-40B4-BE49-F238E27FC236}">
                  <a16:creationId xmlns:a16="http://schemas.microsoft.com/office/drawing/2014/main" id="{8E3DD644-5F7D-4091-93D1-A1B27E05E529}"/>
                </a:ext>
              </a:extLst>
            </p:cNvPr>
            <p:cNvSpPr/>
            <p:nvPr/>
          </p:nvSpPr>
          <p:spPr bwMode="auto">
            <a:xfrm>
              <a:off x="5099405" y="280124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2" name="išḷïḓê">
              <a:extLst>
                <a:ext uri="{FF2B5EF4-FFF2-40B4-BE49-F238E27FC236}">
                  <a16:creationId xmlns:a16="http://schemas.microsoft.com/office/drawing/2014/main" id="{A2D8B151-6186-41E6-8558-5304E3F7DC2E}"/>
                </a:ext>
              </a:extLst>
            </p:cNvPr>
            <p:cNvSpPr/>
            <p:nvPr/>
          </p:nvSpPr>
          <p:spPr bwMode="auto">
            <a:xfrm>
              <a:off x="5291162" y="643897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3" name="iṧliḍè">
              <a:extLst>
                <a:ext uri="{FF2B5EF4-FFF2-40B4-BE49-F238E27FC236}">
                  <a16:creationId xmlns:a16="http://schemas.microsoft.com/office/drawing/2014/main" id="{069B276C-16D8-4509-81C6-306EC8C82EC2}"/>
                </a:ext>
              </a:extLst>
            </p:cNvPr>
            <p:cNvSpPr/>
            <p:nvPr/>
          </p:nvSpPr>
          <p:spPr bwMode="auto">
            <a:xfrm>
              <a:off x="5032327" y="1362536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4" name="îšľiḓê">
              <a:extLst>
                <a:ext uri="{FF2B5EF4-FFF2-40B4-BE49-F238E27FC236}">
                  <a16:creationId xmlns:a16="http://schemas.microsoft.com/office/drawing/2014/main" id="{CA765B6F-CFDC-404F-AE52-B1BE76E4B893}"/>
                </a:ext>
              </a:extLst>
            </p:cNvPr>
            <p:cNvSpPr/>
            <p:nvPr/>
          </p:nvSpPr>
          <p:spPr bwMode="auto">
            <a:xfrm>
              <a:off x="5102500" y="1386119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5" name="îślíďe">
              <a:extLst>
                <a:ext uri="{FF2B5EF4-FFF2-40B4-BE49-F238E27FC236}">
                  <a16:creationId xmlns:a16="http://schemas.microsoft.com/office/drawing/2014/main" id="{B13FC156-A01A-4BBE-BB99-6A0FA5998F4B}"/>
                </a:ext>
              </a:extLst>
            </p:cNvPr>
            <p:cNvSpPr/>
            <p:nvPr/>
          </p:nvSpPr>
          <p:spPr bwMode="auto">
            <a:xfrm>
              <a:off x="5110553" y="1581110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6" name="ïśľídê">
              <a:extLst>
                <a:ext uri="{FF2B5EF4-FFF2-40B4-BE49-F238E27FC236}">
                  <a16:creationId xmlns:a16="http://schemas.microsoft.com/office/drawing/2014/main" id="{A566E99D-ECA8-4126-8A1A-98235EDFFD15}"/>
                </a:ext>
              </a:extLst>
            </p:cNvPr>
            <p:cNvSpPr/>
            <p:nvPr/>
          </p:nvSpPr>
          <p:spPr bwMode="auto">
            <a:xfrm>
              <a:off x="4593351" y="2600386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7" name="ís1ïḍe">
              <a:extLst>
                <a:ext uri="{FF2B5EF4-FFF2-40B4-BE49-F238E27FC236}">
                  <a16:creationId xmlns:a16="http://schemas.microsoft.com/office/drawing/2014/main" id="{F85624B0-4DE1-47BC-81C3-07D43D3F0E43}"/>
                </a:ext>
              </a:extLst>
            </p:cNvPr>
            <p:cNvSpPr/>
            <p:nvPr/>
          </p:nvSpPr>
          <p:spPr bwMode="auto">
            <a:xfrm>
              <a:off x="4978220" y="922633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8" name="ïśľïďe">
              <a:extLst>
                <a:ext uri="{FF2B5EF4-FFF2-40B4-BE49-F238E27FC236}">
                  <a16:creationId xmlns:a16="http://schemas.microsoft.com/office/drawing/2014/main" id="{5E23DDD7-4C62-4977-A48B-D3275560B8AE}"/>
                </a:ext>
              </a:extLst>
            </p:cNvPr>
            <p:cNvSpPr/>
            <p:nvPr/>
          </p:nvSpPr>
          <p:spPr bwMode="auto">
            <a:xfrm>
              <a:off x="4821735" y="438465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9" name="işļîdè">
              <a:extLst>
                <a:ext uri="{FF2B5EF4-FFF2-40B4-BE49-F238E27FC236}">
                  <a16:creationId xmlns:a16="http://schemas.microsoft.com/office/drawing/2014/main" id="{242F59C2-76EB-4328-8364-1D3ACB209882}"/>
                </a:ext>
              </a:extLst>
            </p:cNvPr>
            <p:cNvSpPr/>
            <p:nvPr/>
          </p:nvSpPr>
          <p:spPr bwMode="auto">
            <a:xfrm>
              <a:off x="4958779" y="525047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0" name="iŝļíḑê">
              <a:extLst>
                <a:ext uri="{FF2B5EF4-FFF2-40B4-BE49-F238E27FC236}">
                  <a16:creationId xmlns:a16="http://schemas.microsoft.com/office/drawing/2014/main" id="{CA396FA4-D6A9-438D-A49E-41B215755347}"/>
                </a:ext>
              </a:extLst>
            </p:cNvPr>
            <p:cNvSpPr/>
            <p:nvPr/>
          </p:nvSpPr>
          <p:spPr bwMode="auto">
            <a:xfrm>
              <a:off x="4958779" y="50326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1" name="iṣḻîďè">
              <a:extLst>
                <a:ext uri="{FF2B5EF4-FFF2-40B4-BE49-F238E27FC236}">
                  <a16:creationId xmlns:a16="http://schemas.microsoft.com/office/drawing/2014/main" id="{5AC2137C-ACC4-4438-A5DA-1058B7647972}"/>
                </a:ext>
              </a:extLst>
            </p:cNvPr>
            <p:cNvSpPr/>
            <p:nvPr/>
          </p:nvSpPr>
          <p:spPr bwMode="auto">
            <a:xfrm>
              <a:off x="4958779" y="482021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2" name="îŝḷíďè">
              <a:extLst>
                <a:ext uri="{FF2B5EF4-FFF2-40B4-BE49-F238E27FC236}">
                  <a16:creationId xmlns:a16="http://schemas.microsoft.com/office/drawing/2014/main" id="{3BB782E7-EA15-4470-81C3-C86B28A735F0}"/>
                </a:ext>
              </a:extLst>
            </p:cNvPr>
            <p:cNvSpPr/>
            <p:nvPr/>
          </p:nvSpPr>
          <p:spPr bwMode="auto">
            <a:xfrm>
              <a:off x="4879633" y="633407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3" name="íšľíḍé">
              <a:extLst>
                <a:ext uri="{FF2B5EF4-FFF2-40B4-BE49-F238E27FC236}">
                  <a16:creationId xmlns:a16="http://schemas.microsoft.com/office/drawing/2014/main" id="{7F998164-CFCF-4FEA-85EA-CF93CE170D57}"/>
                </a:ext>
              </a:extLst>
            </p:cNvPr>
            <p:cNvSpPr/>
            <p:nvPr/>
          </p:nvSpPr>
          <p:spPr bwMode="auto">
            <a:xfrm>
              <a:off x="4879633" y="61162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4" name="íṣľiḍe">
              <a:extLst>
                <a:ext uri="{FF2B5EF4-FFF2-40B4-BE49-F238E27FC236}">
                  <a16:creationId xmlns:a16="http://schemas.microsoft.com/office/drawing/2014/main" id="{2EAED4FA-4318-46B0-A33F-80358FA0A216}"/>
                </a:ext>
              </a:extLst>
            </p:cNvPr>
            <p:cNvSpPr/>
            <p:nvPr/>
          </p:nvSpPr>
          <p:spPr bwMode="auto">
            <a:xfrm>
              <a:off x="4879633" y="590382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5" name="îṡliḍè">
              <a:extLst>
                <a:ext uri="{FF2B5EF4-FFF2-40B4-BE49-F238E27FC236}">
                  <a16:creationId xmlns:a16="http://schemas.microsoft.com/office/drawing/2014/main" id="{C80B9498-3C77-4B9D-B0C9-C133BAEEF488}"/>
                </a:ext>
              </a:extLst>
            </p:cNvPr>
            <p:cNvSpPr/>
            <p:nvPr/>
          </p:nvSpPr>
          <p:spPr bwMode="auto">
            <a:xfrm>
              <a:off x="4958779" y="633407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6" name="iSļiḓê">
              <a:extLst>
                <a:ext uri="{FF2B5EF4-FFF2-40B4-BE49-F238E27FC236}">
                  <a16:creationId xmlns:a16="http://schemas.microsoft.com/office/drawing/2014/main" id="{9BF352C7-D5F0-426E-8245-9401A055A8CC}"/>
                </a:ext>
              </a:extLst>
            </p:cNvPr>
            <p:cNvSpPr/>
            <p:nvPr/>
          </p:nvSpPr>
          <p:spPr bwMode="auto">
            <a:xfrm>
              <a:off x="4958779" y="61162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7" name="i$lïḍe">
              <a:extLst>
                <a:ext uri="{FF2B5EF4-FFF2-40B4-BE49-F238E27FC236}">
                  <a16:creationId xmlns:a16="http://schemas.microsoft.com/office/drawing/2014/main" id="{96ACBE47-556D-4478-96AE-273B76967E6B}"/>
                </a:ext>
              </a:extLst>
            </p:cNvPr>
            <p:cNvSpPr/>
            <p:nvPr/>
          </p:nvSpPr>
          <p:spPr bwMode="auto">
            <a:xfrm>
              <a:off x="4958779" y="590382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8" name="íŝ1íḋè">
              <a:extLst>
                <a:ext uri="{FF2B5EF4-FFF2-40B4-BE49-F238E27FC236}">
                  <a16:creationId xmlns:a16="http://schemas.microsoft.com/office/drawing/2014/main" id="{76B964FF-9286-443F-BB36-891E61B8A747}"/>
                </a:ext>
              </a:extLst>
            </p:cNvPr>
            <p:cNvSpPr/>
            <p:nvPr/>
          </p:nvSpPr>
          <p:spPr bwMode="auto">
            <a:xfrm>
              <a:off x="4879633" y="546825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9" name="ïṧľiḓê">
              <a:extLst>
                <a:ext uri="{FF2B5EF4-FFF2-40B4-BE49-F238E27FC236}">
                  <a16:creationId xmlns:a16="http://schemas.microsoft.com/office/drawing/2014/main" id="{43A81B68-CD68-4556-802B-4E03C4D2D5A9}"/>
                </a:ext>
              </a:extLst>
            </p:cNvPr>
            <p:cNvSpPr/>
            <p:nvPr/>
          </p:nvSpPr>
          <p:spPr bwMode="auto">
            <a:xfrm>
              <a:off x="4879633" y="568603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0" name="íşlïḋé">
              <a:extLst>
                <a:ext uri="{FF2B5EF4-FFF2-40B4-BE49-F238E27FC236}">
                  <a16:creationId xmlns:a16="http://schemas.microsoft.com/office/drawing/2014/main" id="{8B2B9E5B-9578-422E-986A-FC7473B5DF9F}"/>
                </a:ext>
              </a:extLst>
            </p:cNvPr>
            <p:cNvSpPr/>
            <p:nvPr/>
          </p:nvSpPr>
          <p:spPr bwMode="auto">
            <a:xfrm>
              <a:off x="4879633" y="467149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1" name="íṩľídê">
              <a:extLst>
                <a:ext uri="{FF2B5EF4-FFF2-40B4-BE49-F238E27FC236}">
                  <a16:creationId xmlns:a16="http://schemas.microsoft.com/office/drawing/2014/main" id="{A8973634-31E4-4F5E-9679-6ECD92AAB4AE}"/>
                </a:ext>
              </a:extLst>
            </p:cNvPr>
            <p:cNvSpPr/>
            <p:nvPr/>
          </p:nvSpPr>
          <p:spPr bwMode="auto">
            <a:xfrm>
              <a:off x="4375644" y="1162276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2" name="îs1îde">
              <a:extLst>
                <a:ext uri="{FF2B5EF4-FFF2-40B4-BE49-F238E27FC236}">
                  <a16:creationId xmlns:a16="http://schemas.microsoft.com/office/drawing/2014/main" id="{5189D732-C948-4EE8-8A7C-3952EDC7602E}"/>
                </a:ext>
              </a:extLst>
            </p:cNvPr>
            <p:cNvSpPr/>
            <p:nvPr/>
          </p:nvSpPr>
          <p:spPr bwMode="auto">
            <a:xfrm>
              <a:off x="3753344" y="27138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 dirty="0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3" name="iṥliďé">
              <a:extLst>
                <a:ext uri="{FF2B5EF4-FFF2-40B4-BE49-F238E27FC236}">
                  <a16:creationId xmlns:a16="http://schemas.microsoft.com/office/drawing/2014/main" id="{64FE632A-037C-491F-980B-CC0B0B01507F}"/>
                </a:ext>
              </a:extLst>
            </p:cNvPr>
            <p:cNvSpPr/>
            <p:nvPr/>
          </p:nvSpPr>
          <p:spPr bwMode="auto">
            <a:xfrm>
              <a:off x="3811153" y="524857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4" name="ï$lïḋé">
              <a:extLst>
                <a:ext uri="{FF2B5EF4-FFF2-40B4-BE49-F238E27FC236}">
                  <a16:creationId xmlns:a16="http://schemas.microsoft.com/office/drawing/2014/main" id="{4D96A89B-388E-435B-8DEF-B263E9C25679}"/>
                </a:ext>
              </a:extLst>
            </p:cNvPr>
            <p:cNvSpPr/>
            <p:nvPr/>
          </p:nvSpPr>
          <p:spPr bwMode="auto">
            <a:xfrm>
              <a:off x="3645957" y="689771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5" name="ïSlîḓê">
              <a:extLst>
                <a:ext uri="{FF2B5EF4-FFF2-40B4-BE49-F238E27FC236}">
                  <a16:creationId xmlns:a16="http://schemas.microsoft.com/office/drawing/2014/main" id="{5F5C34BD-D651-408E-9E9C-03F254BCE325}"/>
                </a:ext>
              </a:extLst>
            </p:cNvPr>
            <p:cNvSpPr/>
            <p:nvPr/>
          </p:nvSpPr>
          <p:spPr bwMode="auto">
            <a:xfrm>
              <a:off x="3695404" y="739218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6" name="îś1îḑê">
              <a:extLst>
                <a:ext uri="{FF2B5EF4-FFF2-40B4-BE49-F238E27FC236}">
                  <a16:creationId xmlns:a16="http://schemas.microsoft.com/office/drawing/2014/main" id="{0CF97F8E-B69C-48CB-9B9B-B1473D4B5F96}"/>
                </a:ext>
              </a:extLst>
            </p:cNvPr>
            <p:cNvSpPr/>
            <p:nvPr/>
          </p:nvSpPr>
          <p:spPr bwMode="auto">
            <a:xfrm>
              <a:off x="3845577" y="776761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7" name="ïšļiḑe">
              <a:extLst>
                <a:ext uri="{FF2B5EF4-FFF2-40B4-BE49-F238E27FC236}">
                  <a16:creationId xmlns:a16="http://schemas.microsoft.com/office/drawing/2014/main" id="{A0D28386-FF33-4D78-8B5E-05957FEB040A}"/>
                </a:ext>
              </a:extLst>
            </p:cNvPr>
            <p:cNvSpPr/>
            <p:nvPr/>
          </p:nvSpPr>
          <p:spPr bwMode="auto">
            <a:xfrm>
              <a:off x="3388314" y="34270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8" name="i$ļíďè">
              <a:extLst>
                <a:ext uri="{FF2B5EF4-FFF2-40B4-BE49-F238E27FC236}">
                  <a16:creationId xmlns:a16="http://schemas.microsoft.com/office/drawing/2014/main" id="{5148362C-27D5-46F1-8007-D6B6CA15F1FC}"/>
                </a:ext>
              </a:extLst>
            </p:cNvPr>
            <p:cNvSpPr/>
            <p:nvPr/>
          </p:nvSpPr>
          <p:spPr bwMode="auto">
            <a:xfrm>
              <a:off x="3531453" y="91806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9" name="îś1íďê">
              <a:extLst>
                <a:ext uri="{FF2B5EF4-FFF2-40B4-BE49-F238E27FC236}">
                  <a16:creationId xmlns:a16="http://schemas.microsoft.com/office/drawing/2014/main" id="{F0D5C306-38B5-421D-AAC5-3DCC5B0B34F1}"/>
                </a:ext>
              </a:extLst>
            </p:cNvPr>
            <p:cNvSpPr/>
            <p:nvPr/>
          </p:nvSpPr>
          <p:spPr bwMode="auto">
            <a:xfrm>
              <a:off x="3531453" y="119873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0" name="íṡ1ïḑe">
              <a:extLst>
                <a:ext uri="{FF2B5EF4-FFF2-40B4-BE49-F238E27FC236}">
                  <a16:creationId xmlns:a16="http://schemas.microsoft.com/office/drawing/2014/main" id="{DD2B0E85-2C2A-426C-9DC4-93C93FCC13A2}"/>
                </a:ext>
              </a:extLst>
            </p:cNvPr>
            <p:cNvSpPr/>
            <p:nvPr/>
          </p:nvSpPr>
          <p:spPr bwMode="auto">
            <a:xfrm>
              <a:off x="3531453" y="148641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1" name="îSľídê">
              <a:extLst>
                <a:ext uri="{FF2B5EF4-FFF2-40B4-BE49-F238E27FC236}">
                  <a16:creationId xmlns:a16="http://schemas.microsoft.com/office/drawing/2014/main" id="{2E915177-EAE0-4A42-BFC6-5106A90144FF}"/>
                </a:ext>
              </a:extLst>
            </p:cNvPr>
            <p:cNvSpPr/>
            <p:nvPr/>
          </p:nvSpPr>
          <p:spPr bwMode="auto">
            <a:xfrm>
              <a:off x="3426204" y="20617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2" name="iṥḻíḍê">
              <a:extLst>
                <a:ext uri="{FF2B5EF4-FFF2-40B4-BE49-F238E27FC236}">
                  <a16:creationId xmlns:a16="http://schemas.microsoft.com/office/drawing/2014/main" id="{A5772D9E-1967-495E-A1A6-802980BE4F36}"/>
                </a:ext>
              </a:extLst>
            </p:cNvPr>
            <p:cNvSpPr/>
            <p:nvPr/>
          </p:nvSpPr>
          <p:spPr bwMode="auto">
            <a:xfrm>
              <a:off x="3426204" y="234946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3" name="iṧḷiḓe">
              <a:extLst>
                <a:ext uri="{FF2B5EF4-FFF2-40B4-BE49-F238E27FC236}">
                  <a16:creationId xmlns:a16="http://schemas.microsoft.com/office/drawing/2014/main" id="{8CF5BE9E-558C-403B-A1BE-A907FBFF19F9}"/>
                </a:ext>
              </a:extLst>
            </p:cNvPr>
            <p:cNvSpPr/>
            <p:nvPr/>
          </p:nvSpPr>
          <p:spPr bwMode="auto">
            <a:xfrm>
              <a:off x="3426204" y="263013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4" name="ïṣ1ïďè">
              <a:extLst>
                <a:ext uri="{FF2B5EF4-FFF2-40B4-BE49-F238E27FC236}">
                  <a16:creationId xmlns:a16="http://schemas.microsoft.com/office/drawing/2014/main" id="{97CD5BC1-B2F8-4518-A621-36BED9FFBC3B}"/>
                </a:ext>
              </a:extLst>
            </p:cNvPr>
            <p:cNvSpPr/>
            <p:nvPr/>
          </p:nvSpPr>
          <p:spPr bwMode="auto">
            <a:xfrm>
              <a:off x="3426204" y="177409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5" name="îsľiḋe">
              <a:extLst>
                <a:ext uri="{FF2B5EF4-FFF2-40B4-BE49-F238E27FC236}">
                  <a16:creationId xmlns:a16="http://schemas.microsoft.com/office/drawing/2014/main" id="{670AF43C-8D12-4476-8C90-D7453F880105}"/>
                </a:ext>
              </a:extLst>
            </p:cNvPr>
            <p:cNvSpPr/>
            <p:nvPr/>
          </p:nvSpPr>
          <p:spPr bwMode="auto">
            <a:xfrm>
              <a:off x="3426204" y="81983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6" name="ïşľîḑè">
              <a:extLst>
                <a:ext uri="{FF2B5EF4-FFF2-40B4-BE49-F238E27FC236}">
                  <a16:creationId xmlns:a16="http://schemas.microsoft.com/office/drawing/2014/main" id="{BD3019AD-AE3B-4AAB-A3EF-22ADFEACB060}"/>
                </a:ext>
              </a:extLst>
            </p:cNvPr>
            <p:cNvSpPr/>
            <p:nvPr/>
          </p:nvSpPr>
          <p:spPr bwMode="auto">
            <a:xfrm>
              <a:off x="2348575" y="1122194"/>
              <a:ext cx="39479" cy="39479"/>
            </a:xfrm>
            <a:custGeom>
              <a:avLst/>
              <a:gdLst>
                <a:gd name="T0" fmla="*/ 554 w 1006"/>
                <a:gd name="T1" fmla="*/ 1003 h 1006"/>
                <a:gd name="T2" fmla="*/ 628 w 1006"/>
                <a:gd name="T3" fmla="*/ 990 h 1006"/>
                <a:gd name="T4" fmla="*/ 699 w 1006"/>
                <a:gd name="T5" fmla="*/ 966 h 1006"/>
                <a:gd name="T6" fmla="*/ 763 w 1006"/>
                <a:gd name="T7" fmla="*/ 932 h 1006"/>
                <a:gd name="T8" fmla="*/ 822 w 1006"/>
                <a:gd name="T9" fmla="*/ 891 h 1006"/>
                <a:gd name="T10" fmla="*/ 875 w 1006"/>
                <a:gd name="T11" fmla="*/ 841 h 1006"/>
                <a:gd name="T12" fmla="*/ 920 w 1006"/>
                <a:gd name="T13" fmla="*/ 783 h 1006"/>
                <a:gd name="T14" fmla="*/ 956 w 1006"/>
                <a:gd name="T15" fmla="*/ 721 h 1006"/>
                <a:gd name="T16" fmla="*/ 983 w 1006"/>
                <a:gd name="T17" fmla="*/ 653 h 1006"/>
                <a:gd name="T18" fmla="*/ 999 w 1006"/>
                <a:gd name="T19" fmla="*/ 579 h 1006"/>
                <a:gd name="T20" fmla="*/ 1006 w 1006"/>
                <a:gd name="T21" fmla="*/ 503 h 1006"/>
                <a:gd name="T22" fmla="*/ 999 w 1006"/>
                <a:gd name="T23" fmla="*/ 426 h 1006"/>
                <a:gd name="T24" fmla="*/ 983 w 1006"/>
                <a:gd name="T25" fmla="*/ 353 h 1006"/>
                <a:gd name="T26" fmla="*/ 956 w 1006"/>
                <a:gd name="T27" fmla="*/ 284 h 1006"/>
                <a:gd name="T28" fmla="*/ 920 w 1006"/>
                <a:gd name="T29" fmla="*/ 221 h 1006"/>
                <a:gd name="T30" fmla="*/ 875 w 1006"/>
                <a:gd name="T31" fmla="*/ 164 h 1006"/>
                <a:gd name="T32" fmla="*/ 822 w 1006"/>
                <a:gd name="T33" fmla="*/ 114 h 1006"/>
                <a:gd name="T34" fmla="*/ 763 w 1006"/>
                <a:gd name="T35" fmla="*/ 72 h 1006"/>
                <a:gd name="T36" fmla="*/ 699 w 1006"/>
                <a:gd name="T37" fmla="*/ 39 h 1006"/>
                <a:gd name="T38" fmla="*/ 628 w 1006"/>
                <a:gd name="T39" fmla="*/ 15 h 1006"/>
                <a:gd name="T40" fmla="*/ 554 w 1006"/>
                <a:gd name="T41" fmla="*/ 2 h 1006"/>
                <a:gd name="T42" fmla="*/ 476 w 1006"/>
                <a:gd name="T43" fmla="*/ 0 h 1006"/>
                <a:gd name="T44" fmla="*/ 401 w 1006"/>
                <a:gd name="T45" fmla="*/ 10 h 1006"/>
                <a:gd name="T46" fmla="*/ 330 w 1006"/>
                <a:gd name="T47" fmla="*/ 30 h 1006"/>
                <a:gd name="T48" fmla="*/ 263 w 1006"/>
                <a:gd name="T49" fmla="*/ 60 h 1006"/>
                <a:gd name="T50" fmla="*/ 202 w 1006"/>
                <a:gd name="T51" fmla="*/ 99 h 1006"/>
                <a:gd name="T52" fmla="*/ 147 w 1006"/>
                <a:gd name="T53" fmla="*/ 147 h 1006"/>
                <a:gd name="T54" fmla="*/ 99 w 1006"/>
                <a:gd name="T55" fmla="*/ 201 h 1006"/>
                <a:gd name="T56" fmla="*/ 60 w 1006"/>
                <a:gd name="T57" fmla="*/ 262 h 1006"/>
                <a:gd name="T58" fmla="*/ 30 w 1006"/>
                <a:gd name="T59" fmla="*/ 330 h 1006"/>
                <a:gd name="T60" fmla="*/ 10 w 1006"/>
                <a:gd name="T61" fmla="*/ 401 h 1006"/>
                <a:gd name="T62" fmla="*/ 1 w 1006"/>
                <a:gd name="T63" fmla="*/ 477 h 1006"/>
                <a:gd name="T64" fmla="*/ 3 w 1006"/>
                <a:gd name="T65" fmla="*/ 554 h 1006"/>
                <a:gd name="T66" fmla="*/ 16 w 1006"/>
                <a:gd name="T67" fmla="*/ 628 h 1006"/>
                <a:gd name="T68" fmla="*/ 39 w 1006"/>
                <a:gd name="T69" fmla="*/ 699 h 1006"/>
                <a:gd name="T70" fmla="*/ 72 w 1006"/>
                <a:gd name="T71" fmla="*/ 763 h 1006"/>
                <a:gd name="T72" fmla="*/ 114 w 1006"/>
                <a:gd name="T73" fmla="*/ 823 h 1006"/>
                <a:gd name="T74" fmla="*/ 165 w 1006"/>
                <a:gd name="T75" fmla="*/ 875 h 1006"/>
                <a:gd name="T76" fmla="*/ 221 w 1006"/>
                <a:gd name="T77" fmla="*/ 919 h 1006"/>
                <a:gd name="T78" fmla="*/ 284 w 1006"/>
                <a:gd name="T79" fmla="*/ 956 h 1006"/>
                <a:gd name="T80" fmla="*/ 353 w 1006"/>
                <a:gd name="T81" fmla="*/ 983 h 1006"/>
                <a:gd name="T82" fmla="*/ 426 w 1006"/>
                <a:gd name="T83" fmla="*/ 1000 h 1006"/>
                <a:gd name="T84" fmla="*/ 503 w 1006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1006"/>
                  </a:move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6" y="974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19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4"/>
                  </a:lnTo>
                  <a:lnTo>
                    <a:pt x="859" y="147"/>
                  </a:lnTo>
                  <a:lnTo>
                    <a:pt x="841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5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6" y="0"/>
                  </a:lnTo>
                  <a:lnTo>
                    <a:pt x="451" y="2"/>
                  </a:lnTo>
                  <a:lnTo>
                    <a:pt x="426" y="5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7"/>
                  </a:lnTo>
                  <a:lnTo>
                    <a:pt x="131" y="164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19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7" y="966"/>
                  </a:lnTo>
                  <a:lnTo>
                    <a:pt x="330" y="974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7" name="îṧ1ïdè">
              <a:extLst>
                <a:ext uri="{FF2B5EF4-FFF2-40B4-BE49-F238E27FC236}">
                  <a16:creationId xmlns:a16="http://schemas.microsoft.com/office/drawing/2014/main" id="{243FD7FD-1547-4020-A73D-34240E9179D7}"/>
                </a:ext>
              </a:extLst>
            </p:cNvPr>
            <p:cNvSpPr/>
            <p:nvPr/>
          </p:nvSpPr>
          <p:spPr bwMode="auto">
            <a:xfrm>
              <a:off x="2348575" y="1352017"/>
              <a:ext cx="39479" cy="39479"/>
            </a:xfrm>
            <a:custGeom>
              <a:avLst/>
              <a:gdLst>
                <a:gd name="T0" fmla="*/ 451 w 1006"/>
                <a:gd name="T1" fmla="*/ 3 h 1006"/>
                <a:gd name="T2" fmla="*/ 377 w 1006"/>
                <a:gd name="T3" fmla="*/ 16 h 1006"/>
                <a:gd name="T4" fmla="*/ 307 w 1006"/>
                <a:gd name="T5" fmla="*/ 40 h 1006"/>
                <a:gd name="T6" fmla="*/ 242 w 1006"/>
                <a:gd name="T7" fmla="*/ 73 h 1006"/>
                <a:gd name="T8" fmla="*/ 183 w 1006"/>
                <a:gd name="T9" fmla="*/ 115 h 1006"/>
                <a:gd name="T10" fmla="*/ 131 w 1006"/>
                <a:gd name="T11" fmla="*/ 165 h 1006"/>
                <a:gd name="T12" fmla="*/ 85 w 1006"/>
                <a:gd name="T13" fmla="*/ 222 h 1006"/>
                <a:gd name="T14" fmla="*/ 49 w 1006"/>
                <a:gd name="T15" fmla="*/ 285 h 1006"/>
                <a:gd name="T16" fmla="*/ 22 w 1006"/>
                <a:gd name="T17" fmla="*/ 353 h 1006"/>
                <a:gd name="T18" fmla="*/ 6 w 1006"/>
                <a:gd name="T19" fmla="*/ 427 h 1006"/>
                <a:gd name="T20" fmla="*/ 0 w 1006"/>
                <a:gd name="T21" fmla="*/ 503 h 1006"/>
                <a:gd name="T22" fmla="*/ 6 w 1006"/>
                <a:gd name="T23" fmla="*/ 580 h 1006"/>
                <a:gd name="T24" fmla="*/ 22 w 1006"/>
                <a:gd name="T25" fmla="*/ 653 h 1006"/>
                <a:gd name="T26" fmla="*/ 49 w 1006"/>
                <a:gd name="T27" fmla="*/ 722 h 1006"/>
                <a:gd name="T28" fmla="*/ 85 w 1006"/>
                <a:gd name="T29" fmla="*/ 785 h 1006"/>
                <a:gd name="T30" fmla="*/ 131 w 1006"/>
                <a:gd name="T31" fmla="*/ 841 h 1006"/>
                <a:gd name="T32" fmla="*/ 183 w 1006"/>
                <a:gd name="T33" fmla="*/ 892 h 1006"/>
                <a:gd name="T34" fmla="*/ 242 w 1006"/>
                <a:gd name="T35" fmla="*/ 934 h 1006"/>
                <a:gd name="T36" fmla="*/ 307 w 1006"/>
                <a:gd name="T37" fmla="*/ 967 h 1006"/>
                <a:gd name="T38" fmla="*/ 377 w 1006"/>
                <a:gd name="T39" fmla="*/ 990 h 1006"/>
                <a:gd name="T40" fmla="*/ 451 w 1006"/>
                <a:gd name="T41" fmla="*/ 1003 h 1006"/>
                <a:gd name="T42" fmla="*/ 529 w 1006"/>
                <a:gd name="T43" fmla="*/ 1005 h 1006"/>
                <a:gd name="T44" fmla="*/ 604 w 1006"/>
                <a:gd name="T45" fmla="*/ 996 h 1006"/>
                <a:gd name="T46" fmla="*/ 676 w 1006"/>
                <a:gd name="T47" fmla="*/ 976 h 1006"/>
                <a:gd name="T48" fmla="*/ 742 w 1006"/>
                <a:gd name="T49" fmla="*/ 946 h 1006"/>
                <a:gd name="T50" fmla="*/ 803 w 1006"/>
                <a:gd name="T51" fmla="*/ 907 h 1006"/>
                <a:gd name="T52" fmla="*/ 859 w 1006"/>
                <a:gd name="T53" fmla="*/ 859 h 1006"/>
                <a:gd name="T54" fmla="*/ 906 w 1006"/>
                <a:gd name="T55" fmla="*/ 804 h 1006"/>
                <a:gd name="T56" fmla="*/ 945 w 1006"/>
                <a:gd name="T57" fmla="*/ 743 h 1006"/>
                <a:gd name="T58" fmla="*/ 975 w 1006"/>
                <a:gd name="T59" fmla="*/ 676 h 1006"/>
                <a:gd name="T60" fmla="*/ 995 w 1006"/>
                <a:gd name="T61" fmla="*/ 605 h 1006"/>
                <a:gd name="T62" fmla="*/ 1004 w 1006"/>
                <a:gd name="T63" fmla="*/ 529 h 1006"/>
                <a:gd name="T64" fmla="*/ 1002 w 1006"/>
                <a:gd name="T65" fmla="*/ 452 h 1006"/>
                <a:gd name="T66" fmla="*/ 989 w 1006"/>
                <a:gd name="T67" fmla="*/ 378 h 1006"/>
                <a:gd name="T68" fmla="*/ 966 w 1006"/>
                <a:gd name="T69" fmla="*/ 307 h 1006"/>
                <a:gd name="T70" fmla="*/ 933 w 1006"/>
                <a:gd name="T71" fmla="*/ 243 h 1006"/>
                <a:gd name="T72" fmla="*/ 891 w 1006"/>
                <a:gd name="T73" fmla="*/ 183 h 1006"/>
                <a:gd name="T74" fmla="*/ 841 w 1006"/>
                <a:gd name="T75" fmla="*/ 131 h 1006"/>
                <a:gd name="T76" fmla="*/ 784 w 1006"/>
                <a:gd name="T77" fmla="*/ 86 h 1006"/>
                <a:gd name="T78" fmla="*/ 721 w 1006"/>
                <a:gd name="T79" fmla="*/ 50 h 1006"/>
                <a:gd name="T80" fmla="*/ 652 w 1006"/>
                <a:gd name="T81" fmla="*/ 22 h 1006"/>
                <a:gd name="T82" fmla="*/ 579 w 1006"/>
                <a:gd name="T83" fmla="*/ 6 h 1006"/>
                <a:gd name="T84" fmla="*/ 503 w 1006"/>
                <a:gd name="T8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0"/>
                  </a:move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4" y="50"/>
                  </a:lnTo>
                  <a:lnTo>
                    <a:pt x="263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3"/>
                  </a:lnTo>
                  <a:lnTo>
                    <a:pt x="85" y="222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5" y="785"/>
                  </a:lnTo>
                  <a:lnTo>
                    <a:pt x="99" y="804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3" y="946"/>
                  </a:lnTo>
                  <a:lnTo>
                    <a:pt x="284" y="957"/>
                  </a:lnTo>
                  <a:lnTo>
                    <a:pt x="307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6" y="976"/>
                  </a:lnTo>
                  <a:lnTo>
                    <a:pt x="699" y="967"/>
                  </a:lnTo>
                  <a:lnTo>
                    <a:pt x="721" y="957"/>
                  </a:lnTo>
                  <a:lnTo>
                    <a:pt x="742" y="946"/>
                  </a:lnTo>
                  <a:lnTo>
                    <a:pt x="763" y="934"/>
                  </a:lnTo>
                  <a:lnTo>
                    <a:pt x="784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1" y="876"/>
                  </a:lnTo>
                  <a:lnTo>
                    <a:pt x="859" y="859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4"/>
                  </a:lnTo>
                  <a:lnTo>
                    <a:pt x="920" y="785"/>
                  </a:lnTo>
                  <a:lnTo>
                    <a:pt x="933" y="764"/>
                  </a:lnTo>
                  <a:lnTo>
                    <a:pt x="945" y="743"/>
                  </a:lnTo>
                  <a:lnTo>
                    <a:pt x="956" y="722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9"/>
                  </a:lnTo>
                  <a:lnTo>
                    <a:pt x="995" y="605"/>
                  </a:lnTo>
                  <a:lnTo>
                    <a:pt x="999" y="580"/>
                  </a:lnTo>
                  <a:lnTo>
                    <a:pt x="1002" y="555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2"/>
                  </a:lnTo>
                  <a:lnTo>
                    <a:pt x="999" y="427"/>
                  </a:lnTo>
                  <a:lnTo>
                    <a:pt x="995" y="402"/>
                  </a:lnTo>
                  <a:lnTo>
                    <a:pt x="989" y="378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6"/>
                  </a:lnTo>
                  <a:lnTo>
                    <a:pt x="763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8" name="íṡḻiḍe">
              <a:extLst>
                <a:ext uri="{FF2B5EF4-FFF2-40B4-BE49-F238E27FC236}">
                  <a16:creationId xmlns:a16="http://schemas.microsoft.com/office/drawing/2014/main" id="{7841193A-7A37-4B85-B7FB-66EBD6BA04C1}"/>
                </a:ext>
              </a:extLst>
            </p:cNvPr>
            <p:cNvSpPr/>
            <p:nvPr/>
          </p:nvSpPr>
          <p:spPr bwMode="auto">
            <a:xfrm>
              <a:off x="2234368" y="1237810"/>
              <a:ext cx="38068" cy="38069"/>
            </a:xfrm>
            <a:custGeom>
              <a:avLst/>
              <a:gdLst>
                <a:gd name="T0" fmla="*/ 451 w 1005"/>
                <a:gd name="T1" fmla="*/ 2 h 1005"/>
                <a:gd name="T2" fmla="*/ 377 w 1005"/>
                <a:gd name="T3" fmla="*/ 15 h 1005"/>
                <a:gd name="T4" fmla="*/ 306 w 1005"/>
                <a:gd name="T5" fmla="*/ 39 h 1005"/>
                <a:gd name="T6" fmla="*/ 242 w 1005"/>
                <a:gd name="T7" fmla="*/ 72 h 1005"/>
                <a:gd name="T8" fmla="*/ 183 w 1005"/>
                <a:gd name="T9" fmla="*/ 114 h 1005"/>
                <a:gd name="T10" fmla="*/ 130 w 1005"/>
                <a:gd name="T11" fmla="*/ 163 h 1005"/>
                <a:gd name="T12" fmla="*/ 85 w 1005"/>
                <a:gd name="T13" fmla="*/ 221 h 1005"/>
                <a:gd name="T14" fmla="*/ 49 w 1005"/>
                <a:gd name="T15" fmla="*/ 284 h 1005"/>
                <a:gd name="T16" fmla="*/ 23 w 1005"/>
                <a:gd name="T17" fmla="*/ 353 h 1005"/>
                <a:gd name="T18" fmla="*/ 6 w 1005"/>
                <a:gd name="T19" fmla="*/ 426 h 1005"/>
                <a:gd name="T20" fmla="*/ 0 w 1005"/>
                <a:gd name="T21" fmla="*/ 503 h 1005"/>
                <a:gd name="T22" fmla="*/ 6 w 1005"/>
                <a:gd name="T23" fmla="*/ 579 h 1005"/>
                <a:gd name="T24" fmla="*/ 23 w 1005"/>
                <a:gd name="T25" fmla="*/ 652 h 1005"/>
                <a:gd name="T26" fmla="*/ 49 w 1005"/>
                <a:gd name="T27" fmla="*/ 721 h 1005"/>
                <a:gd name="T28" fmla="*/ 85 w 1005"/>
                <a:gd name="T29" fmla="*/ 783 h 1005"/>
                <a:gd name="T30" fmla="*/ 130 w 1005"/>
                <a:gd name="T31" fmla="*/ 840 h 1005"/>
                <a:gd name="T32" fmla="*/ 183 w 1005"/>
                <a:gd name="T33" fmla="*/ 891 h 1005"/>
                <a:gd name="T34" fmla="*/ 242 w 1005"/>
                <a:gd name="T35" fmla="*/ 932 h 1005"/>
                <a:gd name="T36" fmla="*/ 306 w 1005"/>
                <a:gd name="T37" fmla="*/ 966 h 1005"/>
                <a:gd name="T38" fmla="*/ 377 w 1005"/>
                <a:gd name="T39" fmla="*/ 989 h 1005"/>
                <a:gd name="T40" fmla="*/ 451 w 1005"/>
                <a:gd name="T41" fmla="*/ 1002 h 1005"/>
                <a:gd name="T42" fmla="*/ 529 w 1005"/>
                <a:gd name="T43" fmla="*/ 1004 h 1005"/>
                <a:gd name="T44" fmla="*/ 604 w 1005"/>
                <a:gd name="T45" fmla="*/ 995 h 1005"/>
                <a:gd name="T46" fmla="*/ 675 w 1005"/>
                <a:gd name="T47" fmla="*/ 975 h 1005"/>
                <a:gd name="T48" fmla="*/ 743 w 1005"/>
                <a:gd name="T49" fmla="*/ 944 h 1005"/>
                <a:gd name="T50" fmla="*/ 803 w 1005"/>
                <a:gd name="T51" fmla="*/ 906 h 1005"/>
                <a:gd name="T52" fmla="*/ 858 w 1005"/>
                <a:gd name="T53" fmla="*/ 858 h 1005"/>
                <a:gd name="T54" fmla="*/ 906 w 1005"/>
                <a:gd name="T55" fmla="*/ 803 h 1005"/>
                <a:gd name="T56" fmla="*/ 945 w 1005"/>
                <a:gd name="T57" fmla="*/ 742 h 1005"/>
                <a:gd name="T58" fmla="*/ 975 w 1005"/>
                <a:gd name="T59" fmla="*/ 676 h 1005"/>
                <a:gd name="T60" fmla="*/ 995 w 1005"/>
                <a:gd name="T61" fmla="*/ 604 h 1005"/>
                <a:gd name="T62" fmla="*/ 1004 w 1005"/>
                <a:gd name="T63" fmla="*/ 529 h 1005"/>
                <a:gd name="T64" fmla="*/ 1002 w 1005"/>
                <a:gd name="T65" fmla="*/ 451 h 1005"/>
                <a:gd name="T66" fmla="*/ 989 w 1005"/>
                <a:gd name="T67" fmla="*/ 377 h 1005"/>
                <a:gd name="T68" fmla="*/ 966 w 1005"/>
                <a:gd name="T69" fmla="*/ 306 h 1005"/>
                <a:gd name="T70" fmla="*/ 933 w 1005"/>
                <a:gd name="T71" fmla="*/ 241 h 1005"/>
                <a:gd name="T72" fmla="*/ 891 w 1005"/>
                <a:gd name="T73" fmla="*/ 183 h 1005"/>
                <a:gd name="T74" fmla="*/ 840 w 1005"/>
                <a:gd name="T75" fmla="*/ 130 h 1005"/>
                <a:gd name="T76" fmla="*/ 784 w 1005"/>
                <a:gd name="T77" fmla="*/ 85 h 1005"/>
                <a:gd name="T78" fmla="*/ 721 w 1005"/>
                <a:gd name="T79" fmla="*/ 49 h 1005"/>
                <a:gd name="T80" fmla="*/ 652 w 1005"/>
                <a:gd name="T81" fmla="*/ 22 h 1005"/>
                <a:gd name="T82" fmla="*/ 579 w 1005"/>
                <a:gd name="T83" fmla="*/ 6 h 1005"/>
                <a:gd name="T84" fmla="*/ 502 w 1005"/>
                <a:gd name="T85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1005">
                  <a:moveTo>
                    <a:pt x="502" y="0"/>
                  </a:moveTo>
                  <a:lnTo>
                    <a:pt x="476" y="0"/>
                  </a:lnTo>
                  <a:lnTo>
                    <a:pt x="451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29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6" y="146"/>
                  </a:lnTo>
                  <a:lnTo>
                    <a:pt x="130" y="163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3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2"/>
                  </a:lnTo>
                  <a:lnTo>
                    <a:pt x="130" y="840"/>
                  </a:lnTo>
                  <a:lnTo>
                    <a:pt x="146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29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2"/>
                  </a:lnTo>
                  <a:lnTo>
                    <a:pt x="476" y="1004"/>
                  </a:lnTo>
                  <a:lnTo>
                    <a:pt x="502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2"/>
                  </a:lnTo>
                  <a:lnTo>
                    <a:pt x="675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3" y="944"/>
                  </a:lnTo>
                  <a:lnTo>
                    <a:pt x="764" y="932"/>
                  </a:lnTo>
                  <a:lnTo>
                    <a:pt x="784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2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5" y="503"/>
                  </a:lnTo>
                  <a:lnTo>
                    <a:pt x="1004" y="476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9" name="í$ļïďê">
              <a:extLst>
                <a:ext uri="{FF2B5EF4-FFF2-40B4-BE49-F238E27FC236}">
                  <a16:creationId xmlns:a16="http://schemas.microsoft.com/office/drawing/2014/main" id="{2286516B-084A-4F24-A566-05FCCC2E1E71}"/>
                </a:ext>
              </a:extLst>
            </p:cNvPr>
            <p:cNvSpPr/>
            <p:nvPr/>
          </p:nvSpPr>
          <p:spPr bwMode="auto">
            <a:xfrm>
              <a:off x="2464191" y="1237810"/>
              <a:ext cx="38068" cy="38069"/>
            </a:xfrm>
            <a:custGeom>
              <a:avLst/>
              <a:gdLst>
                <a:gd name="T0" fmla="*/ 3 w 1006"/>
                <a:gd name="T1" fmla="*/ 554 h 1005"/>
                <a:gd name="T2" fmla="*/ 16 w 1006"/>
                <a:gd name="T3" fmla="*/ 628 h 1005"/>
                <a:gd name="T4" fmla="*/ 39 w 1006"/>
                <a:gd name="T5" fmla="*/ 699 h 1005"/>
                <a:gd name="T6" fmla="*/ 72 w 1006"/>
                <a:gd name="T7" fmla="*/ 763 h 1005"/>
                <a:gd name="T8" fmla="*/ 115 w 1006"/>
                <a:gd name="T9" fmla="*/ 822 h 1005"/>
                <a:gd name="T10" fmla="*/ 165 w 1006"/>
                <a:gd name="T11" fmla="*/ 875 h 1005"/>
                <a:gd name="T12" fmla="*/ 221 w 1006"/>
                <a:gd name="T13" fmla="*/ 920 h 1005"/>
                <a:gd name="T14" fmla="*/ 285 w 1006"/>
                <a:gd name="T15" fmla="*/ 956 h 1005"/>
                <a:gd name="T16" fmla="*/ 353 w 1006"/>
                <a:gd name="T17" fmla="*/ 982 h 1005"/>
                <a:gd name="T18" fmla="*/ 426 w 1006"/>
                <a:gd name="T19" fmla="*/ 999 h 1005"/>
                <a:gd name="T20" fmla="*/ 503 w 1006"/>
                <a:gd name="T21" fmla="*/ 1005 h 1005"/>
                <a:gd name="T22" fmla="*/ 579 w 1006"/>
                <a:gd name="T23" fmla="*/ 999 h 1005"/>
                <a:gd name="T24" fmla="*/ 653 w 1006"/>
                <a:gd name="T25" fmla="*/ 982 h 1005"/>
                <a:gd name="T26" fmla="*/ 721 w 1006"/>
                <a:gd name="T27" fmla="*/ 956 h 1005"/>
                <a:gd name="T28" fmla="*/ 784 w 1006"/>
                <a:gd name="T29" fmla="*/ 920 h 1005"/>
                <a:gd name="T30" fmla="*/ 841 w 1006"/>
                <a:gd name="T31" fmla="*/ 875 h 1005"/>
                <a:gd name="T32" fmla="*/ 891 w 1006"/>
                <a:gd name="T33" fmla="*/ 822 h 1005"/>
                <a:gd name="T34" fmla="*/ 933 w 1006"/>
                <a:gd name="T35" fmla="*/ 763 h 1005"/>
                <a:gd name="T36" fmla="*/ 966 w 1006"/>
                <a:gd name="T37" fmla="*/ 699 h 1005"/>
                <a:gd name="T38" fmla="*/ 990 w 1006"/>
                <a:gd name="T39" fmla="*/ 628 h 1005"/>
                <a:gd name="T40" fmla="*/ 1003 w 1006"/>
                <a:gd name="T41" fmla="*/ 554 h 1005"/>
                <a:gd name="T42" fmla="*/ 1005 w 1006"/>
                <a:gd name="T43" fmla="*/ 476 h 1005"/>
                <a:gd name="T44" fmla="*/ 996 w 1006"/>
                <a:gd name="T45" fmla="*/ 401 h 1005"/>
                <a:gd name="T46" fmla="*/ 976 w 1006"/>
                <a:gd name="T47" fmla="*/ 329 h 1005"/>
                <a:gd name="T48" fmla="*/ 945 w 1006"/>
                <a:gd name="T49" fmla="*/ 262 h 1005"/>
                <a:gd name="T50" fmla="*/ 906 w 1006"/>
                <a:gd name="T51" fmla="*/ 201 h 1005"/>
                <a:gd name="T52" fmla="*/ 859 w 1006"/>
                <a:gd name="T53" fmla="*/ 146 h 1005"/>
                <a:gd name="T54" fmla="*/ 804 w 1006"/>
                <a:gd name="T55" fmla="*/ 99 h 1005"/>
                <a:gd name="T56" fmla="*/ 742 w 1006"/>
                <a:gd name="T57" fmla="*/ 60 h 1005"/>
                <a:gd name="T58" fmla="*/ 676 w 1006"/>
                <a:gd name="T59" fmla="*/ 30 h 1005"/>
                <a:gd name="T60" fmla="*/ 604 w 1006"/>
                <a:gd name="T61" fmla="*/ 10 h 1005"/>
                <a:gd name="T62" fmla="*/ 529 w 1006"/>
                <a:gd name="T63" fmla="*/ 0 h 1005"/>
                <a:gd name="T64" fmla="*/ 452 w 1006"/>
                <a:gd name="T65" fmla="*/ 2 h 1005"/>
                <a:gd name="T66" fmla="*/ 377 w 1006"/>
                <a:gd name="T67" fmla="*/ 15 h 1005"/>
                <a:gd name="T68" fmla="*/ 307 w 1006"/>
                <a:gd name="T69" fmla="*/ 39 h 1005"/>
                <a:gd name="T70" fmla="*/ 242 w 1006"/>
                <a:gd name="T71" fmla="*/ 72 h 1005"/>
                <a:gd name="T72" fmla="*/ 183 w 1006"/>
                <a:gd name="T73" fmla="*/ 114 h 1005"/>
                <a:gd name="T74" fmla="*/ 131 w 1006"/>
                <a:gd name="T75" fmla="*/ 163 h 1005"/>
                <a:gd name="T76" fmla="*/ 85 w 1006"/>
                <a:gd name="T77" fmla="*/ 221 h 1005"/>
                <a:gd name="T78" fmla="*/ 49 w 1006"/>
                <a:gd name="T79" fmla="*/ 284 h 1005"/>
                <a:gd name="T80" fmla="*/ 22 w 1006"/>
                <a:gd name="T81" fmla="*/ 353 h 1005"/>
                <a:gd name="T82" fmla="*/ 6 w 1006"/>
                <a:gd name="T83" fmla="*/ 426 h 1005"/>
                <a:gd name="T84" fmla="*/ 0 w 1006"/>
                <a:gd name="T85" fmla="*/ 503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5">
                  <a:moveTo>
                    <a:pt x="0" y="503"/>
                  </a:move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0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5" y="956"/>
                  </a:lnTo>
                  <a:lnTo>
                    <a:pt x="307" y="966"/>
                  </a:lnTo>
                  <a:lnTo>
                    <a:pt x="330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2" y="1002"/>
                  </a:lnTo>
                  <a:lnTo>
                    <a:pt x="477" y="1004"/>
                  </a:lnTo>
                  <a:lnTo>
                    <a:pt x="503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9" y="989"/>
                  </a:lnTo>
                  <a:lnTo>
                    <a:pt x="653" y="982"/>
                  </a:lnTo>
                  <a:lnTo>
                    <a:pt x="676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20"/>
                  </a:lnTo>
                  <a:lnTo>
                    <a:pt x="804" y="906"/>
                  </a:lnTo>
                  <a:lnTo>
                    <a:pt x="823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6" y="676"/>
                  </a:lnTo>
                  <a:lnTo>
                    <a:pt x="984" y="652"/>
                  </a:lnTo>
                  <a:lnTo>
                    <a:pt x="990" y="628"/>
                  </a:lnTo>
                  <a:lnTo>
                    <a:pt x="996" y="604"/>
                  </a:lnTo>
                  <a:lnTo>
                    <a:pt x="1000" y="579"/>
                  </a:lnTo>
                  <a:lnTo>
                    <a:pt x="1003" y="554"/>
                  </a:lnTo>
                  <a:lnTo>
                    <a:pt x="1005" y="529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4" y="353"/>
                  </a:lnTo>
                  <a:lnTo>
                    <a:pt x="976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9" y="146"/>
                  </a:lnTo>
                  <a:lnTo>
                    <a:pt x="841" y="130"/>
                  </a:lnTo>
                  <a:lnTo>
                    <a:pt x="823" y="114"/>
                  </a:lnTo>
                  <a:lnTo>
                    <a:pt x="804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3"/>
                  </a:lnTo>
                  <a:lnTo>
                    <a:pt x="115" y="183"/>
                  </a:lnTo>
                  <a:lnTo>
                    <a:pt x="100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0" name="ïŝ1ïḑê">
              <a:extLst>
                <a:ext uri="{FF2B5EF4-FFF2-40B4-BE49-F238E27FC236}">
                  <a16:creationId xmlns:a16="http://schemas.microsoft.com/office/drawing/2014/main" id="{A15ECB7F-BFB1-4356-B5E4-F5C8B9D0213F}"/>
                </a:ext>
              </a:extLst>
            </p:cNvPr>
            <p:cNvSpPr/>
            <p:nvPr/>
          </p:nvSpPr>
          <p:spPr bwMode="auto">
            <a:xfrm>
              <a:off x="2268207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70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8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3 w 1006"/>
                <a:gd name="T37" fmla="*/ 970 h 1006"/>
                <a:gd name="T38" fmla="*/ 759 w 1006"/>
                <a:gd name="T39" fmla="*/ 937 h 1006"/>
                <a:gd name="T40" fmla="*/ 820 w 1006"/>
                <a:gd name="T41" fmla="*/ 893 h 1006"/>
                <a:gd name="T42" fmla="*/ 877 w 1006"/>
                <a:gd name="T43" fmla="*/ 840 h 1006"/>
                <a:gd name="T44" fmla="*/ 924 w 1006"/>
                <a:gd name="T45" fmla="*/ 780 h 1006"/>
                <a:gd name="T46" fmla="*/ 960 w 1006"/>
                <a:gd name="T47" fmla="*/ 714 h 1006"/>
                <a:gd name="T48" fmla="*/ 985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5 w 1006"/>
                <a:gd name="T57" fmla="*/ 360 h 1006"/>
                <a:gd name="T58" fmla="*/ 960 w 1006"/>
                <a:gd name="T59" fmla="*/ 292 h 1006"/>
                <a:gd name="T60" fmla="*/ 924 w 1006"/>
                <a:gd name="T61" fmla="*/ 226 h 1006"/>
                <a:gd name="T62" fmla="*/ 877 w 1006"/>
                <a:gd name="T63" fmla="*/ 166 h 1006"/>
                <a:gd name="T64" fmla="*/ 820 w 1006"/>
                <a:gd name="T65" fmla="*/ 113 h 1006"/>
                <a:gd name="T66" fmla="*/ 759 w 1006"/>
                <a:gd name="T67" fmla="*/ 70 h 1006"/>
                <a:gd name="T68" fmla="*/ 693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7" y="714"/>
                  </a:lnTo>
                  <a:lnTo>
                    <a:pt x="58" y="737"/>
                  </a:lnTo>
                  <a:lnTo>
                    <a:pt x="70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7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7" y="924"/>
                  </a:lnTo>
                  <a:lnTo>
                    <a:pt x="248" y="937"/>
                  </a:lnTo>
                  <a:lnTo>
                    <a:pt x="269" y="949"/>
                  </a:lnTo>
                  <a:lnTo>
                    <a:pt x="291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4" y="992"/>
                  </a:lnTo>
                  <a:lnTo>
                    <a:pt x="407" y="997"/>
                  </a:lnTo>
                  <a:lnTo>
                    <a:pt x="431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49"/>
                  </a:lnTo>
                  <a:lnTo>
                    <a:pt x="759" y="937"/>
                  </a:lnTo>
                  <a:lnTo>
                    <a:pt x="780" y="924"/>
                  </a:lnTo>
                  <a:lnTo>
                    <a:pt x="800" y="908"/>
                  </a:lnTo>
                  <a:lnTo>
                    <a:pt x="820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9"/>
                  </a:lnTo>
                  <a:lnTo>
                    <a:pt x="949" y="737"/>
                  </a:lnTo>
                  <a:lnTo>
                    <a:pt x="960" y="714"/>
                  </a:lnTo>
                  <a:lnTo>
                    <a:pt x="969" y="692"/>
                  </a:lnTo>
                  <a:lnTo>
                    <a:pt x="978" y="669"/>
                  </a:lnTo>
                  <a:lnTo>
                    <a:pt x="985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4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6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3"/>
                  </a:lnTo>
                  <a:lnTo>
                    <a:pt x="800" y="98"/>
                  </a:lnTo>
                  <a:lnTo>
                    <a:pt x="780" y="84"/>
                  </a:lnTo>
                  <a:lnTo>
                    <a:pt x="759" y="70"/>
                  </a:lnTo>
                  <a:lnTo>
                    <a:pt x="737" y="57"/>
                  </a:lnTo>
                  <a:lnTo>
                    <a:pt x="715" y="46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6"/>
                  </a:lnTo>
                  <a:lnTo>
                    <a:pt x="269" y="57"/>
                  </a:lnTo>
                  <a:lnTo>
                    <a:pt x="248" y="70"/>
                  </a:lnTo>
                  <a:lnTo>
                    <a:pt x="227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1" name="íSlîḍè">
              <a:extLst>
                <a:ext uri="{FF2B5EF4-FFF2-40B4-BE49-F238E27FC236}">
                  <a16:creationId xmlns:a16="http://schemas.microsoft.com/office/drawing/2014/main" id="{E47EF0E5-2320-4C1A-BDA7-09BC572CBE5A}"/>
                </a:ext>
              </a:extLst>
            </p:cNvPr>
            <p:cNvSpPr/>
            <p:nvPr/>
          </p:nvSpPr>
          <p:spPr bwMode="auto">
            <a:xfrm>
              <a:off x="2268207" y="1156033"/>
              <a:ext cx="38068" cy="38069"/>
            </a:xfrm>
            <a:custGeom>
              <a:avLst/>
              <a:gdLst>
                <a:gd name="T0" fmla="*/ 113 w 1006"/>
                <a:gd name="T1" fmla="*/ 186 h 1007"/>
                <a:gd name="T2" fmla="*/ 70 w 1006"/>
                <a:gd name="T3" fmla="*/ 248 h 1007"/>
                <a:gd name="T4" fmla="*/ 37 w 1006"/>
                <a:gd name="T5" fmla="*/ 315 h 1007"/>
                <a:gd name="T6" fmla="*/ 14 w 1006"/>
                <a:gd name="T7" fmla="*/ 384 h 1007"/>
                <a:gd name="T8" fmla="*/ 2 w 1006"/>
                <a:gd name="T9" fmla="*/ 456 h 1007"/>
                <a:gd name="T10" fmla="*/ 0 w 1006"/>
                <a:gd name="T11" fmla="*/ 527 h 1007"/>
                <a:gd name="T12" fmla="*/ 9 w 1006"/>
                <a:gd name="T13" fmla="*/ 599 h 1007"/>
                <a:gd name="T14" fmla="*/ 28 w 1006"/>
                <a:gd name="T15" fmla="*/ 670 h 1007"/>
                <a:gd name="T16" fmla="*/ 57 w 1006"/>
                <a:gd name="T17" fmla="*/ 737 h 1007"/>
                <a:gd name="T18" fmla="*/ 97 w 1006"/>
                <a:gd name="T19" fmla="*/ 801 h 1007"/>
                <a:gd name="T20" fmla="*/ 146 w 1006"/>
                <a:gd name="T21" fmla="*/ 859 h 1007"/>
                <a:gd name="T22" fmla="*/ 206 w 1006"/>
                <a:gd name="T23" fmla="*/ 909 h 1007"/>
                <a:gd name="T24" fmla="*/ 269 w 1006"/>
                <a:gd name="T25" fmla="*/ 950 h 1007"/>
                <a:gd name="T26" fmla="*/ 337 w 1006"/>
                <a:gd name="T27" fmla="*/ 979 h 1007"/>
                <a:gd name="T28" fmla="*/ 407 w 1006"/>
                <a:gd name="T29" fmla="*/ 998 h 1007"/>
                <a:gd name="T30" fmla="*/ 478 w 1006"/>
                <a:gd name="T31" fmla="*/ 1006 h 1007"/>
                <a:gd name="T32" fmla="*/ 551 w 1006"/>
                <a:gd name="T33" fmla="*/ 1004 h 1007"/>
                <a:gd name="T34" fmla="*/ 622 w 1006"/>
                <a:gd name="T35" fmla="*/ 992 h 1007"/>
                <a:gd name="T36" fmla="*/ 693 w 1006"/>
                <a:gd name="T37" fmla="*/ 970 h 1007"/>
                <a:gd name="T38" fmla="*/ 759 w 1006"/>
                <a:gd name="T39" fmla="*/ 936 h 1007"/>
                <a:gd name="T40" fmla="*/ 820 w 1006"/>
                <a:gd name="T41" fmla="*/ 893 h 1007"/>
                <a:gd name="T42" fmla="*/ 877 w 1006"/>
                <a:gd name="T43" fmla="*/ 840 h 1007"/>
                <a:gd name="T44" fmla="*/ 924 w 1006"/>
                <a:gd name="T45" fmla="*/ 780 h 1007"/>
                <a:gd name="T46" fmla="*/ 960 w 1006"/>
                <a:gd name="T47" fmla="*/ 715 h 1007"/>
                <a:gd name="T48" fmla="*/ 985 w 1006"/>
                <a:gd name="T49" fmla="*/ 647 h 1007"/>
                <a:gd name="T50" fmla="*/ 1001 w 1006"/>
                <a:gd name="T51" fmla="*/ 575 h 1007"/>
                <a:gd name="T52" fmla="*/ 1006 w 1006"/>
                <a:gd name="T53" fmla="*/ 503 h 1007"/>
                <a:gd name="T54" fmla="*/ 1001 w 1006"/>
                <a:gd name="T55" fmla="*/ 431 h 1007"/>
                <a:gd name="T56" fmla="*/ 985 w 1006"/>
                <a:gd name="T57" fmla="*/ 360 h 1007"/>
                <a:gd name="T58" fmla="*/ 960 w 1006"/>
                <a:gd name="T59" fmla="*/ 292 h 1007"/>
                <a:gd name="T60" fmla="*/ 924 w 1006"/>
                <a:gd name="T61" fmla="*/ 227 h 1007"/>
                <a:gd name="T62" fmla="*/ 877 w 1006"/>
                <a:gd name="T63" fmla="*/ 167 h 1007"/>
                <a:gd name="T64" fmla="*/ 820 w 1006"/>
                <a:gd name="T65" fmla="*/ 114 h 1007"/>
                <a:gd name="T66" fmla="*/ 759 w 1006"/>
                <a:gd name="T67" fmla="*/ 70 h 1007"/>
                <a:gd name="T68" fmla="*/ 693 w 1006"/>
                <a:gd name="T69" fmla="*/ 37 h 1007"/>
                <a:gd name="T70" fmla="*/ 622 w 1006"/>
                <a:gd name="T71" fmla="*/ 15 h 1007"/>
                <a:gd name="T72" fmla="*/ 551 w 1006"/>
                <a:gd name="T73" fmla="*/ 2 h 1007"/>
                <a:gd name="T74" fmla="*/ 479 w 1006"/>
                <a:gd name="T75" fmla="*/ 1 h 1007"/>
                <a:gd name="T76" fmla="*/ 407 w 1006"/>
                <a:gd name="T77" fmla="*/ 9 h 1007"/>
                <a:gd name="T78" fmla="*/ 337 w 1006"/>
                <a:gd name="T79" fmla="*/ 28 h 1007"/>
                <a:gd name="T80" fmla="*/ 269 w 1006"/>
                <a:gd name="T81" fmla="*/ 58 h 1007"/>
                <a:gd name="T82" fmla="*/ 206 w 1006"/>
                <a:gd name="T83" fmla="*/ 98 h 1007"/>
                <a:gd name="T84" fmla="*/ 148 w 1006"/>
                <a:gd name="T85" fmla="*/ 148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7">
                  <a:moveTo>
                    <a:pt x="148" y="148"/>
                  </a:moveTo>
                  <a:lnTo>
                    <a:pt x="130" y="167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7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5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4"/>
                  </a:lnTo>
                  <a:lnTo>
                    <a:pt x="9" y="407"/>
                  </a:lnTo>
                  <a:lnTo>
                    <a:pt x="5" y="431"/>
                  </a:lnTo>
                  <a:lnTo>
                    <a:pt x="2" y="456"/>
                  </a:lnTo>
                  <a:lnTo>
                    <a:pt x="1" y="480"/>
                  </a:lnTo>
                  <a:lnTo>
                    <a:pt x="0" y="503"/>
                  </a:lnTo>
                  <a:lnTo>
                    <a:pt x="0" y="527"/>
                  </a:lnTo>
                  <a:lnTo>
                    <a:pt x="2" y="551"/>
                  </a:lnTo>
                  <a:lnTo>
                    <a:pt x="5" y="575"/>
                  </a:lnTo>
                  <a:lnTo>
                    <a:pt x="9" y="599"/>
                  </a:lnTo>
                  <a:lnTo>
                    <a:pt x="14" y="623"/>
                  </a:lnTo>
                  <a:lnTo>
                    <a:pt x="20" y="647"/>
                  </a:lnTo>
                  <a:lnTo>
                    <a:pt x="28" y="670"/>
                  </a:lnTo>
                  <a:lnTo>
                    <a:pt x="36" y="692"/>
                  </a:lnTo>
                  <a:lnTo>
                    <a:pt x="46" y="715"/>
                  </a:lnTo>
                  <a:lnTo>
                    <a:pt x="57" y="737"/>
                  </a:lnTo>
                  <a:lnTo>
                    <a:pt x="69" y="758"/>
                  </a:lnTo>
                  <a:lnTo>
                    <a:pt x="82" y="780"/>
                  </a:lnTo>
                  <a:lnTo>
                    <a:pt x="97" y="801"/>
                  </a:lnTo>
                  <a:lnTo>
                    <a:pt x="112" y="821"/>
                  </a:lnTo>
                  <a:lnTo>
                    <a:pt x="129" y="840"/>
                  </a:lnTo>
                  <a:lnTo>
                    <a:pt x="146" y="859"/>
                  </a:lnTo>
                  <a:lnTo>
                    <a:pt x="166" y="877"/>
                  </a:lnTo>
                  <a:lnTo>
                    <a:pt x="186" y="893"/>
                  </a:lnTo>
                  <a:lnTo>
                    <a:pt x="206" y="909"/>
                  </a:lnTo>
                  <a:lnTo>
                    <a:pt x="226" y="923"/>
                  </a:lnTo>
                  <a:lnTo>
                    <a:pt x="247" y="936"/>
                  </a:lnTo>
                  <a:lnTo>
                    <a:pt x="269" y="950"/>
                  </a:lnTo>
                  <a:lnTo>
                    <a:pt x="291" y="960"/>
                  </a:lnTo>
                  <a:lnTo>
                    <a:pt x="313" y="970"/>
                  </a:lnTo>
                  <a:lnTo>
                    <a:pt x="337" y="979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8"/>
                  </a:lnTo>
                  <a:lnTo>
                    <a:pt x="431" y="1002"/>
                  </a:lnTo>
                  <a:lnTo>
                    <a:pt x="454" y="1004"/>
                  </a:lnTo>
                  <a:lnTo>
                    <a:pt x="478" y="1006"/>
                  </a:lnTo>
                  <a:lnTo>
                    <a:pt x="502" y="1007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2"/>
                  </a:lnTo>
                  <a:lnTo>
                    <a:pt x="599" y="998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9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50"/>
                  </a:lnTo>
                  <a:lnTo>
                    <a:pt x="759" y="936"/>
                  </a:lnTo>
                  <a:lnTo>
                    <a:pt x="780" y="923"/>
                  </a:lnTo>
                  <a:lnTo>
                    <a:pt x="800" y="909"/>
                  </a:lnTo>
                  <a:lnTo>
                    <a:pt x="820" y="893"/>
                  </a:lnTo>
                  <a:lnTo>
                    <a:pt x="840" y="877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8"/>
                  </a:lnTo>
                  <a:lnTo>
                    <a:pt x="949" y="737"/>
                  </a:lnTo>
                  <a:lnTo>
                    <a:pt x="960" y="715"/>
                  </a:lnTo>
                  <a:lnTo>
                    <a:pt x="969" y="692"/>
                  </a:lnTo>
                  <a:lnTo>
                    <a:pt x="978" y="670"/>
                  </a:lnTo>
                  <a:lnTo>
                    <a:pt x="985" y="647"/>
                  </a:lnTo>
                  <a:lnTo>
                    <a:pt x="992" y="623"/>
                  </a:lnTo>
                  <a:lnTo>
                    <a:pt x="997" y="599"/>
                  </a:lnTo>
                  <a:lnTo>
                    <a:pt x="1001" y="575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80"/>
                  </a:lnTo>
                  <a:lnTo>
                    <a:pt x="1004" y="456"/>
                  </a:lnTo>
                  <a:lnTo>
                    <a:pt x="1001" y="431"/>
                  </a:lnTo>
                  <a:lnTo>
                    <a:pt x="997" y="407"/>
                  </a:lnTo>
                  <a:lnTo>
                    <a:pt x="992" y="384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5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7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7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4"/>
                  </a:lnTo>
                  <a:lnTo>
                    <a:pt x="800" y="98"/>
                  </a:lnTo>
                  <a:lnTo>
                    <a:pt x="780" y="83"/>
                  </a:lnTo>
                  <a:lnTo>
                    <a:pt x="759" y="70"/>
                  </a:lnTo>
                  <a:lnTo>
                    <a:pt x="737" y="58"/>
                  </a:lnTo>
                  <a:lnTo>
                    <a:pt x="715" y="47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5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5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7"/>
                  </a:lnTo>
                  <a:lnTo>
                    <a:pt x="269" y="58"/>
                  </a:lnTo>
                  <a:lnTo>
                    <a:pt x="248" y="70"/>
                  </a:lnTo>
                  <a:lnTo>
                    <a:pt x="227" y="83"/>
                  </a:lnTo>
                  <a:lnTo>
                    <a:pt x="206" y="98"/>
                  </a:lnTo>
                  <a:lnTo>
                    <a:pt x="186" y="114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2" name="îṣliḑê">
              <a:extLst>
                <a:ext uri="{FF2B5EF4-FFF2-40B4-BE49-F238E27FC236}">
                  <a16:creationId xmlns:a16="http://schemas.microsoft.com/office/drawing/2014/main" id="{173EEE11-D37C-4D95-90AA-5C3B6687EE17}"/>
                </a:ext>
              </a:extLst>
            </p:cNvPr>
            <p:cNvSpPr/>
            <p:nvPr/>
          </p:nvSpPr>
          <p:spPr bwMode="auto">
            <a:xfrm>
              <a:off x="2430352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69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7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2 w 1006"/>
                <a:gd name="T37" fmla="*/ 970 h 1006"/>
                <a:gd name="T38" fmla="*/ 758 w 1006"/>
                <a:gd name="T39" fmla="*/ 937 h 1006"/>
                <a:gd name="T40" fmla="*/ 821 w 1006"/>
                <a:gd name="T41" fmla="*/ 893 h 1006"/>
                <a:gd name="T42" fmla="*/ 876 w 1006"/>
                <a:gd name="T43" fmla="*/ 840 h 1006"/>
                <a:gd name="T44" fmla="*/ 923 w 1006"/>
                <a:gd name="T45" fmla="*/ 780 h 1006"/>
                <a:gd name="T46" fmla="*/ 959 w 1006"/>
                <a:gd name="T47" fmla="*/ 714 h 1006"/>
                <a:gd name="T48" fmla="*/ 986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6 w 1006"/>
                <a:gd name="T57" fmla="*/ 360 h 1006"/>
                <a:gd name="T58" fmla="*/ 959 w 1006"/>
                <a:gd name="T59" fmla="*/ 292 h 1006"/>
                <a:gd name="T60" fmla="*/ 923 w 1006"/>
                <a:gd name="T61" fmla="*/ 226 h 1006"/>
                <a:gd name="T62" fmla="*/ 876 w 1006"/>
                <a:gd name="T63" fmla="*/ 166 h 1006"/>
                <a:gd name="T64" fmla="*/ 821 w 1006"/>
                <a:gd name="T65" fmla="*/ 113 h 1006"/>
                <a:gd name="T66" fmla="*/ 758 w 1006"/>
                <a:gd name="T67" fmla="*/ 70 h 1006"/>
                <a:gd name="T68" fmla="*/ 692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69" y="248"/>
                  </a:lnTo>
                  <a:lnTo>
                    <a:pt x="57" y="270"/>
                  </a:lnTo>
                  <a:lnTo>
                    <a:pt x="46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6" y="714"/>
                  </a:lnTo>
                  <a:lnTo>
                    <a:pt x="57" y="737"/>
                  </a:lnTo>
                  <a:lnTo>
                    <a:pt x="69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6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6" y="924"/>
                  </a:lnTo>
                  <a:lnTo>
                    <a:pt x="247" y="937"/>
                  </a:lnTo>
                  <a:lnTo>
                    <a:pt x="269" y="949"/>
                  </a:lnTo>
                  <a:lnTo>
                    <a:pt x="292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7"/>
                  </a:lnTo>
                  <a:lnTo>
                    <a:pt x="430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2" y="970"/>
                  </a:lnTo>
                  <a:lnTo>
                    <a:pt x="714" y="960"/>
                  </a:lnTo>
                  <a:lnTo>
                    <a:pt x="737" y="949"/>
                  </a:lnTo>
                  <a:lnTo>
                    <a:pt x="758" y="937"/>
                  </a:lnTo>
                  <a:lnTo>
                    <a:pt x="779" y="924"/>
                  </a:lnTo>
                  <a:lnTo>
                    <a:pt x="800" y="908"/>
                  </a:lnTo>
                  <a:lnTo>
                    <a:pt x="821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6" y="840"/>
                  </a:lnTo>
                  <a:lnTo>
                    <a:pt x="893" y="821"/>
                  </a:lnTo>
                  <a:lnTo>
                    <a:pt x="908" y="801"/>
                  </a:lnTo>
                  <a:lnTo>
                    <a:pt x="923" y="780"/>
                  </a:lnTo>
                  <a:lnTo>
                    <a:pt x="936" y="759"/>
                  </a:lnTo>
                  <a:lnTo>
                    <a:pt x="948" y="737"/>
                  </a:lnTo>
                  <a:lnTo>
                    <a:pt x="959" y="714"/>
                  </a:lnTo>
                  <a:lnTo>
                    <a:pt x="969" y="692"/>
                  </a:lnTo>
                  <a:lnTo>
                    <a:pt x="977" y="669"/>
                  </a:lnTo>
                  <a:lnTo>
                    <a:pt x="986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6" y="527"/>
                  </a:lnTo>
                  <a:lnTo>
                    <a:pt x="1006" y="503"/>
                  </a:lnTo>
                  <a:lnTo>
                    <a:pt x="1006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6" y="360"/>
                  </a:lnTo>
                  <a:lnTo>
                    <a:pt x="977" y="337"/>
                  </a:lnTo>
                  <a:lnTo>
                    <a:pt x="969" y="314"/>
                  </a:lnTo>
                  <a:lnTo>
                    <a:pt x="959" y="292"/>
                  </a:lnTo>
                  <a:lnTo>
                    <a:pt x="948" y="270"/>
                  </a:lnTo>
                  <a:lnTo>
                    <a:pt x="936" y="248"/>
                  </a:lnTo>
                  <a:lnTo>
                    <a:pt x="923" y="226"/>
                  </a:lnTo>
                  <a:lnTo>
                    <a:pt x="908" y="206"/>
                  </a:lnTo>
                  <a:lnTo>
                    <a:pt x="893" y="186"/>
                  </a:lnTo>
                  <a:lnTo>
                    <a:pt x="876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1" y="113"/>
                  </a:lnTo>
                  <a:lnTo>
                    <a:pt x="800" y="98"/>
                  </a:lnTo>
                  <a:lnTo>
                    <a:pt x="779" y="84"/>
                  </a:lnTo>
                  <a:lnTo>
                    <a:pt x="758" y="70"/>
                  </a:lnTo>
                  <a:lnTo>
                    <a:pt x="737" y="57"/>
                  </a:lnTo>
                  <a:lnTo>
                    <a:pt x="714" y="46"/>
                  </a:lnTo>
                  <a:lnTo>
                    <a:pt x="692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0" y="5"/>
                  </a:lnTo>
                  <a:lnTo>
                    <a:pt x="407" y="9"/>
                  </a:lnTo>
                  <a:lnTo>
                    <a:pt x="383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2" y="46"/>
                  </a:lnTo>
                  <a:lnTo>
                    <a:pt x="269" y="57"/>
                  </a:lnTo>
                  <a:lnTo>
                    <a:pt x="247" y="70"/>
                  </a:lnTo>
                  <a:lnTo>
                    <a:pt x="226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6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3" name="ïsļîḍé">
              <a:extLst>
                <a:ext uri="{FF2B5EF4-FFF2-40B4-BE49-F238E27FC236}">
                  <a16:creationId xmlns:a16="http://schemas.microsoft.com/office/drawing/2014/main" id="{3B23FF90-A6C4-4478-A9A2-9817BB4ECF56}"/>
                </a:ext>
              </a:extLst>
            </p:cNvPr>
            <p:cNvSpPr/>
            <p:nvPr/>
          </p:nvSpPr>
          <p:spPr bwMode="auto">
            <a:xfrm>
              <a:off x="2176560" y="950179"/>
              <a:ext cx="421577" cy="613332"/>
            </a:xfrm>
            <a:custGeom>
              <a:avLst/>
              <a:gdLst>
                <a:gd name="T0" fmla="*/ 3286 w 11063"/>
                <a:gd name="T1" fmla="*/ 11674 h 16095"/>
                <a:gd name="T2" fmla="*/ 1806 w 11063"/>
                <a:gd name="T3" fmla="*/ 10454 h 16095"/>
                <a:gd name="T4" fmla="*/ 1052 w 11063"/>
                <a:gd name="T5" fmla="*/ 8659 h 16095"/>
                <a:gd name="T6" fmla="*/ 1250 w 11063"/>
                <a:gd name="T7" fmla="*/ 6665 h 16095"/>
                <a:gd name="T8" fmla="*/ 2325 w 11063"/>
                <a:gd name="T9" fmla="*/ 5070 h 16095"/>
                <a:gd name="T10" fmla="*/ 4024 w 11063"/>
                <a:gd name="T11" fmla="*/ 4150 h 16095"/>
                <a:gd name="T12" fmla="*/ 6032 w 11063"/>
                <a:gd name="T13" fmla="*/ 4150 h 16095"/>
                <a:gd name="T14" fmla="*/ 7732 w 11063"/>
                <a:gd name="T15" fmla="*/ 5070 h 16095"/>
                <a:gd name="T16" fmla="*/ 8807 w 11063"/>
                <a:gd name="T17" fmla="*/ 6665 h 16095"/>
                <a:gd name="T18" fmla="*/ 9005 w 11063"/>
                <a:gd name="T19" fmla="*/ 8659 h 16095"/>
                <a:gd name="T20" fmla="*/ 8251 w 11063"/>
                <a:gd name="T21" fmla="*/ 10454 h 16095"/>
                <a:gd name="T22" fmla="*/ 6771 w 11063"/>
                <a:gd name="T23" fmla="*/ 11674 h 16095"/>
                <a:gd name="T24" fmla="*/ 7040 w 11063"/>
                <a:gd name="T25" fmla="*/ 15089 h 16095"/>
                <a:gd name="T26" fmla="*/ 3091 w 11063"/>
                <a:gd name="T27" fmla="*/ 12671 h 16095"/>
                <a:gd name="T28" fmla="*/ 3863 w 11063"/>
                <a:gd name="T29" fmla="*/ 12932 h 16095"/>
                <a:gd name="T30" fmla="*/ 4687 w 11063"/>
                <a:gd name="T31" fmla="*/ 13065 h 16095"/>
                <a:gd name="T32" fmla="*/ 5539 w 11063"/>
                <a:gd name="T33" fmla="*/ 13050 h 16095"/>
                <a:gd name="T34" fmla="*/ 6352 w 11063"/>
                <a:gd name="T35" fmla="*/ 12890 h 16095"/>
                <a:gd name="T36" fmla="*/ 7114 w 11063"/>
                <a:gd name="T37" fmla="*/ 12604 h 16095"/>
                <a:gd name="T38" fmla="*/ 7595 w 11063"/>
                <a:gd name="T39" fmla="*/ 3715 h 16095"/>
                <a:gd name="T40" fmla="*/ 6868 w 11063"/>
                <a:gd name="T41" fmla="*/ 3362 h 16095"/>
                <a:gd name="T42" fmla="*/ 6086 w 11063"/>
                <a:gd name="T43" fmla="*/ 3124 h 16095"/>
                <a:gd name="T44" fmla="*/ 5253 w 11063"/>
                <a:gd name="T45" fmla="*/ 3021 h 16095"/>
                <a:gd name="T46" fmla="*/ 4404 w 11063"/>
                <a:gd name="T47" fmla="*/ 3066 h 16095"/>
                <a:gd name="T48" fmla="*/ 3601 w 11063"/>
                <a:gd name="T49" fmla="*/ 3252 h 16095"/>
                <a:gd name="T50" fmla="*/ 2850 w 11063"/>
                <a:gd name="T51" fmla="*/ 3561 h 16095"/>
                <a:gd name="T52" fmla="*/ 10007 w 11063"/>
                <a:gd name="T53" fmla="*/ 7051 h 16095"/>
                <a:gd name="T54" fmla="*/ 9835 w 11063"/>
                <a:gd name="T55" fmla="*/ 6578 h 16095"/>
                <a:gd name="T56" fmla="*/ 9527 w 11063"/>
                <a:gd name="T57" fmla="*/ 5820 h 16095"/>
                <a:gd name="T58" fmla="*/ 9105 w 11063"/>
                <a:gd name="T59" fmla="*/ 5129 h 16095"/>
                <a:gd name="T60" fmla="*/ 8048 w 11063"/>
                <a:gd name="T61" fmla="*/ 691 h 16095"/>
                <a:gd name="T62" fmla="*/ 7829 w 11063"/>
                <a:gd name="T63" fmla="*/ 321 h 16095"/>
                <a:gd name="T64" fmla="*/ 7480 w 11063"/>
                <a:gd name="T65" fmla="*/ 77 h 16095"/>
                <a:gd name="T66" fmla="*/ 3069 w 11063"/>
                <a:gd name="T67" fmla="*/ 0 h 16095"/>
                <a:gd name="T68" fmla="*/ 2643 w 11063"/>
                <a:gd name="T69" fmla="*/ 95 h 16095"/>
                <a:gd name="T70" fmla="*/ 2305 w 11063"/>
                <a:gd name="T71" fmla="*/ 352 h 16095"/>
                <a:gd name="T72" fmla="*/ 2101 w 11063"/>
                <a:gd name="T73" fmla="*/ 734 h 16095"/>
                <a:gd name="T74" fmla="*/ 869 w 11063"/>
                <a:gd name="T75" fmla="*/ 5250 h 16095"/>
                <a:gd name="T76" fmla="*/ 328 w 11063"/>
                <a:gd name="T77" fmla="*/ 6280 h 16095"/>
                <a:gd name="T78" fmla="*/ 38 w 11063"/>
                <a:gd name="T79" fmla="*/ 7434 h 16095"/>
                <a:gd name="T80" fmla="*/ 36 w 11063"/>
                <a:gd name="T81" fmla="*/ 8646 h 16095"/>
                <a:gd name="T82" fmla="*/ 315 w 11063"/>
                <a:gd name="T83" fmla="*/ 9773 h 16095"/>
                <a:gd name="T84" fmla="*/ 833 w 11063"/>
                <a:gd name="T85" fmla="*/ 10783 h 16095"/>
                <a:gd name="T86" fmla="*/ 2049 w 11063"/>
                <a:gd name="T87" fmla="*/ 15361 h 16095"/>
                <a:gd name="T88" fmla="*/ 2252 w 11063"/>
                <a:gd name="T89" fmla="*/ 15742 h 16095"/>
                <a:gd name="T90" fmla="*/ 2591 w 11063"/>
                <a:gd name="T91" fmla="*/ 16000 h 16095"/>
                <a:gd name="T92" fmla="*/ 3017 w 11063"/>
                <a:gd name="T93" fmla="*/ 16095 h 16095"/>
                <a:gd name="T94" fmla="*/ 7426 w 11063"/>
                <a:gd name="T95" fmla="*/ 16018 h 16095"/>
                <a:gd name="T96" fmla="*/ 7776 w 11063"/>
                <a:gd name="T97" fmla="*/ 15774 h 16095"/>
                <a:gd name="T98" fmla="*/ 7996 w 11063"/>
                <a:gd name="T99" fmla="*/ 15403 h 16095"/>
                <a:gd name="T100" fmla="*/ 9064 w 11063"/>
                <a:gd name="T101" fmla="*/ 11023 h 16095"/>
                <a:gd name="T102" fmla="*/ 9508 w 11063"/>
                <a:gd name="T103" fmla="*/ 10314 h 16095"/>
                <a:gd name="T104" fmla="*/ 9830 w 11063"/>
                <a:gd name="T105" fmla="*/ 9532 h 16095"/>
                <a:gd name="T106" fmla="*/ 10007 w 11063"/>
                <a:gd name="T107" fmla="*/ 9044 h 16095"/>
                <a:gd name="T108" fmla="*/ 10356 w 11063"/>
                <a:gd name="T109" fmla="*/ 9008 h 16095"/>
                <a:gd name="T110" fmla="*/ 10768 w 11063"/>
                <a:gd name="T111" fmla="*/ 8759 h 16095"/>
                <a:gd name="T112" fmla="*/ 11018 w 11063"/>
                <a:gd name="T113" fmla="*/ 8346 h 16095"/>
                <a:gd name="T114" fmla="*/ 11043 w 11063"/>
                <a:gd name="T115" fmla="*/ 7845 h 16095"/>
                <a:gd name="T116" fmla="*/ 10834 w 11063"/>
                <a:gd name="T117" fmla="*/ 7408 h 16095"/>
                <a:gd name="T118" fmla="*/ 10449 w 11063"/>
                <a:gd name="T119" fmla="*/ 7121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95">
                  <a:moveTo>
                    <a:pt x="5029" y="12071"/>
                  </a:moveTo>
                  <a:lnTo>
                    <a:pt x="4821" y="12066"/>
                  </a:lnTo>
                  <a:lnTo>
                    <a:pt x="4618" y="12050"/>
                  </a:lnTo>
                  <a:lnTo>
                    <a:pt x="4417" y="12025"/>
                  </a:lnTo>
                  <a:lnTo>
                    <a:pt x="4219" y="11990"/>
                  </a:lnTo>
                  <a:lnTo>
                    <a:pt x="4024" y="11945"/>
                  </a:lnTo>
                  <a:lnTo>
                    <a:pt x="3834" y="11890"/>
                  </a:lnTo>
                  <a:lnTo>
                    <a:pt x="3647" y="11827"/>
                  </a:lnTo>
                  <a:lnTo>
                    <a:pt x="3464" y="11754"/>
                  </a:lnTo>
                  <a:lnTo>
                    <a:pt x="3286" y="11674"/>
                  </a:lnTo>
                  <a:lnTo>
                    <a:pt x="3113" y="11584"/>
                  </a:lnTo>
                  <a:lnTo>
                    <a:pt x="2944" y="11488"/>
                  </a:lnTo>
                  <a:lnTo>
                    <a:pt x="2781" y="11383"/>
                  </a:lnTo>
                  <a:lnTo>
                    <a:pt x="2623" y="11271"/>
                  </a:lnTo>
                  <a:lnTo>
                    <a:pt x="2471" y="11151"/>
                  </a:lnTo>
                  <a:lnTo>
                    <a:pt x="2325" y="11024"/>
                  </a:lnTo>
                  <a:lnTo>
                    <a:pt x="2185" y="10891"/>
                  </a:lnTo>
                  <a:lnTo>
                    <a:pt x="2052" y="10751"/>
                  </a:lnTo>
                  <a:lnTo>
                    <a:pt x="1925" y="10606"/>
                  </a:lnTo>
                  <a:lnTo>
                    <a:pt x="1806" y="10454"/>
                  </a:lnTo>
                  <a:lnTo>
                    <a:pt x="1694" y="10296"/>
                  </a:lnTo>
                  <a:lnTo>
                    <a:pt x="1589" y="10132"/>
                  </a:lnTo>
                  <a:lnTo>
                    <a:pt x="1491" y="9964"/>
                  </a:lnTo>
                  <a:lnTo>
                    <a:pt x="1403" y="9790"/>
                  </a:lnTo>
                  <a:lnTo>
                    <a:pt x="1323" y="9612"/>
                  </a:lnTo>
                  <a:lnTo>
                    <a:pt x="1250" y="9430"/>
                  </a:lnTo>
                  <a:lnTo>
                    <a:pt x="1187" y="9243"/>
                  </a:lnTo>
                  <a:lnTo>
                    <a:pt x="1132" y="9051"/>
                  </a:lnTo>
                  <a:lnTo>
                    <a:pt x="1087" y="8857"/>
                  </a:lnTo>
                  <a:lnTo>
                    <a:pt x="1052" y="8659"/>
                  </a:lnTo>
                  <a:lnTo>
                    <a:pt x="1027" y="8458"/>
                  </a:lnTo>
                  <a:lnTo>
                    <a:pt x="1011" y="8255"/>
                  </a:lnTo>
                  <a:lnTo>
                    <a:pt x="1006" y="8048"/>
                  </a:lnTo>
                  <a:lnTo>
                    <a:pt x="1011" y="7841"/>
                  </a:lnTo>
                  <a:lnTo>
                    <a:pt x="1027" y="7637"/>
                  </a:lnTo>
                  <a:lnTo>
                    <a:pt x="1052" y="7436"/>
                  </a:lnTo>
                  <a:lnTo>
                    <a:pt x="1087" y="7238"/>
                  </a:lnTo>
                  <a:lnTo>
                    <a:pt x="1132" y="7043"/>
                  </a:lnTo>
                  <a:lnTo>
                    <a:pt x="1187" y="6852"/>
                  </a:lnTo>
                  <a:lnTo>
                    <a:pt x="1250" y="6665"/>
                  </a:lnTo>
                  <a:lnTo>
                    <a:pt x="1323" y="6482"/>
                  </a:lnTo>
                  <a:lnTo>
                    <a:pt x="1403" y="6304"/>
                  </a:lnTo>
                  <a:lnTo>
                    <a:pt x="1491" y="6131"/>
                  </a:lnTo>
                  <a:lnTo>
                    <a:pt x="1589" y="5962"/>
                  </a:lnTo>
                  <a:lnTo>
                    <a:pt x="1694" y="5799"/>
                  </a:lnTo>
                  <a:lnTo>
                    <a:pt x="1806" y="5641"/>
                  </a:lnTo>
                  <a:lnTo>
                    <a:pt x="1925" y="5489"/>
                  </a:lnTo>
                  <a:lnTo>
                    <a:pt x="2052" y="5344"/>
                  </a:lnTo>
                  <a:lnTo>
                    <a:pt x="2185" y="5204"/>
                  </a:lnTo>
                  <a:lnTo>
                    <a:pt x="2325" y="5070"/>
                  </a:lnTo>
                  <a:lnTo>
                    <a:pt x="2471" y="4943"/>
                  </a:lnTo>
                  <a:lnTo>
                    <a:pt x="2623" y="4824"/>
                  </a:lnTo>
                  <a:lnTo>
                    <a:pt x="2781" y="4712"/>
                  </a:lnTo>
                  <a:lnTo>
                    <a:pt x="2944" y="4607"/>
                  </a:lnTo>
                  <a:lnTo>
                    <a:pt x="3113" y="4510"/>
                  </a:lnTo>
                  <a:lnTo>
                    <a:pt x="3286" y="4421"/>
                  </a:lnTo>
                  <a:lnTo>
                    <a:pt x="3464" y="4341"/>
                  </a:lnTo>
                  <a:lnTo>
                    <a:pt x="3647" y="4268"/>
                  </a:lnTo>
                  <a:lnTo>
                    <a:pt x="3834" y="4205"/>
                  </a:lnTo>
                  <a:lnTo>
                    <a:pt x="4024" y="4150"/>
                  </a:lnTo>
                  <a:lnTo>
                    <a:pt x="4219" y="4105"/>
                  </a:lnTo>
                  <a:lnTo>
                    <a:pt x="4417" y="4070"/>
                  </a:lnTo>
                  <a:lnTo>
                    <a:pt x="4618" y="4045"/>
                  </a:lnTo>
                  <a:lnTo>
                    <a:pt x="4821" y="4029"/>
                  </a:lnTo>
                  <a:lnTo>
                    <a:pt x="5029" y="4024"/>
                  </a:lnTo>
                  <a:lnTo>
                    <a:pt x="5235" y="4029"/>
                  </a:lnTo>
                  <a:lnTo>
                    <a:pt x="5439" y="4045"/>
                  </a:lnTo>
                  <a:lnTo>
                    <a:pt x="5640" y="4070"/>
                  </a:lnTo>
                  <a:lnTo>
                    <a:pt x="5838" y="4105"/>
                  </a:lnTo>
                  <a:lnTo>
                    <a:pt x="6032" y="4150"/>
                  </a:lnTo>
                  <a:lnTo>
                    <a:pt x="6223" y="4205"/>
                  </a:lnTo>
                  <a:lnTo>
                    <a:pt x="6411" y="4268"/>
                  </a:lnTo>
                  <a:lnTo>
                    <a:pt x="6593" y="4341"/>
                  </a:lnTo>
                  <a:lnTo>
                    <a:pt x="6771" y="4421"/>
                  </a:lnTo>
                  <a:lnTo>
                    <a:pt x="6945" y="4510"/>
                  </a:lnTo>
                  <a:lnTo>
                    <a:pt x="7113" y="4607"/>
                  </a:lnTo>
                  <a:lnTo>
                    <a:pt x="7276" y="4712"/>
                  </a:lnTo>
                  <a:lnTo>
                    <a:pt x="7433" y="4824"/>
                  </a:lnTo>
                  <a:lnTo>
                    <a:pt x="7586" y="4943"/>
                  </a:lnTo>
                  <a:lnTo>
                    <a:pt x="7732" y="5070"/>
                  </a:lnTo>
                  <a:lnTo>
                    <a:pt x="7872" y="5204"/>
                  </a:lnTo>
                  <a:lnTo>
                    <a:pt x="8005" y="5344"/>
                  </a:lnTo>
                  <a:lnTo>
                    <a:pt x="8131" y="5489"/>
                  </a:lnTo>
                  <a:lnTo>
                    <a:pt x="8251" y="5641"/>
                  </a:lnTo>
                  <a:lnTo>
                    <a:pt x="8364" y="5799"/>
                  </a:lnTo>
                  <a:lnTo>
                    <a:pt x="8468" y="5962"/>
                  </a:lnTo>
                  <a:lnTo>
                    <a:pt x="8565" y="6131"/>
                  </a:lnTo>
                  <a:lnTo>
                    <a:pt x="8654" y="6304"/>
                  </a:lnTo>
                  <a:lnTo>
                    <a:pt x="8735" y="6482"/>
                  </a:lnTo>
                  <a:lnTo>
                    <a:pt x="8807" y="6665"/>
                  </a:lnTo>
                  <a:lnTo>
                    <a:pt x="8871" y="6852"/>
                  </a:lnTo>
                  <a:lnTo>
                    <a:pt x="8925" y="7043"/>
                  </a:lnTo>
                  <a:lnTo>
                    <a:pt x="8970" y="7238"/>
                  </a:lnTo>
                  <a:lnTo>
                    <a:pt x="9005" y="7436"/>
                  </a:lnTo>
                  <a:lnTo>
                    <a:pt x="9030" y="7637"/>
                  </a:lnTo>
                  <a:lnTo>
                    <a:pt x="9047" y="7841"/>
                  </a:lnTo>
                  <a:lnTo>
                    <a:pt x="9052" y="8048"/>
                  </a:lnTo>
                  <a:lnTo>
                    <a:pt x="9047" y="8255"/>
                  </a:lnTo>
                  <a:lnTo>
                    <a:pt x="9030" y="8458"/>
                  </a:lnTo>
                  <a:lnTo>
                    <a:pt x="9005" y="8659"/>
                  </a:lnTo>
                  <a:lnTo>
                    <a:pt x="8970" y="8857"/>
                  </a:lnTo>
                  <a:lnTo>
                    <a:pt x="8925" y="9051"/>
                  </a:lnTo>
                  <a:lnTo>
                    <a:pt x="8871" y="9243"/>
                  </a:lnTo>
                  <a:lnTo>
                    <a:pt x="8807" y="9430"/>
                  </a:lnTo>
                  <a:lnTo>
                    <a:pt x="8735" y="9612"/>
                  </a:lnTo>
                  <a:lnTo>
                    <a:pt x="8654" y="9790"/>
                  </a:lnTo>
                  <a:lnTo>
                    <a:pt x="8565" y="9964"/>
                  </a:lnTo>
                  <a:lnTo>
                    <a:pt x="8468" y="10132"/>
                  </a:lnTo>
                  <a:lnTo>
                    <a:pt x="8364" y="10296"/>
                  </a:lnTo>
                  <a:lnTo>
                    <a:pt x="8251" y="10454"/>
                  </a:lnTo>
                  <a:lnTo>
                    <a:pt x="8131" y="10606"/>
                  </a:lnTo>
                  <a:lnTo>
                    <a:pt x="8005" y="10751"/>
                  </a:lnTo>
                  <a:lnTo>
                    <a:pt x="7872" y="10891"/>
                  </a:lnTo>
                  <a:lnTo>
                    <a:pt x="7732" y="11024"/>
                  </a:lnTo>
                  <a:lnTo>
                    <a:pt x="7586" y="11151"/>
                  </a:lnTo>
                  <a:lnTo>
                    <a:pt x="7433" y="11271"/>
                  </a:lnTo>
                  <a:lnTo>
                    <a:pt x="7276" y="11383"/>
                  </a:lnTo>
                  <a:lnTo>
                    <a:pt x="7113" y="11488"/>
                  </a:lnTo>
                  <a:lnTo>
                    <a:pt x="6945" y="11584"/>
                  </a:lnTo>
                  <a:lnTo>
                    <a:pt x="6771" y="11674"/>
                  </a:lnTo>
                  <a:lnTo>
                    <a:pt x="6593" y="11754"/>
                  </a:lnTo>
                  <a:lnTo>
                    <a:pt x="6411" y="11827"/>
                  </a:lnTo>
                  <a:lnTo>
                    <a:pt x="6223" y="11890"/>
                  </a:lnTo>
                  <a:lnTo>
                    <a:pt x="6032" y="11945"/>
                  </a:lnTo>
                  <a:lnTo>
                    <a:pt x="5838" y="11990"/>
                  </a:lnTo>
                  <a:lnTo>
                    <a:pt x="5640" y="12025"/>
                  </a:lnTo>
                  <a:lnTo>
                    <a:pt x="5439" y="12050"/>
                  </a:lnTo>
                  <a:lnTo>
                    <a:pt x="5235" y="12066"/>
                  </a:lnTo>
                  <a:lnTo>
                    <a:pt x="5029" y="12071"/>
                  </a:lnTo>
                  <a:close/>
                  <a:moveTo>
                    <a:pt x="7040" y="15089"/>
                  </a:moveTo>
                  <a:lnTo>
                    <a:pt x="3017" y="15089"/>
                  </a:lnTo>
                  <a:lnTo>
                    <a:pt x="2514" y="12379"/>
                  </a:lnTo>
                  <a:lnTo>
                    <a:pt x="2585" y="12419"/>
                  </a:lnTo>
                  <a:lnTo>
                    <a:pt x="2655" y="12459"/>
                  </a:lnTo>
                  <a:lnTo>
                    <a:pt x="2727" y="12497"/>
                  </a:lnTo>
                  <a:lnTo>
                    <a:pt x="2798" y="12533"/>
                  </a:lnTo>
                  <a:lnTo>
                    <a:pt x="2870" y="12569"/>
                  </a:lnTo>
                  <a:lnTo>
                    <a:pt x="2944" y="12604"/>
                  </a:lnTo>
                  <a:lnTo>
                    <a:pt x="3017" y="12638"/>
                  </a:lnTo>
                  <a:lnTo>
                    <a:pt x="3091" y="12671"/>
                  </a:lnTo>
                  <a:lnTo>
                    <a:pt x="3166" y="12702"/>
                  </a:lnTo>
                  <a:lnTo>
                    <a:pt x="3241" y="12732"/>
                  </a:lnTo>
                  <a:lnTo>
                    <a:pt x="3317" y="12762"/>
                  </a:lnTo>
                  <a:lnTo>
                    <a:pt x="3393" y="12789"/>
                  </a:lnTo>
                  <a:lnTo>
                    <a:pt x="3471" y="12817"/>
                  </a:lnTo>
                  <a:lnTo>
                    <a:pt x="3548" y="12843"/>
                  </a:lnTo>
                  <a:lnTo>
                    <a:pt x="3626" y="12867"/>
                  </a:lnTo>
                  <a:lnTo>
                    <a:pt x="3704" y="12890"/>
                  </a:lnTo>
                  <a:lnTo>
                    <a:pt x="3784" y="12912"/>
                  </a:lnTo>
                  <a:lnTo>
                    <a:pt x="3863" y="12932"/>
                  </a:lnTo>
                  <a:lnTo>
                    <a:pt x="3943" y="12952"/>
                  </a:lnTo>
                  <a:lnTo>
                    <a:pt x="4024" y="12971"/>
                  </a:lnTo>
                  <a:lnTo>
                    <a:pt x="4105" y="12987"/>
                  </a:lnTo>
                  <a:lnTo>
                    <a:pt x="4187" y="13003"/>
                  </a:lnTo>
                  <a:lnTo>
                    <a:pt x="4269" y="13016"/>
                  </a:lnTo>
                  <a:lnTo>
                    <a:pt x="4352" y="13029"/>
                  </a:lnTo>
                  <a:lnTo>
                    <a:pt x="4434" y="13040"/>
                  </a:lnTo>
                  <a:lnTo>
                    <a:pt x="4518" y="13050"/>
                  </a:lnTo>
                  <a:lnTo>
                    <a:pt x="4602" y="13058"/>
                  </a:lnTo>
                  <a:lnTo>
                    <a:pt x="4687" y="13065"/>
                  </a:lnTo>
                  <a:lnTo>
                    <a:pt x="4771" y="13070"/>
                  </a:lnTo>
                  <a:lnTo>
                    <a:pt x="4857" y="13074"/>
                  </a:lnTo>
                  <a:lnTo>
                    <a:pt x="4942" y="13076"/>
                  </a:lnTo>
                  <a:lnTo>
                    <a:pt x="5029" y="13077"/>
                  </a:lnTo>
                  <a:lnTo>
                    <a:pt x="5115" y="13076"/>
                  </a:lnTo>
                  <a:lnTo>
                    <a:pt x="5201" y="13074"/>
                  </a:lnTo>
                  <a:lnTo>
                    <a:pt x="5286" y="13070"/>
                  </a:lnTo>
                  <a:lnTo>
                    <a:pt x="5371" y="13065"/>
                  </a:lnTo>
                  <a:lnTo>
                    <a:pt x="5455" y="13058"/>
                  </a:lnTo>
                  <a:lnTo>
                    <a:pt x="5539" y="13050"/>
                  </a:lnTo>
                  <a:lnTo>
                    <a:pt x="5622" y="13040"/>
                  </a:lnTo>
                  <a:lnTo>
                    <a:pt x="5705" y="13029"/>
                  </a:lnTo>
                  <a:lnTo>
                    <a:pt x="5788" y="13016"/>
                  </a:lnTo>
                  <a:lnTo>
                    <a:pt x="5870" y="13003"/>
                  </a:lnTo>
                  <a:lnTo>
                    <a:pt x="5952" y="12987"/>
                  </a:lnTo>
                  <a:lnTo>
                    <a:pt x="6032" y="12971"/>
                  </a:lnTo>
                  <a:lnTo>
                    <a:pt x="6114" y="12952"/>
                  </a:lnTo>
                  <a:lnTo>
                    <a:pt x="6193" y="12932"/>
                  </a:lnTo>
                  <a:lnTo>
                    <a:pt x="6273" y="12912"/>
                  </a:lnTo>
                  <a:lnTo>
                    <a:pt x="6352" y="12890"/>
                  </a:lnTo>
                  <a:lnTo>
                    <a:pt x="6431" y="12867"/>
                  </a:lnTo>
                  <a:lnTo>
                    <a:pt x="6509" y="12843"/>
                  </a:lnTo>
                  <a:lnTo>
                    <a:pt x="6587" y="12817"/>
                  </a:lnTo>
                  <a:lnTo>
                    <a:pt x="6664" y="12789"/>
                  </a:lnTo>
                  <a:lnTo>
                    <a:pt x="6740" y="12762"/>
                  </a:lnTo>
                  <a:lnTo>
                    <a:pt x="6816" y="12732"/>
                  </a:lnTo>
                  <a:lnTo>
                    <a:pt x="6891" y="12702"/>
                  </a:lnTo>
                  <a:lnTo>
                    <a:pt x="6967" y="12671"/>
                  </a:lnTo>
                  <a:lnTo>
                    <a:pt x="7040" y="12638"/>
                  </a:lnTo>
                  <a:lnTo>
                    <a:pt x="7114" y="12604"/>
                  </a:lnTo>
                  <a:lnTo>
                    <a:pt x="7187" y="12569"/>
                  </a:lnTo>
                  <a:lnTo>
                    <a:pt x="7259" y="12533"/>
                  </a:lnTo>
                  <a:lnTo>
                    <a:pt x="7331" y="12497"/>
                  </a:lnTo>
                  <a:lnTo>
                    <a:pt x="7402" y="12459"/>
                  </a:lnTo>
                  <a:lnTo>
                    <a:pt x="7473" y="12419"/>
                  </a:lnTo>
                  <a:lnTo>
                    <a:pt x="7543" y="12379"/>
                  </a:lnTo>
                  <a:lnTo>
                    <a:pt x="7040" y="15089"/>
                  </a:lnTo>
                  <a:close/>
                  <a:moveTo>
                    <a:pt x="3069" y="1006"/>
                  </a:moveTo>
                  <a:lnTo>
                    <a:pt x="7092" y="1006"/>
                  </a:lnTo>
                  <a:lnTo>
                    <a:pt x="7595" y="3715"/>
                  </a:lnTo>
                  <a:lnTo>
                    <a:pt x="7525" y="3675"/>
                  </a:lnTo>
                  <a:lnTo>
                    <a:pt x="7454" y="3636"/>
                  </a:lnTo>
                  <a:lnTo>
                    <a:pt x="7383" y="3598"/>
                  </a:lnTo>
                  <a:lnTo>
                    <a:pt x="7312" y="3561"/>
                  </a:lnTo>
                  <a:lnTo>
                    <a:pt x="7239" y="3525"/>
                  </a:lnTo>
                  <a:lnTo>
                    <a:pt x="7166" y="3491"/>
                  </a:lnTo>
                  <a:lnTo>
                    <a:pt x="7092" y="3456"/>
                  </a:lnTo>
                  <a:lnTo>
                    <a:pt x="7019" y="3424"/>
                  </a:lnTo>
                  <a:lnTo>
                    <a:pt x="6944" y="3392"/>
                  </a:lnTo>
                  <a:lnTo>
                    <a:pt x="6868" y="3362"/>
                  </a:lnTo>
                  <a:lnTo>
                    <a:pt x="6793" y="3333"/>
                  </a:lnTo>
                  <a:lnTo>
                    <a:pt x="6716" y="3305"/>
                  </a:lnTo>
                  <a:lnTo>
                    <a:pt x="6639" y="3277"/>
                  </a:lnTo>
                  <a:lnTo>
                    <a:pt x="6561" y="3252"/>
                  </a:lnTo>
                  <a:lnTo>
                    <a:pt x="6484" y="3228"/>
                  </a:lnTo>
                  <a:lnTo>
                    <a:pt x="6405" y="3205"/>
                  </a:lnTo>
                  <a:lnTo>
                    <a:pt x="6326" y="3183"/>
                  </a:lnTo>
                  <a:lnTo>
                    <a:pt x="6247" y="3162"/>
                  </a:lnTo>
                  <a:lnTo>
                    <a:pt x="6166" y="3143"/>
                  </a:lnTo>
                  <a:lnTo>
                    <a:pt x="6086" y="3124"/>
                  </a:lnTo>
                  <a:lnTo>
                    <a:pt x="6004" y="3108"/>
                  </a:lnTo>
                  <a:lnTo>
                    <a:pt x="5923" y="3092"/>
                  </a:lnTo>
                  <a:lnTo>
                    <a:pt x="5840" y="3078"/>
                  </a:lnTo>
                  <a:lnTo>
                    <a:pt x="5758" y="3066"/>
                  </a:lnTo>
                  <a:lnTo>
                    <a:pt x="5675" y="3055"/>
                  </a:lnTo>
                  <a:lnTo>
                    <a:pt x="5592" y="3045"/>
                  </a:lnTo>
                  <a:lnTo>
                    <a:pt x="5507" y="3037"/>
                  </a:lnTo>
                  <a:lnTo>
                    <a:pt x="5423" y="3030"/>
                  </a:lnTo>
                  <a:lnTo>
                    <a:pt x="5338" y="3025"/>
                  </a:lnTo>
                  <a:lnTo>
                    <a:pt x="5253" y="3021"/>
                  </a:lnTo>
                  <a:lnTo>
                    <a:pt x="5167" y="3019"/>
                  </a:lnTo>
                  <a:lnTo>
                    <a:pt x="5081" y="3018"/>
                  </a:lnTo>
                  <a:lnTo>
                    <a:pt x="4994" y="3019"/>
                  </a:lnTo>
                  <a:lnTo>
                    <a:pt x="4909" y="3021"/>
                  </a:lnTo>
                  <a:lnTo>
                    <a:pt x="4823" y="3025"/>
                  </a:lnTo>
                  <a:lnTo>
                    <a:pt x="4739" y="3030"/>
                  </a:lnTo>
                  <a:lnTo>
                    <a:pt x="4655" y="3037"/>
                  </a:lnTo>
                  <a:lnTo>
                    <a:pt x="4571" y="3045"/>
                  </a:lnTo>
                  <a:lnTo>
                    <a:pt x="4488" y="3055"/>
                  </a:lnTo>
                  <a:lnTo>
                    <a:pt x="4404" y="3066"/>
                  </a:lnTo>
                  <a:lnTo>
                    <a:pt x="4322" y="3078"/>
                  </a:lnTo>
                  <a:lnTo>
                    <a:pt x="4239" y="3092"/>
                  </a:lnTo>
                  <a:lnTo>
                    <a:pt x="4158" y="3108"/>
                  </a:lnTo>
                  <a:lnTo>
                    <a:pt x="4076" y="3124"/>
                  </a:lnTo>
                  <a:lnTo>
                    <a:pt x="3996" y="3143"/>
                  </a:lnTo>
                  <a:lnTo>
                    <a:pt x="3915" y="3162"/>
                  </a:lnTo>
                  <a:lnTo>
                    <a:pt x="3836" y="3183"/>
                  </a:lnTo>
                  <a:lnTo>
                    <a:pt x="3756" y="3205"/>
                  </a:lnTo>
                  <a:lnTo>
                    <a:pt x="3678" y="3228"/>
                  </a:lnTo>
                  <a:lnTo>
                    <a:pt x="3601" y="3252"/>
                  </a:lnTo>
                  <a:lnTo>
                    <a:pt x="3523" y="3277"/>
                  </a:lnTo>
                  <a:lnTo>
                    <a:pt x="3446" y="3305"/>
                  </a:lnTo>
                  <a:lnTo>
                    <a:pt x="3369" y="3333"/>
                  </a:lnTo>
                  <a:lnTo>
                    <a:pt x="3294" y="3362"/>
                  </a:lnTo>
                  <a:lnTo>
                    <a:pt x="3218" y="3392"/>
                  </a:lnTo>
                  <a:lnTo>
                    <a:pt x="3143" y="3424"/>
                  </a:lnTo>
                  <a:lnTo>
                    <a:pt x="3069" y="3456"/>
                  </a:lnTo>
                  <a:lnTo>
                    <a:pt x="2995" y="3491"/>
                  </a:lnTo>
                  <a:lnTo>
                    <a:pt x="2923" y="3525"/>
                  </a:lnTo>
                  <a:lnTo>
                    <a:pt x="2850" y="3561"/>
                  </a:lnTo>
                  <a:lnTo>
                    <a:pt x="2778" y="3598"/>
                  </a:lnTo>
                  <a:lnTo>
                    <a:pt x="2707" y="3636"/>
                  </a:lnTo>
                  <a:lnTo>
                    <a:pt x="2637" y="3675"/>
                  </a:lnTo>
                  <a:lnTo>
                    <a:pt x="2567" y="3715"/>
                  </a:lnTo>
                  <a:lnTo>
                    <a:pt x="3069" y="1006"/>
                  </a:lnTo>
                  <a:close/>
                  <a:moveTo>
                    <a:pt x="10057" y="7042"/>
                  </a:moveTo>
                  <a:lnTo>
                    <a:pt x="10044" y="7043"/>
                  </a:lnTo>
                  <a:lnTo>
                    <a:pt x="10032" y="7045"/>
                  </a:lnTo>
                  <a:lnTo>
                    <a:pt x="10019" y="7047"/>
                  </a:lnTo>
                  <a:lnTo>
                    <a:pt x="10007" y="7051"/>
                  </a:lnTo>
                  <a:lnTo>
                    <a:pt x="9995" y="7054"/>
                  </a:lnTo>
                  <a:lnTo>
                    <a:pt x="9983" y="7057"/>
                  </a:lnTo>
                  <a:lnTo>
                    <a:pt x="9971" y="7060"/>
                  </a:lnTo>
                  <a:lnTo>
                    <a:pt x="9958" y="7062"/>
                  </a:lnTo>
                  <a:lnTo>
                    <a:pt x="9941" y="6979"/>
                  </a:lnTo>
                  <a:lnTo>
                    <a:pt x="9923" y="6898"/>
                  </a:lnTo>
                  <a:lnTo>
                    <a:pt x="9902" y="6817"/>
                  </a:lnTo>
                  <a:lnTo>
                    <a:pt x="9881" y="6737"/>
                  </a:lnTo>
                  <a:lnTo>
                    <a:pt x="9859" y="6657"/>
                  </a:lnTo>
                  <a:lnTo>
                    <a:pt x="9835" y="6578"/>
                  </a:lnTo>
                  <a:lnTo>
                    <a:pt x="9810" y="6499"/>
                  </a:lnTo>
                  <a:lnTo>
                    <a:pt x="9784" y="6421"/>
                  </a:lnTo>
                  <a:lnTo>
                    <a:pt x="9756" y="6343"/>
                  </a:lnTo>
                  <a:lnTo>
                    <a:pt x="9726" y="6267"/>
                  </a:lnTo>
                  <a:lnTo>
                    <a:pt x="9696" y="6192"/>
                  </a:lnTo>
                  <a:lnTo>
                    <a:pt x="9665" y="6115"/>
                  </a:lnTo>
                  <a:lnTo>
                    <a:pt x="9633" y="6041"/>
                  </a:lnTo>
                  <a:lnTo>
                    <a:pt x="9599" y="5966"/>
                  </a:lnTo>
                  <a:lnTo>
                    <a:pt x="9563" y="5893"/>
                  </a:lnTo>
                  <a:lnTo>
                    <a:pt x="9527" y="5820"/>
                  </a:lnTo>
                  <a:lnTo>
                    <a:pt x="9490" y="5748"/>
                  </a:lnTo>
                  <a:lnTo>
                    <a:pt x="9452" y="5677"/>
                  </a:lnTo>
                  <a:lnTo>
                    <a:pt x="9413" y="5605"/>
                  </a:lnTo>
                  <a:lnTo>
                    <a:pt x="9371" y="5536"/>
                  </a:lnTo>
                  <a:lnTo>
                    <a:pt x="9330" y="5466"/>
                  </a:lnTo>
                  <a:lnTo>
                    <a:pt x="9287" y="5397"/>
                  </a:lnTo>
                  <a:lnTo>
                    <a:pt x="9243" y="5329"/>
                  </a:lnTo>
                  <a:lnTo>
                    <a:pt x="9198" y="5262"/>
                  </a:lnTo>
                  <a:lnTo>
                    <a:pt x="9152" y="5196"/>
                  </a:lnTo>
                  <a:lnTo>
                    <a:pt x="9105" y="5129"/>
                  </a:lnTo>
                  <a:lnTo>
                    <a:pt x="9058" y="5065"/>
                  </a:lnTo>
                  <a:lnTo>
                    <a:pt x="9008" y="5001"/>
                  </a:lnTo>
                  <a:lnTo>
                    <a:pt x="8958" y="4937"/>
                  </a:lnTo>
                  <a:lnTo>
                    <a:pt x="8908" y="4874"/>
                  </a:lnTo>
                  <a:lnTo>
                    <a:pt x="8855" y="4812"/>
                  </a:lnTo>
                  <a:lnTo>
                    <a:pt x="8803" y="4751"/>
                  </a:lnTo>
                  <a:lnTo>
                    <a:pt x="8081" y="822"/>
                  </a:lnTo>
                  <a:lnTo>
                    <a:pt x="8072" y="778"/>
                  </a:lnTo>
                  <a:lnTo>
                    <a:pt x="8061" y="734"/>
                  </a:lnTo>
                  <a:lnTo>
                    <a:pt x="8048" y="691"/>
                  </a:lnTo>
                  <a:lnTo>
                    <a:pt x="8033" y="650"/>
                  </a:lnTo>
                  <a:lnTo>
                    <a:pt x="8017" y="609"/>
                  </a:lnTo>
                  <a:lnTo>
                    <a:pt x="7999" y="569"/>
                  </a:lnTo>
                  <a:lnTo>
                    <a:pt x="7978" y="530"/>
                  </a:lnTo>
                  <a:lnTo>
                    <a:pt x="7957" y="493"/>
                  </a:lnTo>
                  <a:lnTo>
                    <a:pt x="7935" y="456"/>
                  </a:lnTo>
                  <a:lnTo>
                    <a:pt x="7910" y="420"/>
                  </a:lnTo>
                  <a:lnTo>
                    <a:pt x="7885" y="385"/>
                  </a:lnTo>
                  <a:lnTo>
                    <a:pt x="7858" y="352"/>
                  </a:lnTo>
                  <a:lnTo>
                    <a:pt x="7829" y="321"/>
                  </a:lnTo>
                  <a:lnTo>
                    <a:pt x="7799" y="290"/>
                  </a:lnTo>
                  <a:lnTo>
                    <a:pt x="7768" y="261"/>
                  </a:lnTo>
                  <a:lnTo>
                    <a:pt x="7735" y="232"/>
                  </a:lnTo>
                  <a:lnTo>
                    <a:pt x="7702" y="205"/>
                  </a:lnTo>
                  <a:lnTo>
                    <a:pt x="7668" y="180"/>
                  </a:lnTo>
                  <a:lnTo>
                    <a:pt x="7631" y="157"/>
                  </a:lnTo>
                  <a:lnTo>
                    <a:pt x="7595" y="135"/>
                  </a:lnTo>
                  <a:lnTo>
                    <a:pt x="7557" y="114"/>
                  </a:lnTo>
                  <a:lnTo>
                    <a:pt x="7519" y="95"/>
                  </a:lnTo>
                  <a:lnTo>
                    <a:pt x="7480" y="77"/>
                  </a:lnTo>
                  <a:lnTo>
                    <a:pt x="7439" y="61"/>
                  </a:lnTo>
                  <a:lnTo>
                    <a:pt x="7398" y="47"/>
                  </a:lnTo>
                  <a:lnTo>
                    <a:pt x="7356" y="35"/>
                  </a:lnTo>
                  <a:lnTo>
                    <a:pt x="7314" y="24"/>
                  </a:lnTo>
                  <a:lnTo>
                    <a:pt x="7270" y="16"/>
                  </a:lnTo>
                  <a:lnTo>
                    <a:pt x="7227" y="9"/>
                  </a:lnTo>
                  <a:lnTo>
                    <a:pt x="7182" y="4"/>
                  </a:lnTo>
                  <a:lnTo>
                    <a:pt x="7138" y="1"/>
                  </a:lnTo>
                  <a:lnTo>
                    <a:pt x="7092" y="0"/>
                  </a:lnTo>
                  <a:lnTo>
                    <a:pt x="3069" y="0"/>
                  </a:lnTo>
                  <a:lnTo>
                    <a:pt x="3024" y="1"/>
                  </a:lnTo>
                  <a:lnTo>
                    <a:pt x="2980" y="4"/>
                  </a:lnTo>
                  <a:lnTo>
                    <a:pt x="2936" y="9"/>
                  </a:lnTo>
                  <a:lnTo>
                    <a:pt x="2891" y="16"/>
                  </a:lnTo>
                  <a:lnTo>
                    <a:pt x="2848" y="24"/>
                  </a:lnTo>
                  <a:lnTo>
                    <a:pt x="2806" y="35"/>
                  </a:lnTo>
                  <a:lnTo>
                    <a:pt x="2764" y="47"/>
                  </a:lnTo>
                  <a:lnTo>
                    <a:pt x="2724" y="61"/>
                  </a:lnTo>
                  <a:lnTo>
                    <a:pt x="2683" y="77"/>
                  </a:lnTo>
                  <a:lnTo>
                    <a:pt x="2643" y="95"/>
                  </a:lnTo>
                  <a:lnTo>
                    <a:pt x="2605" y="114"/>
                  </a:lnTo>
                  <a:lnTo>
                    <a:pt x="2568" y="135"/>
                  </a:lnTo>
                  <a:lnTo>
                    <a:pt x="2530" y="157"/>
                  </a:lnTo>
                  <a:lnTo>
                    <a:pt x="2495" y="180"/>
                  </a:lnTo>
                  <a:lnTo>
                    <a:pt x="2460" y="205"/>
                  </a:lnTo>
                  <a:lnTo>
                    <a:pt x="2427" y="232"/>
                  </a:lnTo>
                  <a:lnTo>
                    <a:pt x="2395" y="261"/>
                  </a:lnTo>
                  <a:lnTo>
                    <a:pt x="2363" y="290"/>
                  </a:lnTo>
                  <a:lnTo>
                    <a:pt x="2333" y="321"/>
                  </a:lnTo>
                  <a:lnTo>
                    <a:pt x="2305" y="352"/>
                  </a:lnTo>
                  <a:lnTo>
                    <a:pt x="2278" y="385"/>
                  </a:lnTo>
                  <a:lnTo>
                    <a:pt x="2252" y="420"/>
                  </a:lnTo>
                  <a:lnTo>
                    <a:pt x="2228" y="456"/>
                  </a:lnTo>
                  <a:lnTo>
                    <a:pt x="2205" y="493"/>
                  </a:lnTo>
                  <a:lnTo>
                    <a:pt x="2183" y="530"/>
                  </a:lnTo>
                  <a:lnTo>
                    <a:pt x="2163" y="569"/>
                  </a:lnTo>
                  <a:lnTo>
                    <a:pt x="2145" y="609"/>
                  </a:lnTo>
                  <a:lnTo>
                    <a:pt x="2128" y="650"/>
                  </a:lnTo>
                  <a:lnTo>
                    <a:pt x="2114" y="691"/>
                  </a:lnTo>
                  <a:lnTo>
                    <a:pt x="2101" y="734"/>
                  </a:lnTo>
                  <a:lnTo>
                    <a:pt x="2090" y="778"/>
                  </a:lnTo>
                  <a:lnTo>
                    <a:pt x="2081" y="822"/>
                  </a:lnTo>
                  <a:lnTo>
                    <a:pt x="1376" y="4619"/>
                  </a:lnTo>
                  <a:lnTo>
                    <a:pt x="1297" y="4704"/>
                  </a:lnTo>
                  <a:lnTo>
                    <a:pt x="1221" y="4791"/>
                  </a:lnTo>
                  <a:lnTo>
                    <a:pt x="1147" y="4880"/>
                  </a:lnTo>
                  <a:lnTo>
                    <a:pt x="1074" y="4969"/>
                  </a:lnTo>
                  <a:lnTo>
                    <a:pt x="1004" y="5062"/>
                  </a:lnTo>
                  <a:lnTo>
                    <a:pt x="935" y="5155"/>
                  </a:lnTo>
                  <a:lnTo>
                    <a:pt x="869" y="5250"/>
                  </a:lnTo>
                  <a:lnTo>
                    <a:pt x="805" y="5347"/>
                  </a:lnTo>
                  <a:lnTo>
                    <a:pt x="742" y="5445"/>
                  </a:lnTo>
                  <a:lnTo>
                    <a:pt x="683" y="5545"/>
                  </a:lnTo>
                  <a:lnTo>
                    <a:pt x="625" y="5645"/>
                  </a:lnTo>
                  <a:lnTo>
                    <a:pt x="569" y="5748"/>
                  </a:lnTo>
                  <a:lnTo>
                    <a:pt x="516" y="5852"/>
                  </a:lnTo>
                  <a:lnTo>
                    <a:pt x="466" y="5957"/>
                  </a:lnTo>
                  <a:lnTo>
                    <a:pt x="417" y="6063"/>
                  </a:lnTo>
                  <a:lnTo>
                    <a:pt x="371" y="6171"/>
                  </a:lnTo>
                  <a:lnTo>
                    <a:pt x="328" y="6280"/>
                  </a:lnTo>
                  <a:lnTo>
                    <a:pt x="287" y="6391"/>
                  </a:lnTo>
                  <a:lnTo>
                    <a:pt x="248" y="6501"/>
                  </a:lnTo>
                  <a:lnTo>
                    <a:pt x="212" y="6614"/>
                  </a:lnTo>
                  <a:lnTo>
                    <a:pt x="180" y="6729"/>
                  </a:lnTo>
                  <a:lnTo>
                    <a:pt x="149" y="6843"/>
                  </a:lnTo>
                  <a:lnTo>
                    <a:pt x="122" y="6959"/>
                  </a:lnTo>
                  <a:lnTo>
                    <a:pt x="97" y="7077"/>
                  </a:lnTo>
                  <a:lnTo>
                    <a:pt x="74" y="7194"/>
                  </a:lnTo>
                  <a:lnTo>
                    <a:pt x="54" y="7313"/>
                  </a:lnTo>
                  <a:lnTo>
                    <a:pt x="38" y="7434"/>
                  </a:lnTo>
                  <a:lnTo>
                    <a:pt x="24" y="7555"/>
                  </a:lnTo>
                  <a:lnTo>
                    <a:pt x="14" y="7676"/>
                  </a:lnTo>
                  <a:lnTo>
                    <a:pt x="6" y="7799"/>
                  </a:lnTo>
                  <a:lnTo>
                    <a:pt x="2" y="7923"/>
                  </a:lnTo>
                  <a:lnTo>
                    <a:pt x="0" y="8048"/>
                  </a:lnTo>
                  <a:lnTo>
                    <a:pt x="2" y="8169"/>
                  </a:lnTo>
                  <a:lnTo>
                    <a:pt x="6" y="8290"/>
                  </a:lnTo>
                  <a:lnTo>
                    <a:pt x="13" y="8410"/>
                  </a:lnTo>
                  <a:lnTo>
                    <a:pt x="23" y="8528"/>
                  </a:lnTo>
                  <a:lnTo>
                    <a:pt x="36" y="8646"/>
                  </a:lnTo>
                  <a:lnTo>
                    <a:pt x="52" y="8764"/>
                  </a:lnTo>
                  <a:lnTo>
                    <a:pt x="71" y="8879"/>
                  </a:lnTo>
                  <a:lnTo>
                    <a:pt x="93" y="8995"/>
                  </a:lnTo>
                  <a:lnTo>
                    <a:pt x="117" y="9109"/>
                  </a:lnTo>
                  <a:lnTo>
                    <a:pt x="143" y="9222"/>
                  </a:lnTo>
                  <a:lnTo>
                    <a:pt x="172" y="9334"/>
                  </a:lnTo>
                  <a:lnTo>
                    <a:pt x="204" y="9446"/>
                  </a:lnTo>
                  <a:lnTo>
                    <a:pt x="238" y="9555"/>
                  </a:lnTo>
                  <a:lnTo>
                    <a:pt x="276" y="9665"/>
                  </a:lnTo>
                  <a:lnTo>
                    <a:pt x="315" y="9773"/>
                  </a:lnTo>
                  <a:lnTo>
                    <a:pt x="356" y="9879"/>
                  </a:lnTo>
                  <a:lnTo>
                    <a:pt x="400" y="9985"/>
                  </a:lnTo>
                  <a:lnTo>
                    <a:pt x="447" y="10090"/>
                  </a:lnTo>
                  <a:lnTo>
                    <a:pt x="495" y="10192"/>
                  </a:lnTo>
                  <a:lnTo>
                    <a:pt x="546" y="10294"/>
                  </a:lnTo>
                  <a:lnTo>
                    <a:pt x="599" y="10394"/>
                  </a:lnTo>
                  <a:lnTo>
                    <a:pt x="655" y="10494"/>
                  </a:lnTo>
                  <a:lnTo>
                    <a:pt x="712" y="10592"/>
                  </a:lnTo>
                  <a:lnTo>
                    <a:pt x="771" y="10688"/>
                  </a:lnTo>
                  <a:lnTo>
                    <a:pt x="833" y="10783"/>
                  </a:lnTo>
                  <a:lnTo>
                    <a:pt x="896" y="10876"/>
                  </a:lnTo>
                  <a:lnTo>
                    <a:pt x="962" y="10969"/>
                  </a:lnTo>
                  <a:lnTo>
                    <a:pt x="1030" y="11059"/>
                  </a:lnTo>
                  <a:lnTo>
                    <a:pt x="1099" y="11148"/>
                  </a:lnTo>
                  <a:lnTo>
                    <a:pt x="1170" y="11236"/>
                  </a:lnTo>
                  <a:lnTo>
                    <a:pt x="1243" y="11322"/>
                  </a:lnTo>
                  <a:lnTo>
                    <a:pt x="1319" y="11406"/>
                  </a:lnTo>
                  <a:lnTo>
                    <a:pt x="2029" y="15273"/>
                  </a:lnTo>
                  <a:lnTo>
                    <a:pt x="2038" y="15317"/>
                  </a:lnTo>
                  <a:lnTo>
                    <a:pt x="2049" y="15361"/>
                  </a:lnTo>
                  <a:lnTo>
                    <a:pt x="2062" y="15403"/>
                  </a:lnTo>
                  <a:lnTo>
                    <a:pt x="2076" y="15445"/>
                  </a:lnTo>
                  <a:lnTo>
                    <a:pt x="2093" y="15485"/>
                  </a:lnTo>
                  <a:lnTo>
                    <a:pt x="2111" y="15526"/>
                  </a:lnTo>
                  <a:lnTo>
                    <a:pt x="2130" y="15564"/>
                  </a:lnTo>
                  <a:lnTo>
                    <a:pt x="2152" y="15602"/>
                  </a:lnTo>
                  <a:lnTo>
                    <a:pt x="2174" y="15639"/>
                  </a:lnTo>
                  <a:lnTo>
                    <a:pt x="2200" y="15675"/>
                  </a:lnTo>
                  <a:lnTo>
                    <a:pt x="2225" y="15709"/>
                  </a:lnTo>
                  <a:lnTo>
                    <a:pt x="2252" y="15742"/>
                  </a:lnTo>
                  <a:lnTo>
                    <a:pt x="2281" y="15774"/>
                  </a:lnTo>
                  <a:lnTo>
                    <a:pt x="2310" y="15805"/>
                  </a:lnTo>
                  <a:lnTo>
                    <a:pt x="2341" y="15834"/>
                  </a:lnTo>
                  <a:lnTo>
                    <a:pt x="2374" y="15863"/>
                  </a:lnTo>
                  <a:lnTo>
                    <a:pt x="2408" y="15889"/>
                  </a:lnTo>
                  <a:lnTo>
                    <a:pt x="2442" y="15914"/>
                  </a:lnTo>
                  <a:lnTo>
                    <a:pt x="2478" y="15938"/>
                  </a:lnTo>
                  <a:lnTo>
                    <a:pt x="2514" y="15960"/>
                  </a:lnTo>
                  <a:lnTo>
                    <a:pt x="2553" y="15981"/>
                  </a:lnTo>
                  <a:lnTo>
                    <a:pt x="2591" y="16000"/>
                  </a:lnTo>
                  <a:lnTo>
                    <a:pt x="2630" y="16018"/>
                  </a:lnTo>
                  <a:lnTo>
                    <a:pt x="2670" y="16034"/>
                  </a:lnTo>
                  <a:lnTo>
                    <a:pt x="2711" y="16048"/>
                  </a:lnTo>
                  <a:lnTo>
                    <a:pt x="2754" y="16060"/>
                  </a:lnTo>
                  <a:lnTo>
                    <a:pt x="2796" y="16071"/>
                  </a:lnTo>
                  <a:lnTo>
                    <a:pt x="2839" y="16079"/>
                  </a:lnTo>
                  <a:lnTo>
                    <a:pt x="2882" y="16086"/>
                  </a:lnTo>
                  <a:lnTo>
                    <a:pt x="2927" y="16091"/>
                  </a:lnTo>
                  <a:lnTo>
                    <a:pt x="2972" y="16094"/>
                  </a:lnTo>
                  <a:lnTo>
                    <a:pt x="3017" y="16095"/>
                  </a:lnTo>
                  <a:lnTo>
                    <a:pt x="7040" y="16095"/>
                  </a:lnTo>
                  <a:lnTo>
                    <a:pt x="7085" y="16094"/>
                  </a:lnTo>
                  <a:lnTo>
                    <a:pt x="7130" y="16091"/>
                  </a:lnTo>
                  <a:lnTo>
                    <a:pt x="7174" y="16086"/>
                  </a:lnTo>
                  <a:lnTo>
                    <a:pt x="7218" y="16079"/>
                  </a:lnTo>
                  <a:lnTo>
                    <a:pt x="7261" y="16071"/>
                  </a:lnTo>
                  <a:lnTo>
                    <a:pt x="7304" y="16060"/>
                  </a:lnTo>
                  <a:lnTo>
                    <a:pt x="7345" y="16048"/>
                  </a:lnTo>
                  <a:lnTo>
                    <a:pt x="7386" y="16034"/>
                  </a:lnTo>
                  <a:lnTo>
                    <a:pt x="7426" y="16018"/>
                  </a:lnTo>
                  <a:lnTo>
                    <a:pt x="7467" y="16000"/>
                  </a:lnTo>
                  <a:lnTo>
                    <a:pt x="7505" y="15981"/>
                  </a:lnTo>
                  <a:lnTo>
                    <a:pt x="7542" y="15960"/>
                  </a:lnTo>
                  <a:lnTo>
                    <a:pt x="7579" y="15938"/>
                  </a:lnTo>
                  <a:lnTo>
                    <a:pt x="7614" y="15914"/>
                  </a:lnTo>
                  <a:lnTo>
                    <a:pt x="7650" y="15889"/>
                  </a:lnTo>
                  <a:lnTo>
                    <a:pt x="7683" y="15863"/>
                  </a:lnTo>
                  <a:lnTo>
                    <a:pt x="7715" y="15834"/>
                  </a:lnTo>
                  <a:lnTo>
                    <a:pt x="7746" y="15805"/>
                  </a:lnTo>
                  <a:lnTo>
                    <a:pt x="7776" y="15774"/>
                  </a:lnTo>
                  <a:lnTo>
                    <a:pt x="7804" y="15742"/>
                  </a:lnTo>
                  <a:lnTo>
                    <a:pt x="7832" y="15709"/>
                  </a:lnTo>
                  <a:lnTo>
                    <a:pt x="7858" y="15675"/>
                  </a:lnTo>
                  <a:lnTo>
                    <a:pt x="7882" y="15639"/>
                  </a:lnTo>
                  <a:lnTo>
                    <a:pt x="7905" y="15602"/>
                  </a:lnTo>
                  <a:lnTo>
                    <a:pt x="7926" y="15564"/>
                  </a:lnTo>
                  <a:lnTo>
                    <a:pt x="7946" y="15526"/>
                  </a:lnTo>
                  <a:lnTo>
                    <a:pt x="7964" y="15485"/>
                  </a:lnTo>
                  <a:lnTo>
                    <a:pt x="7980" y="15445"/>
                  </a:lnTo>
                  <a:lnTo>
                    <a:pt x="7996" y="15403"/>
                  </a:lnTo>
                  <a:lnTo>
                    <a:pt x="8009" y="15361"/>
                  </a:lnTo>
                  <a:lnTo>
                    <a:pt x="8020" y="15317"/>
                  </a:lnTo>
                  <a:lnTo>
                    <a:pt x="8029" y="15273"/>
                  </a:lnTo>
                  <a:lnTo>
                    <a:pt x="8745" y="11409"/>
                  </a:lnTo>
                  <a:lnTo>
                    <a:pt x="8801" y="11347"/>
                  </a:lnTo>
                  <a:lnTo>
                    <a:pt x="8855" y="11284"/>
                  </a:lnTo>
                  <a:lnTo>
                    <a:pt x="8909" y="11220"/>
                  </a:lnTo>
                  <a:lnTo>
                    <a:pt x="8962" y="11155"/>
                  </a:lnTo>
                  <a:lnTo>
                    <a:pt x="9013" y="11089"/>
                  </a:lnTo>
                  <a:lnTo>
                    <a:pt x="9064" y="11023"/>
                  </a:lnTo>
                  <a:lnTo>
                    <a:pt x="9113" y="10956"/>
                  </a:lnTo>
                  <a:lnTo>
                    <a:pt x="9161" y="10887"/>
                  </a:lnTo>
                  <a:lnTo>
                    <a:pt x="9208" y="10819"/>
                  </a:lnTo>
                  <a:lnTo>
                    <a:pt x="9255" y="10748"/>
                  </a:lnTo>
                  <a:lnTo>
                    <a:pt x="9300" y="10678"/>
                  </a:lnTo>
                  <a:lnTo>
                    <a:pt x="9344" y="10607"/>
                  </a:lnTo>
                  <a:lnTo>
                    <a:pt x="9386" y="10535"/>
                  </a:lnTo>
                  <a:lnTo>
                    <a:pt x="9429" y="10462"/>
                  </a:lnTo>
                  <a:lnTo>
                    <a:pt x="9469" y="10388"/>
                  </a:lnTo>
                  <a:lnTo>
                    <a:pt x="9508" y="10314"/>
                  </a:lnTo>
                  <a:lnTo>
                    <a:pt x="9546" y="10239"/>
                  </a:lnTo>
                  <a:lnTo>
                    <a:pt x="9583" y="10164"/>
                  </a:lnTo>
                  <a:lnTo>
                    <a:pt x="9618" y="10088"/>
                  </a:lnTo>
                  <a:lnTo>
                    <a:pt x="9653" y="10010"/>
                  </a:lnTo>
                  <a:lnTo>
                    <a:pt x="9685" y="9932"/>
                  </a:lnTo>
                  <a:lnTo>
                    <a:pt x="9717" y="9853"/>
                  </a:lnTo>
                  <a:lnTo>
                    <a:pt x="9748" y="9775"/>
                  </a:lnTo>
                  <a:lnTo>
                    <a:pt x="9777" y="9694"/>
                  </a:lnTo>
                  <a:lnTo>
                    <a:pt x="9804" y="9614"/>
                  </a:lnTo>
                  <a:lnTo>
                    <a:pt x="9830" y="9532"/>
                  </a:lnTo>
                  <a:lnTo>
                    <a:pt x="9855" y="9451"/>
                  </a:lnTo>
                  <a:lnTo>
                    <a:pt x="9878" y="9368"/>
                  </a:lnTo>
                  <a:lnTo>
                    <a:pt x="9900" y="9286"/>
                  </a:lnTo>
                  <a:lnTo>
                    <a:pt x="9921" y="9202"/>
                  </a:lnTo>
                  <a:lnTo>
                    <a:pt x="9941" y="9118"/>
                  </a:lnTo>
                  <a:lnTo>
                    <a:pt x="9958" y="9032"/>
                  </a:lnTo>
                  <a:lnTo>
                    <a:pt x="9971" y="9035"/>
                  </a:lnTo>
                  <a:lnTo>
                    <a:pt x="9983" y="9037"/>
                  </a:lnTo>
                  <a:lnTo>
                    <a:pt x="9995" y="9041"/>
                  </a:lnTo>
                  <a:lnTo>
                    <a:pt x="10007" y="9044"/>
                  </a:lnTo>
                  <a:lnTo>
                    <a:pt x="10019" y="9048"/>
                  </a:lnTo>
                  <a:lnTo>
                    <a:pt x="10032" y="9050"/>
                  </a:lnTo>
                  <a:lnTo>
                    <a:pt x="10044" y="9052"/>
                  </a:lnTo>
                  <a:lnTo>
                    <a:pt x="10057" y="9053"/>
                  </a:lnTo>
                  <a:lnTo>
                    <a:pt x="10109" y="9052"/>
                  </a:lnTo>
                  <a:lnTo>
                    <a:pt x="10160" y="9048"/>
                  </a:lnTo>
                  <a:lnTo>
                    <a:pt x="10210" y="9041"/>
                  </a:lnTo>
                  <a:lnTo>
                    <a:pt x="10259" y="9033"/>
                  </a:lnTo>
                  <a:lnTo>
                    <a:pt x="10309" y="9021"/>
                  </a:lnTo>
                  <a:lnTo>
                    <a:pt x="10356" y="9008"/>
                  </a:lnTo>
                  <a:lnTo>
                    <a:pt x="10403" y="8992"/>
                  </a:lnTo>
                  <a:lnTo>
                    <a:pt x="10449" y="8974"/>
                  </a:lnTo>
                  <a:lnTo>
                    <a:pt x="10493" y="8954"/>
                  </a:lnTo>
                  <a:lnTo>
                    <a:pt x="10536" y="8932"/>
                  </a:lnTo>
                  <a:lnTo>
                    <a:pt x="10578" y="8908"/>
                  </a:lnTo>
                  <a:lnTo>
                    <a:pt x="10619" y="8881"/>
                  </a:lnTo>
                  <a:lnTo>
                    <a:pt x="10659" y="8853"/>
                  </a:lnTo>
                  <a:lnTo>
                    <a:pt x="10697" y="8824"/>
                  </a:lnTo>
                  <a:lnTo>
                    <a:pt x="10733" y="8792"/>
                  </a:lnTo>
                  <a:lnTo>
                    <a:pt x="10768" y="8759"/>
                  </a:lnTo>
                  <a:lnTo>
                    <a:pt x="10802" y="8723"/>
                  </a:lnTo>
                  <a:lnTo>
                    <a:pt x="10834" y="8687"/>
                  </a:lnTo>
                  <a:lnTo>
                    <a:pt x="10863" y="8649"/>
                  </a:lnTo>
                  <a:lnTo>
                    <a:pt x="10891" y="8610"/>
                  </a:lnTo>
                  <a:lnTo>
                    <a:pt x="10917" y="8569"/>
                  </a:lnTo>
                  <a:lnTo>
                    <a:pt x="10941" y="8527"/>
                  </a:lnTo>
                  <a:lnTo>
                    <a:pt x="10963" y="8483"/>
                  </a:lnTo>
                  <a:lnTo>
                    <a:pt x="10984" y="8439"/>
                  </a:lnTo>
                  <a:lnTo>
                    <a:pt x="11002" y="8394"/>
                  </a:lnTo>
                  <a:lnTo>
                    <a:pt x="11018" y="8346"/>
                  </a:lnTo>
                  <a:lnTo>
                    <a:pt x="11031" y="8299"/>
                  </a:lnTo>
                  <a:lnTo>
                    <a:pt x="11043" y="8251"/>
                  </a:lnTo>
                  <a:lnTo>
                    <a:pt x="11051" y="8200"/>
                  </a:lnTo>
                  <a:lnTo>
                    <a:pt x="11058" y="8150"/>
                  </a:lnTo>
                  <a:lnTo>
                    <a:pt x="11062" y="8100"/>
                  </a:lnTo>
                  <a:lnTo>
                    <a:pt x="11063" y="8048"/>
                  </a:lnTo>
                  <a:lnTo>
                    <a:pt x="11062" y="7996"/>
                  </a:lnTo>
                  <a:lnTo>
                    <a:pt x="11058" y="7945"/>
                  </a:lnTo>
                  <a:lnTo>
                    <a:pt x="11051" y="7895"/>
                  </a:lnTo>
                  <a:lnTo>
                    <a:pt x="11043" y="7845"/>
                  </a:lnTo>
                  <a:lnTo>
                    <a:pt x="11031" y="7796"/>
                  </a:lnTo>
                  <a:lnTo>
                    <a:pt x="11018" y="7749"/>
                  </a:lnTo>
                  <a:lnTo>
                    <a:pt x="11002" y="7701"/>
                  </a:lnTo>
                  <a:lnTo>
                    <a:pt x="10984" y="7656"/>
                  </a:lnTo>
                  <a:lnTo>
                    <a:pt x="10963" y="7611"/>
                  </a:lnTo>
                  <a:lnTo>
                    <a:pt x="10941" y="7568"/>
                  </a:lnTo>
                  <a:lnTo>
                    <a:pt x="10917" y="7525"/>
                  </a:lnTo>
                  <a:lnTo>
                    <a:pt x="10891" y="7485"/>
                  </a:lnTo>
                  <a:lnTo>
                    <a:pt x="10863" y="7446"/>
                  </a:lnTo>
                  <a:lnTo>
                    <a:pt x="10834" y="7408"/>
                  </a:lnTo>
                  <a:lnTo>
                    <a:pt x="10802" y="7372"/>
                  </a:lnTo>
                  <a:lnTo>
                    <a:pt x="10768" y="7336"/>
                  </a:lnTo>
                  <a:lnTo>
                    <a:pt x="10733" y="7303"/>
                  </a:lnTo>
                  <a:lnTo>
                    <a:pt x="10697" y="7271"/>
                  </a:lnTo>
                  <a:lnTo>
                    <a:pt x="10659" y="7242"/>
                  </a:lnTo>
                  <a:lnTo>
                    <a:pt x="10619" y="7214"/>
                  </a:lnTo>
                  <a:lnTo>
                    <a:pt x="10578" y="7187"/>
                  </a:lnTo>
                  <a:lnTo>
                    <a:pt x="10536" y="7163"/>
                  </a:lnTo>
                  <a:lnTo>
                    <a:pt x="10493" y="7141"/>
                  </a:lnTo>
                  <a:lnTo>
                    <a:pt x="10449" y="7121"/>
                  </a:lnTo>
                  <a:lnTo>
                    <a:pt x="10403" y="7103"/>
                  </a:lnTo>
                  <a:lnTo>
                    <a:pt x="10356" y="7087"/>
                  </a:lnTo>
                  <a:lnTo>
                    <a:pt x="10309" y="7073"/>
                  </a:lnTo>
                  <a:lnTo>
                    <a:pt x="10259" y="7062"/>
                  </a:lnTo>
                  <a:lnTo>
                    <a:pt x="10210" y="7054"/>
                  </a:lnTo>
                  <a:lnTo>
                    <a:pt x="10160" y="7047"/>
                  </a:lnTo>
                  <a:lnTo>
                    <a:pt x="10109" y="7043"/>
                  </a:lnTo>
                  <a:lnTo>
                    <a:pt x="10057" y="70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4" name="îṥḷíḓe">
              <a:extLst>
                <a:ext uri="{FF2B5EF4-FFF2-40B4-BE49-F238E27FC236}">
                  <a16:creationId xmlns:a16="http://schemas.microsoft.com/office/drawing/2014/main" id="{D122FFFA-F8E9-48E8-8A44-53040AF911CC}"/>
                </a:ext>
              </a:extLst>
            </p:cNvPr>
            <p:cNvSpPr/>
            <p:nvPr/>
          </p:nvSpPr>
          <p:spPr bwMode="auto">
            <a:xfrm>
              <a:off x="2348575" y="1160263"/>
              <a:ext cx="115617" cy="115617"/>
            </a:xfrm>
            <a:custGeom>
              <a:avLst/>
              <a:gdLst>
                <a:gd name="T0" fmla="*/ 2976 w 3037"/>
                <a:gd name="T1" fmla="*/ 39 h 3053"/>
                <a:gd name="T2" fmla="*/ 2950 w 3037"/>
                <a:gd name="T3" fmla="*/ 22 h 3053"/>
                <a:gd name="T4" fmla="*/ 2921 w 3037"/>
                <a:gd name="T5" fmla="*/ 9 h 3053"/>
                <a:gd name="T6" fmla="*/ 2892 w 3037"/>
                <a:gd name="T7" fmla="*/ 2 h 3053"/>
                <a:gd name="T8" fmla="*/ 2861 w 3037"/>
                <a:gd name="T9" fmla="*/ 0 h 3053"/>
                <a:gd name="T10" fmla="*/ 2831 w 3037"/>
                <a:gd name="T11" fmla="*/ 4 h 3053"/>
                <a:gd name="T12" fmla="*/ 2801 w 3037"/>
                <a:gd name="T13" fmla="*/ 15 h 3053"/>
                <a:gd name="T14" fmla="*/ 2773 w 3037"/>
                <a:gd name="T15" fmla="*/ 30 h 3053"/>
                <a:gd name="T16" fmla="*/ 149 w 3037"/>
                <a:gd name="T17" fmla="*/ 2194 h 3053"/>
                <a:gd name="T18" fmla="*/ 114 w 3037"/>
                <a:gd name="T19" fmla="*/ 2232 h 3053"/>
                <a:gd name="T20" fmla="*/ 85 w 3037"/>
                <a:gd name="T21" fmla="*/ 2272 h 3053"/>
                <a:gd name="T22" fmla="*/ 59 w 3037"/>
                <a:gd name="T23" fmla="*/ 2315 h 3053"/>
                <a:gd name="T24" fmla="*/ 38 w 3037"/>
                <a:gd name="T25" fmla="*/ 2360 h 3053"/>
                <a:gd name="T26" fmla="*/ 22 w 3037"/>
                <a:gd name="T27" fmla="*/ 2407 h 3053"/>
                <a:gd name="T28" fmla="*/ 10 w 3037"/>
                <a:gd name="T29" fmla="*/ 2455 h 3053"/>
                <a:gd name="T30" fmla="*/ 3 w 3037"/>
                <a:gd name="T31" fmla="*/ 2504 h 3053"/>
                <a:gd name="T32" fmla="*/ 0 w 3037"/>
                <a:gd name="T33" fmla="*/ 2556 h 3053"/>
                <a:gd name="T34" fmla="*/ 3 w 3037"/>
                <a:gd name="T35" fmla="*/ 2605 h 3053"/>
                <a:gd name="T36" fmla="*/ 10 w 3037"/>
                <a:gd name="T37" fmla="*/ 2653 h 3053"/>
                <a:gd name="T38" fmla="*/ 21 w 3037"/>
                <a:gd name="T39" fmla="*/ 2700 h 3053"/>
                <a:gd name="T40" fmla="*/ 37 w 3037"/>
                <a:gd name="T41" fmla="*/ 2746 h 3053"/>
                <a:gd name="T42" fmla="*/ 58 w 3037"/>
                <a:gd name="T43" fmla="*/ 2789 h 3053"/>
                <a:gd name="T44" fmla="*/ 82 w 3037"/>
                <a:gd name="T45" fmla="*/ 2831 h 3053"/>
                <a:gd name="T46" fmla="*/ 111 w 3037"/>
                <a:gd name="T47" fmla="*/ 2870 h 3053"/>
                <a:gd name="T48" fmla="*/ 146 w 3037"/>
                <a:gd name="T49" fmla="*/ 2907 h 3053"/>
                <a:gd name="T50" fmla="*/ 182 w 3037"/>
                <a:gd name="T51" fmla="*/ 2940 h 3053"/>
                <a:gd name="T52" fmla="*/ 221 w 3037"/>
                <a:gd name="T53" fmla="*/ 2969 h 3053"/>
                <a:gd name="T54" fmla="*/ 263 w 3037"/>
                <a:gd name="T55" fmla="*/ 2994 h 3053"/>
                <a:gd name="T56" fmla="*/ 308 w 3037"/>
                <a:gd name="T57" fmla="*/ 3015 h 3053"/>
                <a:gd name="T58" fmla="*/ 354 w 3037"/>
                <a:gd name="T59" fmla="*/ 3031 h 3053"/>
                <a:gd name="T60" fmla="*/ 401 w 3037"/>
                <a:gd name="T61" fmla="*/ 3043 h 3053"/>
                <a:gd name="T62" fmla="*/ 450 w 3037"/>
                <a:gd name="T63" fmla="*/ 3051 h 3053"/>
                <a:gd name="T64" fmla="*/ 501 w 3037"/>
                <a:gd name="T65" fmla="*/ 3053 h 3053"/>
                <a:gd name="T66" fmla="*/ 548 w 3037"/>
                <a:gd name="T67" fmla="*/ 3051 h 3053"/>
                <a:gd name="T68" fmla="*/ 595 w 3037"/>
                <a:gd name="T69" fmla="*/ 3044 h 3053"/>
                <a:gd name="T70" fmla="*/ 642 w 3037"/>
                <a:gd name="T71" fmla="*/ 3033 h 3053"/>
                <a:gd name="T72" fmla="*/ 688 w 3037"/>
                <a:gd name="T73" fmla="*/ 3018 h 3053"/>
                <a:gd name="T74" fmla="*/ 732 w 3037"/>
                <a:gd name="T75" fmla="*/ 2998 h 3053"/>
                <a:gd name="T76" fmla="*/ 775 w 3037"/>
                <a:gd name="T77" fmla="*/ 2975 h 3053"/>
                <a:gd name="T78" fmla="*/ 814 w 3037"/>
                <a:gd name="T79" fmla="*/ 2947 h 3053"/>
                <a:gd name="T80" fmla="*/ 853 w 3037"/>
                <a:gd name="T81" fmla="*/ 2914 h 3053"/>
                <a:gd name="T82" fmla="*/ 3001 w 3037"/>
                <a:gd name="T83" fmla="*/ 276 h 3053"/>
                <a:gd name="T84" fmla="*/ 3018 w 3037"/>
                <a:gd name="T85" fmla="*/ 250 h 3053"/>
                <a:gd name="T86" fmla="*/ 3030 w 3037"/>
                <a:gd name="T87" fmla="*/ 221 h 3053"/>
                <a:gd name="T88" fmla="*/ 3036 w 3037"/>
                <a:gd name="T89" fmla="*/ 191 h 3053"/>
                <a:gd name="T90" fmla="*/ 3037 w 3037"/>
                <a:gd name="T91" fmla="*/ 160 h 3053"/>
                <a:gd name="T92" fmla="*/ 3033 w 3037"/>
                <a:gd name="T93" fmla="*/ 130 h 3053"/>
                <a:gd name="T94" fmla="*/ 3023 w 3037"/>
                <a:gd name="T95" fmla="*/ 101 h 3053"/>
                <a:gd name="T96" fmla="*/ 3008 w 3037"/>
                <a:gd name="T97" fmla="*/ 74 h 3053"/>
                <a:gd name="T98" fmla="*/ 2988 w 3037"/>
                <a:gd name="T99" fmla="*/ 50 h 3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7" h="3053">
                  <a:moveTo>
                    <a:pt x="2988" y="50"/>
                  </a:moveTo>
                  <a:lnTo>
                    <a:pt x="2976" y="39"/>
                  </a:lnTo>
                  <a:lnTo>
                    <a:pt x="2963" y="30"/>
                  </a:lnTo>
                  <a:lnTo>
                    <a:pt x="2950" y="22"/>
                  </a:lnTo>
                  <a:lnTo>
                    <a:pt x="2935" y="15"/>
                  </a:lnTo>
                  <a:lnTo>
                    <a:pt x="2921" y="9"/>
                  </a:lnTo>
                  <a:lnTo>
                    <a:pt x="2907" y="5"/>
                  </a:lnTo>
                  <a:lnTo>
                    <a:pt x="2892" y="2"/>
                  </a:lnTo>
                  <a:lnTo>
                    <a:pt x="2876" y="0"/>
                  </a:lnTo>
                  <a:lnTo>
                    <a:pt x="2861" y="0"/>
                  </a:lnTo>
                  <a:lnTo>
                    <a:pt x="2846" y="2"/>
                  </a:lnTo>
                  <a:lnTo>
                    <a:pt x="2831" y="4"/>
                  </a:lnTo>
                  <a:lnTo>
                    <a:pt x="2816" y="8"/>
                  </a:lnTo>
                  <a:lnTo>
                    <a:pt x="2801" y="15"/>
                  </a:lnTo>
                  <a:lnTo>
                    <a:pt x="2787" y="22"/>
                  </a:lnTo>
                  <a:lnTo>
                    <a:pt x="2773" y="30"/>
                  </a:lnTo>
                  <a:lnTo>
                    <a:pt x="2759" y="40"/>
                  </a:lnTo>
                  <a:lnTo>
                    <a:pt x="149" y="2194"/>
                  </a:lnTo>
                  <a:lnTo>
                    <a:pt x="132" y="2212"/>
                  </a:lnTo>
                  <a:lnTo>
                    <a:pt x="114" y="2232"/>
                  </a:lnTo>
                  <a:lnTo>
                    <a:pt x="99" y="2252"/>
                  </a:lnTo>
                  <a:lnTo>
                    <a:pt x="85" y="2272"/>
                  </a:lnTo>
                  <a:lnTo>
                    <a:pt x="72" y="2293"/>
                  </a:lnTo>
                  <a:lnTo>
                    <a:pt x="59" y="2315"/>
                  </a:lnTo>
                  <a:lnTo>
                    <a:pt x="48" y="2337"/>
                  </a:lnTo>
                  <a:lnTo>
                    <a:pt x="38" y="2360"/>
                  </a:lnTo>
                  <a:lnTo>
                    <a:pt x="30" y="2383"/>
                  </a:lnTo>
                  <a:lnTo>
                    <a:pt x="22" y="2407"/>
                  </a:lnTo>
                  <a:lnTo>
                    <a:pt x="15" y="2431"/>
                  </a:lnTo>
                  <a:lnTo>
                    <a:pt x="10" y="2455"/>
                  </a:lnTo>
                  <a:lnTo>
                    <a:pt x="6" y="2480"/>
                  </a:lnTo>
                  <a:lnTo>
                    <a:pt x="3" y="2504"/>
                  </a:lnTo>
                  <a:lnTo>
                    <a:pt x="1" y="2530"/>
                  </a:lnTo>
                  <a:lnTo>
                    <a:pt x="0" y="2556"/>
                  </a:lnTo>
                  <a:lnTo>
                    <a:pt x="1" y="2580"/>
                  </a:lnTo>
                  <a:lnTo>
                    <a:pt x="3" y="2605"/>
                  </a:lnTo>
                  <a:lnTo>
                    <a:pt x="6" y="2629"/>
                  </a:lnTo>
                  <a:lnTo>
                    <a:pt x="10" y="2653"/>
                  </a:lnTo>
                  <a:lnTo>
                    <a:pt x="15" y="2676"/>
                  </a:lnTo>
                  <a:lnTo>
                    <a:pt x="21" y="2700"/>
                  </a:lnTo>
                  <a:lnTo>
                    <a:pt x="29" y="2724"/>
                  </a:lnTo>
                  <a:lnTo>
                    <a:pt x="37" y="2746"/>
                  </a:lnTo>
                  <a:lnTo>
                    <a:pt x="47" y="2768"/>
                  </a:lnTo>
                  <a:lnTo>
                    <a:pt x="58" y="2789"/>
                  </a:lnTo>
                  <a:lnTo>
                    <a:pt x="70" y="2810"/>
                  </a:lnTo>
                  <a:lnTo>
                    <a:pt x="82" y="2831"/>
                  </a:lnTo>
                  <a:lnTo>
                    <a:pt x="96" y="2851"/>
                  </a:lnTo>
                  <a:lnTo>
                    <a:pt x="111" y="2870"/>
                  </a:lnTo>
                  <a:lnTo>
                    <a:pt x="129" y="2889"/>
                  </a:lnTo>
                  <a:lnTo>
                    <a:pt x="146" y="2907"/>
                  </a:lnTo>
                  <a:lnTo>
                    <a:pt x="164" y="2924"/>
                  </a:lnTo>
                  <a:lnTo>
                    <a:pt x="182" y="2940"/>
                  </a:lnTo>
                  <a:lnTo>
                    <a:pt x="201" y="2955"/>
                  </a:lnTo>
                  <a:lnTo>
                    <a:pt x="221" y="2969"/>
                  </a:lnTo>
                  <a:lnTo>
                    <a:pt x="242" y="2982"/>
                  </a:lnTo>
                  <a:lnTo>
                    <a:pt x="263" y="2994"/>
                  </a:lnTo>
                  <a:lnTo>
                    <a:pt x="285" y="3005"/>
                  </a:lnTo>
                  <a:lnTo>
                    <a:pt x="308" y="3015"/>
                  </a:lnTo>
                  <a:lnTo>
                    <a:pt x="331" y="3024"/>
                  </a:lnTo>
                  <a:lnTo>
                    <a:pt x="354" y="3031"/>
                  </a:lnTo>
                  <a:lnTo>
                    <a:pt x="377" y="3038"/>
                  </a:lnTo>
                  <a:lnTo>
                    <a:pt x="401" y="3043"/>
                  </a:lnTo>
                  <a:lnTo>
                    <a:pt x="426" y="3048"/>
                  </a:lnTo>
                  <a:lnTo>
                    <a:pt x="450" y="3051"/>
                  </a:lnTo>
                  <a:lnTo>
                    <a:pt x="475" y="3053"/>
                  </a:lnTo>
                  <a:lnTo>
                    <a:pt x="501" y="3053"/>
                  </a:lnTo>
                  <a:lnTo>
                    <a:pt x="525" y="3053"/>
                  </a:lnTo>
                  <a:lnTo>
                    <a:pt x="548" y="3051"/>
                  </a:lnTo>
                  <a:lnTo>
                    <a:pt x="572" y="3048"/>
                  </a:lnTo>
                  <a:lnTo>
                    <a:pt x="595" y="3044"/>
                  </a:lnTo>
                  <a:lnTo>
                    <a:pt x="619" y="3039"/>
                  </a:lnTo>
                  <a:lnTo>
                    <a:pt x="642" y="3033"/>
                  </a:lnTo>
                  <a:lnTo>
                    <a:pt x="666" y="3026"/>
                  </a:lnTo>
                  <a:lnTo>
                    <a:pt x="688" y="3018"/>
                  </a:lnTo>
                  <a:lnTo>
                    <a:pt x="710" y="3009"/>
                  </a:lnTo>
                  <a:lnTo>
                    <a:pt x="732" y="2998"/>
                  </a:lnTo>
                  <a:lnTo>
                    <a:pt x="754" y="2987"/>
                  </a:lnTo>
                  <a:lnTo>
                    <a:pt x="775" y="2975"/>
                  </a:lnTo>
                  <a:lnTo>
                    <a:pt x="795" y="2961"/>
                  </a:lnTo>
                  <a:lnTo>
                    <a:pt x="814" y="2947"/>
                  </a:lnTo>
                  <a:lnTo>
                    <a:pt x="834" y="2931"/>
                  </a:lnTo>
                  <a:lnTo>
                    <a:pt x="853" y="2914"/>
                  </a:lnTo>
                  <a:lnTo>
                    <a:pt x="1782" y="1795"/>
                  </a:lnTo>
                  <a:lnTo>
                    <a:pt x="3001" y="276"/>
                  </a:lnTo>
                  <a:lnTo>
                    <a:pt x="3010" y="263"/>
                  </a:lnTo>
                  <a:lnTo>
                    <a:pt x="3018" y="250"/>
                  </a:lnTo>
                  <a:lnTo>
                    <a:pt x="3025" y="236"/>
                  </a:lnTo>
                  <a:lnTo>
                    <a:pt x="3030" y="221"/>
                  </a:lnTo>
                  <a:lnTo>
                    <a:pt x="3034" y="206"/>
                  </a:lnTo>
                  <a:lnTo>
                    <a:pt x="3036" y="191"/>
                  </a:lnTo>
                  <a:lnTo>
                    <a:pt x="3037" y="175"/>
                  </a:lnTo>
                  <a:lnTo>
                    <a:pt x="3037" y="160"/>
                  </a:lnTo>
                  <a:lnTo>
                    <a:pt x="3035" y="145"/>
                  </a:lnTo>
                  <a:lnTo>
                    <a:pt x="3033" y="130"/>
                  </a:lnTo>
                  <a:lnTo>
                    <a:pt x="3028" y="115"/>
                  </a:lnTo>
                  <a:lnTo>
                    <a:pt x="3023" y="101"/>
                  </a:lnTo>
                  <a:lnTo>
                    <a:pt x="3016" y="87"/>
                  </a:lnTo>
                  <a:lnTo>
                    <a:pt x="3008" y="74"/>
                  </a:lnTo>
                  <a:lnTo>
                    <a:pt x="2998" y="62"/>
                  </a:lnTo>
                  <a:lnTo>
                    <a:pt x="2988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5" name="îṧ1íḑê">
              <a:extLst>
                <a:ext uri="{FF2B5EF4-FFF2-40B4-BE49-F238E27FC236}">
                  <a16:creationId xmlns:a16="http://schemas.microsoft.com/office/drawing/2014/main" id="{02E22460-4B06-468C-A5A2-45FD86E9266D}"/>
                </a:ext>
              </a:extLst>
            </p:cNvPr>
            <p:cNvSpPr/>
            <p:nvPr/>
          </p:nvSpPr>
          <p:spPr bwMode="auto">
            <a:xfrm>
              <a:off x="2700980" y="667601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6" name="íŝliḍe">
              <a:extLst>
                <a:ext uri="{FF2B5EF4-FFF2-40B4-BE49-F238E27FC236}">
                  <a16:creationId xmlns:a16="http://schemas.microsoft.com/office/drawing/2014/main" id="{205BFE15-2D9F-4101-A522-65210C88DE4E}"/>
                </a:ext>
              </a:extLst>
            </p:cNvPr>
            <p:cNvSpPr/>
            <p:nvPr/>
          </p:nvSpPr>
          <p:spPr bwMode="auto">
            <a:xfrm>
              <a:off x="2631911" y="598532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7" name="iṧḻíḍé">
              <a:extLst>
                <a:ext uri="{FF2B5EF4-FFF2-40B4-BE49-F238E27FC236}">
                  <a16:creationId xmlns:a16="http://schemas.microsoft.com/office/drawing/2014/main" id="{1ACCB623-6573-4A3F-92A4-D7B9731E45AC}"/>
                </a:ext>
              </a:extLst>
            </p:cNvPr>
            <p:cNvSpPr/>
            <p:nvPr/>
          </p:nvSpPr>
          <p:spPr bwMode="auto">
            <a:xfrm>
              <a:off x="2262076" y="624077"/>
              <a:ext cx="297186" cy="258928"/>
            </a:xfrm>
            <a:custGeom>
              <a:avLst/>
              <a:gdLst>
                <a:gd name="T0" fmla="*/ 15078 w 16095"/>
                <a:gd name="T1" fmla="*/ 12172 h 14023"/>
                <a:gd name="T2" fmla="*/ 15028 w 16095"/>
                <a:gd name="T3" fmla="*/ 12363 h 14023"/>
                <a:gd name="T4" fmla="*/ 14943 w 16095"/>
                <a:gd name="T5" fmla="*/ 12539 h 14023"/>
                <a:gd name="T6" fmla="*/ 14828 w 16095"/>
                <a:gd name="T7" fmla="*/ 12693 h 14023"/>
                <a:gd name="T8" fmla="*/ 14685 w 16095"/>
                <a:gd name="T9" fmla="*/ 12822 h 14023"/>
                <a:gd name="T10" fmla="*/ 14519 w 16095"/>
                <a:gd name="T11" fmla="*/ 12922 h 14023"/>
                <a:gd name="T12" fmla="*/ 14335 w 16095"/>
                <a:gd name="T13" fmla="*/ 12989 h 14023"/>
                <a:gd name="T14" fmla="*/ 14134 w 16095"/>
                <a:gd name="T15" fmla="*/ 13020 h 14023"/>
                <a:gd name="T16" fmla="*/ 1909 w 16095"/>
                <a:gd name="T17" fmla="*/ 13016 h 14023"/>
                <a:gd name="T18" fmla="*/ 1713 w 16095"/>
                <a:gd name="T19" fmla="*/ 12976 h 14023"/>
                <a:gd name="T20" fmla="*/ 1533 w 16095"/>
                <a:gd name="T21" fmla="*/ 12900 h 14023"/>
                <a:gd name="T22" fmla="*/ 1372 w 16095"/>
                <a:gd name="T23" fmla="*/ 12792 h 14023"/>
                <a:gd name="T24" fmla="*/ 1236 w 16095"/>
                <a:gd name="T25" fmla="*/ 12657 h 14023"/>
                <a:gd name="T26" fmla="*/ 1128 w 16095"/>
                <a:gd name="T27" fmla="*/ 12496 h 14023"/>
                <a:gd name="T28" fmla="*/ 1051 w 16095"/>
                <a:gd name="T29" fmla="*/ 12317 h 14023"/>
                <a:gd name="T30" fmla="*/ 1011 w 16095"/>
                <a:gd name="T31" fmla="*/ 12122 h 14023"/>
                <a:gd name="T32" fmla="*/ 3018 w 16095"/>
                <a:gd name="T33" fmla="*/ 1002 h 14023"/>
                <a:gd name="T34" fmla="*/ 16057 w 16095"/>
                <a:gd name="T35" fmla="*/ 8241 h 14023"/>
                <a:gd name="T36" fmla="*/ 14003 w 16095"/>
                <a:gd name="T37" fmla="*/ 609 h 14023"/>
                <a:gd name="T38" fmla="*/ 13927 w 16095"/>
                <a:gd name="T39" fmla="*/ 466 h 14023"/>
                <a:gd name="T40" fmla="*/ 13830 w 16095"/>
                <a:gd name="T41" fmla="*/ 338 h 14023"/>
                <a:gd name="T42" fmla="*/ 13714 w 16095"/>
                <a:gd name="T43" fmla="*/ 227 h 14023"/>
                <a:gd name="T44" fmla="*/ 13583 w 16095"/>
                <a:gd name="T45" fmla="*/ 136 h 14023"/>
                <a:gd name="T46" fmla="*/ 13438 w 16095"/>
                <a:gd name="T47" fmla="*/ 67 h 14023"/>
                <a:gd name="T48" fmla="*/ 13282 w 16095"/>
                <a:gd name="T49" fmla="*/ 21 h 14023"/>
                <a:gd name="T50" fmla="*/ 13118 w 16095"/>
                <a:gd name="T51" fmla="*/ 1 h 14023"/>
                <a:gd name="T52" fmla="*/ 2977 w 16095"/>
                <a:gd name="T53" fmla="*/ 1 h 14023"/>
                <a:gd name="T54" fmla="*/ 2813 w 16095"/>
                <a:gd name="T55" fmla="*/ 21 h 14023"/>
                <a:gd name="T56" fmla="*/ 2657 w 16095"/>
                <a:gd name="T57" fmla="*/ 67 h 14023"/>
                <a:gd name="T58" fmla="*/ 2512 w 16095"/>
                <a:gd name="T59" fmla="*/ 136 h 14023"/>
                <a:gd name="T60" fmla="*/ 2381 w 16095"/>
                <a:gd name="T61" fmla="*/ 227 h 14023"/>
                <a:gd name="T62" fmla="*/ 2265 w 16095"/>
                <a:gd name="T63" fmla="*/ 338 h 14023"/>
                <a:gd name="T64" fmla="*/ 2168 w 16095"/>
                <a:gd name="T65" fmla="*/ 466 h 14023"/>
                <a:gd name="T66" fmla="*/ 2092 w 16095"/>
                <a:gd name="T67" fmla="*/ 609 h 14023"/>
                <a:gd name="T68" fmla="*/ 38 w 16095"/>
                <a:gd name="T69" fmla="*/ 8241 h 14023"/>
                <a:gd name="T70" fmla="*/ 9 w 16095"/>
                <a:gd name="T71" fmla="*/ 8378 h 14023"/>
                <a:gd name="T72" fmla="*/ 0 w 16095"/>
                <a:gd name="T73" fmla="*/ 8514 h 14023"/>
                <a:gd name="T74" fmla="*/ 23 w 16095"/>
                <a:gd name="T75" fmla="*/ 12325 h 14023"/>
                <a:gd name="T76" fmla="*/ 122 w 16095"/>
                <a:gd name="T77" fmla="*/ 12709 h 14023"/>
                <a:gd name="T78" fmla="*/ 292 w 16095"/>
                <a:gd name="T79" fmla="*/ 13058 h 14023"/>
                <a:gd name="T80" fmla="*/ 523 w 16095"/>
                <a:gd name="T81" fmla="*/ 13367 h 14023"/>
                <a:gd name="T82" fmla="*/ 808 w 16095"/>
                <a:gd name="T83" fmla="*/ 13625 h 14023"/>
                <a:gd name="T84" fmla="*/ 1140 w 16095"/>
                <a:gd name="T85" fmla="*/ 13826 h 14023"/>
                <a:gd name="T86" fmla="*/ 1509 w 16095"/>
                <a:gd name="T87" fmla="*/ 13960 h 14023"/>
                <a:gd name="T88" fmla="*/ 1908 w 16095"/>
                <a:gd name="T89" fmla="*/ 14020 h 14023"/>
                <a:gd name="T90" fmla="*/ 14289 w 16095"/>
                <a:gd name="T91" fmla="*/ 14013 h 14023"/>
                <a:gd name="T92" fmla="*/ 14682 w 16095"/>
                <a:gd name="T93" fmla="*/ 13933 h 14023"/>
                <a:gd name="T94" fmla="*/ 15042 w 16095"/>
                <a:gd name="T95" fmla="*/ 13782 h 14023"/>
                <a:gd name="T96" fmla="*/ 15363 w 16095"/>
                <a:gd name="T97" fmla="*/ 13565 h 14023"/>
                <a:gd name="T98" fmla="*/ 15635 w 16095"/>
                <a:gd name="T99" fmla="*/ 13294 h 14023"/>
                <a:gd name="T100" fmla="*/ 15853 w 16095"/>
                <a:gd name="T101" fmla="*/ 12974 h 14023"/>
                <a:gd name="T102" fmla="*/ 16004 w 16095"/>
                <a:gd name="T103" fmla="*/ 12616 h 14023"/>
                <a:gd name="T104" fmla="*/ 16085 w 16095"/>
                <a:gd name="T105" fmla="*/ 12224 h 14023"/>
                <a:gd name="T106" fmla="*/ 16094 w 16095"/>
                <a:gd name="T107" fmla="*/ 8480 h 14023"/>
                <a:gd name="T108" fmla="*/ 16080 w 16095"/>
                <a:gd name="T109" fmla="*/ 8344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4023">
                  <a:moveTo>
                    <a:pt x="15089" y="12020"/>
                  </a:moveTo>
                  <a:lnTo>
                    <a:pt x="15088" y="12071"/>
                  </a:lnTo>
                  <a:lnTo>
                    <a:pt x="15084" y="12122"/>
                  </a:lnTo>
                  <a:lnTo>
                    <a:pt x="15078" y="12172"/>
                  </a:lnTo>
                  <a:lnTo>
                    <a:pt x="15069" y="12221"/>
                  </a:lnTo>
                  <a:lnTo>
                    <a:pt x="15058" y="12270"/>
                  </a:lnTo>
                  <a:lnTo>
                    <a:pt x="15044" y="12317"/>
                  </a:lnTo>
                  <a:lnTo>
                    <a:pt x="15028" y="12363"/>
                  </a:lnTo>
                  <a:lnTo>
                    <a:pt x="15010" y="12409"/>
                  </a:lnTo>
                  <a:lnTo>
                    <a:pt x="14989" y="12453"/>
                  </a:lnTo>
                  <a:lnTo>
                    <a:pt x="14967" y="12496"/>
                  </a:lnTo>
                  <a:lnTo>
                    <a:pt x="14943" y="12539"/>
                  </a:lnTo>
                  <a:lnTo>
                    <a:pt x="14917" y="12580"/>
                  </a:lnTo>
                  <a:lnTo>
                    <a:pt x="14889" y="12619"/>
                  </a:lnTo>
                  <a:lnTo>
                    <a:pt x="14859" y="12657"/>
                  </a:lnTo>
                  <a:lnTo>
                    <a:pt x="14828" y="12693"/>
                  </a:lnTo>
                  <a:lnTo>
                    <a:pt x="14794" y="12728"/>
                  </a:lnTo>
                  <a:lnTo>
                    <a:pt x="14759" y="12761"/>
                  </a:lnTo>
                  <a:lnTo>
                    <a:pt x="14723" y="12792"/>
                  </a:lnTo>
                  <a:lnTo>
                    <a:pt x="14685" y="12822"/>
                  </a:lnTo>
                  <a:lnTo>
                    <a:pt x="14645" y="12850"/>
                  </a:lnTo>
                  <a:lnTo>
                    <a:pt x="14604" y="12876"/>
                  </a:lnTo>
                  <a:lnTo>
                    <a:pt x="14562" y="12900"/>
                  </a:lnTo>
                  <a:lnTo>
                    <a:pt x="14519" y="12922"/>
                  </a:lnTo>
                  <a:lnTo>
                    <a:pt x="14474" y="12942"/>
                  </a:lnTo>
                  <a:lnTo>
                    <a:pt x="14429" y="12960"/>
                  </a:lnTo>
                  <a:lnTo>
                    <a:pt x="14382" y="12976"/>
                  </a:lnTo>
                  <a:lnTo>
                    <a:pt x="14335" y="12989"/>
                  </a:lnTo>
                  <a:lnTo>
                    <a:pt x="14285" y="13001"/>
                  </a:lnTo>
                  <a:lnTo>
                    <a:pt x="14236" y="13009"/>
                  </a:lnTo>
                  <a:lnTo>
                    <a:pt x="14186" y="13016"/>
                  </a:lnTo>
                  <a:lnTo>
                    <a:pt x="14134" y="13020"/>
                  </a:lnTo>
                  <a:lnTo>
                    <a:pt x="14083" y="13021"/>
                  </a:lnTo>
                  <a:lnTo>
                    <a:pt x="2012" y="13021"/>
                  </a:lnTo>
                  <a:lnTo>
                    <a:pt x="1961" y="13020"/>
                  </a:lnTo>
                  <a:lnTo>
                    <a:pt x="1909" y="13016"/>
                  </a:lnTo>
                  <a:lnTo>
                    <a:pt x="1859" y="13009"/>
                  </a:lnTo>
                  <a:lnTo>
                    <a:pt x="1810" y="13001"/>
                  </a:lnTo>
                  <a:lnTo>
                    <a:pt x="1760" y="12989"/>
                  </a:lnTo>
                  <a:lnTo>
                    <a:pt x="1713" y="12976"/>
                  </a:lnTo>
                  <a:lnTo>
                    <a:pt x="1666" y="12960"/>
                  </a:lnTo>
                  <a:lnTo>
                    <a:pt x="1621" y="12942"/>
                  </a:lnTo>
                  <a:lnTo>
                    <a:pt x="1576" y="12922"/>
                  </a:lnTo>
                  <a:lnTo>
                    <a:pt x="1533" y="12900"/>
                  </a:lnTo>
                  <a:lnTo>
                    <a:pt x="1491" y="12876"/>
                  </a:lnTo>
                  <a:lnTo>
                    <a:pt x="1450" y="12850"/>
                  </a:lnTo>
                  <a:lnTo>
                    <a:pt x="1410" y="12822"/>
                  </a:lnTo>
                  <a:lnTo>
                    <a:pt x="1372" y="12792"/>
                  </a:lnTo>
                  <a:lnTo>
                    <a:pt x="1336" y="12761"/>
                  </a:lnTo>
                  <a:lnTo>
                    <a:pt x="1301" y="12728"/>
                  </a:lnTo>
                  <a:lnTo>
                    <a:pt x="1267" y="12693"/>
                  </a:lnTo>
                  <a:lnTo>
                    <a:pt x="1236" y="12657"/>
                  </a:lnTo>
                  <a:lnTo>
                    <a:pt x="1206" y="12619"/>
                  </a:lnTo>
                  <a:lnTo>
                    <a:pt x="1178" y="12580"/>
                  </a:lnTo>
                  <a:lnTo>
                    <a:pt x="1152" y="12539"/>
                  </a:lnTo>
                  <a:lnTo>
                    <a:pt x="1128" y="12496"/>
                  </a:lnTo>
                  <a:lnTo>
                    <a:pt x="1106" y="12453"/>
                  </a:lnTo>
                  <a:lnTo>
                    <a:pt x="1085" y="12409"/>
                  </a:lnTo>
                  <a:lnTo>
                    <a:pt x="1067" y="12363"/>
                  </a:lnTo>
                  <a:lnTo>
                    <a:pt x="1051" y="12317"/>
                  </a:lnTo>
                  <a:lnTo>
                    <a:pt x="1038" y="12270"/>
                  </a:lnTo>
                  <a:lnTo>
                    <a:pt x="1026" y="12221"/>
                  </a:lnTo>
                  <a:lnTo>
                    <a:pt x="1018" y="12172"/>
                  </a:lnTo>
                  <a:lnTo>
                    <a:pt x="1011" y="12122"/>
                  </a:lnTo>
                  <a:lnTo>
                    <a:pt x="1007" y="12071"/>
                  </a:lnTo>
                  <a:lnTo>
                    <a:pt x="1006" y="12020"/>
                  </a:lnTo>
                  <a:lnTo>
                    <a:pt x="1006" y="8514"/>
                  </a:lnTo>
                  <a:lnTo>
                    <a:pt x="3018" y="1002"/>
                  </a:lnTo>
                  <a:lnTo>
                    <a:pt x="13077" y="1002"/>
                  </a:lnTo>
                  <a:lnTo>
                    <a:pt x="15089" y="8514"/>
                  </a:lnTo>
                  <a:lnTo>
                    <a:pt x="15089" y="12020"/>
                  </a:lnTo>
                  <a:close/>
                  <a:moveTo>
                    <a:pt x="16057" y="8241"/>
                  </a:moveTo>
                  <a:lnTo>
                    <a:pt x="14044" y="726"/>
                  </a:lnTo>
                  <a:lnTo>
                    <a:pt x="14032" y="686"/>
                  </a:lnTo>
                  <a:lnTo>
                    <a:pt x="14018" y="647"/>
                  </a:lnTo>
                  <a:lnTo>
                    <a:pt x="14003" y="609"/>
                  </a:lnTo>
                  <a:lnTo>
                    <a:pt x="13986" y="572"/>
                  </a:lnTo>
                  <a:lnTo>
                    <a:pt x="13967" y="536"/>
                  </a:lnTo>
                  <a:lnTo>
                    <a:pt x="13947" y="501"/>
                  </a:lnTo>
                  <a:lnTo>
                    <a:pt x="13927" y="466"/>
                  </a:lnTo>
                  <a:lnTo>
                    <a:pt x="13904" y="433"/>
                  </a:lnTo>
                  <a:lnTo>
                    <a:pt x="13881" y="400"/>
                  </a:lnTo>
                  <a:lnTo>
                    <a:pt x="13856" y="369"/>
                  </a:lnTo>
                  <a:lnTo>
                    <a:pt x="13830" y="338"/>
                  </a:lnTo>
                  <a:lnTo>
                    <a:pt x="13802" y="309"/>
                  </a:lnTo>
                  <a:lnTo>
                    <a:pt x="13774" y="280"/>
                  </a:lnTo>
                  <a:lnTo>
                    <a:pt x="13745" y="253"/>
                  </a:lnTo>
                  <a:lnTo>
                    <a:pt x="13714" y="227"/>
                  </a:lnTo>
                  <a:lnTo>
                    <a:pt x="13683" y="202"/>
                  </a:lnTo>
                  <a:lnTo>
                    <a:pt x="13651" y="179"/>
                  </a:lnTo>
                  <a:lnTo>
                    <a:pt x="13617" y="157"/>
                  </a:lnTo>
                  <a:lnTo>
                    <a:pt x="13583" y="136"/>
                  </a:lnTo>
                  <a:lnTo>
                    <a:pt x="13548" y="117"/>
                  </a:lnTo>
                  <a:lnTo>
                    <a:pt x="13512" y="99"/>
                  </a:lnTo>
                  <a:lnTo>
                    <a:pt x="13476" y="82"/>
                  </a:lnTo>
                  <a:lnTo>
                    <a:pt x="13438" y="67"/>
                  </a:lnTo>
                  <a:lnTo>
                    <a:pt x="13400" y="53"/>
                  </a:lnTo>
                  <a:lnTo>
                    <a:pt x="13361" y="41"/>
                  </a:lnTo>
                  <a:lnTo>
                    <a:pt x="13323" y="30"/>
                  </a:lnTo>
                  <a:lnTo>
                    <a:pt x="13282" y="21"/>
                  </a:lnTo>
                  <a:lnTo>
                    <a:pt x="13242" y="14"/>
                  </a:lnTo>
                  <a:lnTo>
                    <a:pt x="13202" y="8"/>
                  </a:lnTo>
                  <a:lnTo>
                    <a:pt x="13161" y="3"/>
                  </a:lnTo>
                  <a:lnTo>
                    <a:pt x="13118" y="1"/>
                  </a:lnTo>
                  <a:lnTo>
                    <a:pt x="13077" y="0"/>
                  </a:lnTo>
                  <a:lnTo>
                    <a:pt x="8048" y="0"/>
                  </a:lnTo>
                  <a:lnTo>
                    <a:pt x="3018" y="0"/>
                  </a:lnTo>
                  <a:lnTo>
                    <a:pt x="2977" y="1"/>
                  </a:lnTo>
                  <a:lnTo>
                    <a:pt x="2934" y="3"/>
                  </a:lnTo>
                  <a:lnTo>
                    <a:pt x="2893" y="8"/>
                  </a:lnTo>
                  <a:lnTo>
                    <a:pt x="2853" y="14"/>
                  </a:lnTo>
                  <a:lnTo>
                    <a:pt x="2813" y="21"/>
                  </a:lnTo>
                  <a:lnTo>
                    <a:pt x="2772" y="30"/>
                  </a:lnTo>
                  <a:lnTo>
                    <a:pt x="2734" y="41"/>
                  </a:lnTo>
                  <a:lnTo>
                    <a:pt x="2695" y="53"/>
                  </a:lnTo>
                  <a:lnTo>
                    <a:pt x="2657" y="67"/>
                  </a:lnTo>
                  <a:lnTo>
                    <a:pt x="2619" y="82"/>
                  </a:lnTo>
                  <a:lnTo>
                    <a:pt x="2583" y="99"/>
                  </a:lnTo>
                  <a:lnTo>
                    <a:pt x="2547" y="117"/>
                  </a:lnTo>
                  <a:lnTo>
                    <a:pt x="2512" y="136"/>
                  </a:lnTo>
                  <a:lnTo>
                    <a:pt x="2478" y="157"/>
                  </a:lnTo>
                  <a:lnTo>
                    <a:pt x="2444" y="179"/>
                  </a:lnTo>
                  <a:lnTo>
                    <a:pt x="2412" y="202"/>
                  </a:lnTo>
                  <a:lnTo>
                    <a:pt x="2381" y="227"/>
                  </a:lnTo>
                  <a:lnTo>
                    <a:pt x="2350" y="253"/>
                  </a:lnTo>
                  <a:lnTo>
                    <a:pt x="2321" y="280"/>
                  </a:lnTo>
                  <a:lnTo>
                    <a:pt x="2293" y="309"/>
                  </a:lnTo>
                  <a:lnTo>
                    <a:pt x="2265" y="338"/>
                  </a:lnTo>
                  <a:lnTo>
                    <a:pt x="2239" y="369"/>
                  </a:lnTo>
                  <a:lnTo>
                    <a:pt x="2214" y="400"/>
                  </a:lnTo>
                  <a:lnTo>
                    <a:pt x="2191" y="433"/>
                  </a:lnTo>
                  <a:lnTo>
                    <a:pt x="2168" y="466"/>
                  </a:lnTo>
                  <a:lnTo>
                    <a:pt x="2148" y="501"/>
                  </a:lnTo>
                  <a:lnTo>
                    <a:pt x="2128" y="536"/>
                  </a:lnTo>
                  <a:lnTo>
                    <a:pt x="2109" y="572"/>
                  </a:lnTo>
                  <a:lnTo>
                    <a:pt x="2092" y="609"/>
                  </a:lnTo>
                  <a:lnTo>
                    <a:pt x="2077" y="647"/>
                  </a:lnTo>
                  <a:lnTo>
                    <a:pt x="2063" y="686"/>
                  </a:lnTo>
                  <a:lnTo>
                    <a:pt x="2051" y="726"/>
                  </a:lnTo>
                  <a:lnTo>
                    <a:pt x="38" y="8241"/>
                  </a:lnTo>
                  <a:lnTo>
                    <a:pt x="29" y="8276"/>
                  </a:lnTo>
                  <a:lnTo>
                    <a:pt x="21" y="8310"/>
                  </a:lnTo>
                  <a:lnTo>
                    <a:pt x="15" y="8344"/>
                  </a:lnTo>
                  <a:lnTo>
                    <a:pt x="9" y="8378"/>
                  </a:lnTo>
                  <a:lnTo>
                    <a:pt x="5" y="8412"/>
                  </a:lnTo>
                  <a:lnTo>
                    <a:pt x="2" y="8447"/>
                  </a:lnTo>
                  <a:lnTo>
                    <a:pt x="1" y="8480"/>
                  </a:lnTo>
                  <a:lnTo>
                    <a:pt x="0" y="8514"/>
                  </a:lnTo>
                  <a:lnTo>
                    <a:pt x="0" y="12020"/>
                  </a:lnTo>
                  <a:lnTo>
                    <a:pt x="3" y="12123"/>
                  </a:lnTo>
                  <a:lnTo>
                    <a:pt x="10" y="12224"/>
                  </a:lnTo>
                  <a:lnTo>
                    <a:pt x="23" y="12325"/>
                  </a:lnTo>
                  <a:lnTo>
                    <a:pt x="41" y="12423"/>
                  </a:lnTo>
                  <a:lnTo>
                    <a:pt x="63" y="12521"/>
                  </a:lnTo>
                  <a:lnTo>
                    <a:pt x="91" y="12616"/>
                  </a:lnTo>
                  <a:lnTo>
                    <a:pt x="122" y="12709"/>
                  </a:lnTo>
                  <a:lnTo>
                    <a:pt x="158" y="12799"/>
                  </a:lnTo>
                  <a:lnTo>
                    <a:pt x="198" y="12888"/>
                  </a:lnTo>
                  <a:lnTo>
                    <a:pt x="242" y="12974"/>
                  </a:lnTo>
                  <a:lnTo>
                    <a:pt x="292" y="13058"/>
                  </a:lnTo>
                  <a:lnTo>
                    <a:pt x="344" y="13140"/>
                  </a:lnTo>
                  <a:lnTo>
                    <a:pt x="399" y="13219"/>
                  </a:lnTo>
                  <a:lnTo>
                    <a:pt x="460" y="13294"/>
                  </a:lnTo>
                  <a:lnTo>
                    <a:pt x="523" y="13367"/>
                  </a:lnTo>
                  <a:lnTo>
                    <a:pt x="589" y="13436"/>
                  </a:lnTo>
                  <a:lnTo>
                    <a:pt x="659" y="13502"/>
                  </a:lnTo>
                  <a:lnTo>
                    <a:pt x="732" y="13565"/>
                  </a:lnTo>
                  <a:lnTo>
                    <a:pt x="808" y="13625"/>
                  </a:lnTo>
                  <a:lnTo>
                    <a:pt x="887" y="13680"/>
                  </a:lnTo>
                  <a:lnTo>
                    <a:pt x="969" y="13733"/>
                  </a:lnTo>
                  <a:lnTo>
                    <a:pt x="1053" y="13782"/>
                  </a:lnTo>
                  <a:lnTo>
                    <a:pt x="1140" y="13826"/>
                  </a:lnTo>
                  <a:lnTo>
                    <a:pt x="1228" y="13866"/>
                  </a:lnTo>
                  <a:lnTo>
                    <a:pt x="1320" y="13902"/>
                  </a:lnTo>
                  <a:lnTo>
                    <a:pt x="1413" y="13933"/>
                  </a:lnTo>
                  <a:lnTo>
                    <a:pt x="1509" y="13960"/>
                  </a:lnTo>
                  <a:lnTo>
                    <a:pt x="1606" y="13982"/>
                  </a:lnTo>
                  <a:lnTo>
                    <a:pt x="1705" y="14000"/>
                  </a:lnTo>
                  <a:lnTo>
                    <a:pt x="1806" y="14013"/>
                  </a:lnTo>
                  <a:lnTo>
                    <a:pt x="1908" y="14020"/>
                  </a:lnTo>
                  <a:lnTo>
                    <a:pt x="2012" y="14023"/>
                  </a:lnTo>
                  <a:lnTo>
                    <a:pt x="14083" y="14023"/>
                  </a:lnTo>
                  <a:lnTo>
                    <a:pt x="14187" y="14020"/>
                  </a:lnTo>
                  <a:lnTo>
                    <a:pt x="14289" y="14013"/>
                  </a:lnTo>
                  <a:lnTo>
                    <a:pt x="14390" y="14000"/>
                  </a:lnTo>
                  <a:lnTo>
                    <a:pt x="14489" y="13982"/>
                  </a:lnTo>
                  <a:lnTo>
                    <a:pt x="14586" y="13960"/>
                  </a:lnTo>
                  <a:lnTo>
                    <a:pt x="14682" y="13933"/>
                  </a:lnTo>
                  <a:lnTo>
                    <a:pt x="14775" y="13902"/>
                  </a:lnTo>
                  <a:lnTo>
                    <a:pt x="14867" y="13866"/>
                  </a:lnTo>
                  <a:lnTo>
                    <a:pt x="14955" y="13826"/>
                  </a:lnTo>
                  <a:lnTo>
                    <a:pt x="15042" y="13782"/>
                  </a:lnTo>
                  <a:lnTo>
                    <a:pt x="15126" y="13733"/>
                  </a:lnTo>
                  <a:lnTo>
                    <a:pt x="15208" y="13680"/>
                  </a:lnTo>
                  <a:lnTo>
                    <a:pt x="15287" y="13625"/>
                  </a:lnTo>
                  <a:lnTo>
                    <a:pt x="15363" y="13565"/>
                  </a:lnTo>
                  <a:lnTo>
                    <a:pt x="15436" y="13502"/>
                  </a:lnTo>
                  <a:lnTo>
                    <a:pt x="15506" y="13436"/>
                  </a:lnTo>
                  <a:lnTo>
                    <a:pt x="15572" y="13367"/>
                  </a:lnTo>
                  <a:lnTo>
                    <a:pt x="15635" y="13294"/>
                  </a:lnTo>
                  <a:lnTo>
                    <a:pt x="15696" y="13219"/>
                  </a:lnTo>
                  <a:lnTo>
                    <a:pt x="15751" y="13140"/>
                  </a:lnTo>
                  <a:lnTo>
                    <a:pt x="15803" y="13058"/>
                  </a:lnTo>
                  <a:lnTo>
                    <a:pt x="15853" y="12974"/>
                  </a:lnTo>
                  <a:lnTo>
                    <a:pt x="15897" y="12888"/>
                  </a:lnTo>
                  <a:lnTo>
                    <a:pt x="15937" y="12799"/>
                  </a:lnTo>
                  <a:lnTo>
                    <a:pt x="15973" y="12709"/>
                  </a:lnTo>
                  <a:lnTo>
                    <a:pt x="16004" y="12616"/>
                  </a:lnTo>
                  <a:lnTo>
                    <a:pt x="16032" y="12521"/>
                  </a:lnTo>
                  <a:lnTo>
                    <a:pt x="16054" y="12423"/>
                  </a:lnTo>
                  <a:lnTo>
                    <a:pt x="16072" y="12325"/>
                  </a:lnTo>
                  <a:lnTo>
                    <a:pt x="16085" y="12224"/>
                  </a:lnTo>
                  <a:lnTo>
                    <a:pt x="16092" y="12123"/>
                  </a:lnTo>
                  <a:lnTo>
                    <a:pt x="16095" y="12020"/>
                  </a:lnTo>
                  <a:lnTo>
                    <a:pt x="16095" y="8514"/>
                  </a:lnTo>
                  <a:lnTo>
                    <a:pt x="16094" y="8480"/>
                  </a:lnTo>
                  <a:lnTo>
                    <a:pt x="16093" y="8447"/>
                  </a:lnTo>
                  <a:lnTo>
                    <a:pt x="16090" y="8412"/>
                  </a:lnTo>
                  <a:lnTo>
                    <a:pt x="16086" y="8378"/>
                  </a:lnTo>
                  <a:lnTo>
                    <a:pt x="16080" y="8344"/>
                  </a:lnTo>
                  <a:lnTo>
                    <a:pt x="16074" y="8310"/>
                  </a:lnTo>
                  <a:lnTo>
                    <a:pt x="16066" y="8276"/>
                  </a:lnTo>
                  <a:lnTo>
                    <a:pt x="16057" y="8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8" name="ïsḷîdê">
              <a:extLst>
                <a:ext uri="{FF2B5EF4-FFF2-40B4-BE49-F238E27FC236}">
                  <a16:creationId xmlns:a16="http://schemas.microsoft.com/office/drawing/2014/main" id="{5565E0BD-61E0-439A-A9B3-DDDF20407144}"/>
                </a:ext>
              </a:extLst>
            </p:cNvPr>
            <p:cNvSpPr/>
            <p:nvPr/>
          </p:nvSpPr>
          <p:spPr bwMode="auto">
            <a:xfrm>
              <a:off x="2297602" y="660969"/>
              <a:ext cx="226135" cy="166698"/>
            </a:xfrm>
            <a:custGeom>
              <a:avLst/>
              <a:gdLst>
                <a:gd name="T0" fmla="*/ 9354 w 12261"/>
                <a:gd name="T1" fmla="*/ 6015 h 9015"/>
                <a:gd name="T2" fmla="*/ 9182 w 12261"/>
                <a:gd name="T3" fmla="*/ 6048 h 9015"/>
                <a:gd name="T4" fmla="*/ 9021 w 12261"/>
                <a:gd name="T5" fmla="*/ 6109 h 9015"/>
                <a:gd name="T6" fmla="*/ 8874 w 12261"/>
                <a:gd name="T7" fmla="*/ 6196 h 9015"/>
                <a:gd name="T8" fmla="*/ 8743 w 12261"/>
                <a:gd name="T9" fmla="*/ 6308 h 9015"/>
                <a:gd name="T10" fmla="*/ 8632 w 12261"/>
                <a:gd name="T11" fmla="*/ 6442 h 9015"/>
                <a:gd name="T12" fmla="*/ 7833 w 12261"/>
                <a:gd name="T13" fmla="*/ 8013 h 9015"/>
                <a:gd name="T14" fmla="*/ 3649 w 12261"/>
                <a:gd name="T15" fmla="*/ 6471 h 9015"/>
                <a:gd name="T16" fmla="*/ 3542 w 12261"/>
                <a:gd name="T17" fmla="*/ 6333 h 9015"/>
                <a:gd name="T18" fmla="*/ 3415 w 12261"/>
                <a:gd name="T19" fmla="*/ 6216 h 9015"/>
                <a:gd name="T20" fmla="*/ 3271 w 12261"/>
                <a:gd name="T21" fmla="*/ 6125 h 9015"/>
                <a:gd name="T22" fmla="*/ 3113 w 12261"/>
                <a:gd name="T23" fmla="*/ 6058 h 9015"/>
                <a:gd name="T24" fmla="*/ 2943 w 12261"/>
                <a:gd name="T25" fmla="*/ 6020 h 9015"/>
                <a:gd name="T26" fmla="*/ 1966 w 12261"/>
                <a:gd name="T27" fmla="*/ 6010 h 9015"/>
                <a:gd name="T28" fmla="*/ 10296 w 12261"/>
                <a:gd name="T29" fmla="*/ 6010 h 9015"/>
                <a:gd name="T30" fmla="*/ 2173 w 12261"/>
                <a:gd name="T31" fmla="*/ 4 h 9015"/>
                <a:gd name="T32" fmla="*/ 2073 w 12261"/>
                <a:gd name="T33" fmla="*/ 27 h 9015"/>
                <a:gd name="T34" fmla="*/ 1980 w 12261"/>
                <a:gd name="T35" fmla="*/ 70 h 9015"/>
                <a:gd name="T36" fmla="*/ 1899 w 12261"/>
                <a:gd name="T37" fmla="*/ 129 h 9015"/>
                <a:gd name="T38" fmla="*/ 1831 w 12261"/>
                <a:gd name="T39" fmla="*/ 205 h 9015"/>
                <a:gd name="T40" fmla="*/ 1779 w 12261"/>
                <a:gd name="T41" fmla="*/ 294 h 9015"/>
                <a:gd name="T42" fmla="*/ 17 w 12261"/>
                <a:gd name="T43" fmla="*/ 6382 h 9015"/>
                <a:gd name="T44" fmla="*/ 0 w 12261"/>
                <a:gd name="T45" fmla="*/ 6525 h 9015"/>
                <a:gd name="T46" fmla="*/ 24 w 12261"/>
                <a:gd name="T47" fmla="*/ 6664 h 9015"/>
                <a:gd name="T48" fmla="*/ 88 w 12261"/>
                <a:gd name="T49" fmla="*/ 6792 h 9015"/>
                <a:gd name="T50" fmla="*/ 185 w 12261"/>
                <a:gd name="T51" fmla="*/ 6899 h 9015"/>
                <a:gd name="T52" fmla="*/ 307 w 12261"/>
                <a:gd name="T53" fmla="*/ 6972 h 9015"/>
                <a:gd name="T54" fmla="*/ 446 w 12261"/>
                <a:gd name="T55" fmla="*/ 7009 h 9015"/>
                <a:gd name="T56" fmla="*/ 2802 w 12261"/>
                <a:gd name="T57" fmla="*/ 7012 h 9015"/>
                <a:gd name="T58" fmla="*/ 3602 w 12261"/>
                <a:gd name="T59" fmla="*/ 8582 h 9015"/>
                <a:gd name="T60" fmla="*/ 3712 w 12261"/>
                <a:gd name="T61" fmla="*/ 8716 h 9015"/>
                <a:gd name="T62" fmla="*/ 3843 w 12261"/>
                <a:gd name="T63" fmla="*/ 8828 h 9015"/>
                <a:gd name="T64" fmla="*/ 3991 w 12261"/>
                <a:gd name="T65" fmla="*/ 8915 h 9015"/>
                <a:gd name="T66" fmla="*/ 4152 w 12261"/>
                <a:gd name="T67" fmla="*/ 8976 h 9015"/>
                <a:gd name="T68" fmla="*/ 4323 w 12261"/>
                <a:gd name="T69" fmla="*/ 9009 h 9015"/>
                <a:gd name="T70" fmla="*/ 7868 w 12261"/>
                <a:gd name="T71" fmla="*/ 9014 h 9015"/>
                <a:gd name="T72" fmla="*/ 8042 w 12261"/>
                <a:gd name="T73" fmla="*/ 8993 h 9015"/>
                <a:gd name="T74" fmla="*/ 8208 w 12261"/>
                <a:gd name="T75" fmla="*/ 8943 h 9015"/>
                <a:gd name="T76" fmla="*/ 8361 w 12261"/>
                <a:gd name="T77" fmla="*/ 8866 h 9015"/>
                <a:gd name="T78" fmla="*/ 8498 w 12261"/>
                <a:gd name="T79" fmla="*/ 8764 h 9015"/>
                <a:gd name="T80" fmla="*/ 8618 w 12261"/>
                <a:gd name="T81" fmla="*/ 8638 h 9015"/>
                <a:gd name="T82" fmla="*/ 8716 w 12261"/>
                <a:gd name="T83" fmla="*/ 8493 h 9015"/>
                <a:gd name="T84" fmla="*/ 11758 w 12261"/>
                <a:gd name="T85" fmla="*/ 7012 h 9015"/>
                <a:gd name="T86" fmla="*/ 11900 w 12261"/>
                <a:gd name="T87" fmla="*/ 6991 h 9015"/>
                <a:gd name="T88" fmla="*/ 12029 w 12261"/>
                <a:gd name="T89" fmla="*/ 6932 h 9015"/>
                <a:gd name="T90" fmla="*/ 12138 w 12261"/>
                <a:gd name="T91" fmla="*/ 6839 h 9015"/>
                <a:gd name="T92" fmla="*/ 12215 w 12261"/>
                <a:gd name="T93" fmla="*/ 6717 h 9015"/>
                <a:gd name="T94" fmla="*/ 12256 w 12261"/>
                <a:gd name="T95" fmla="*/ 6581 h 9015"/>
                <a:gd name="T96" fmla="*/ 12256 w 12261"/>
                <a:gd name="T97" fmla="*/ 6439 h 9015"/>
                <a:gd name="T98" fmla="*/ 10498 w 12261"/>
                <a:gd name="T99" fmla="*/ 332 h 9015"/>
                <a:gd name="T100" fmla="*/ 10453 w 12261"/>
                <a:gd name="T101" fmla="*/ 239 h 9015"/>
                <a:gd name="T102" fmla="*/ 10392 w 12261"/>
                <a:gd name="T103" fmla="*/ 159 h 9015"/>
                <a:gd name="T104" fmla="*/ 10315 w 12261"/>
                <a:gd name="T105" fmla="*/ 92 h 9015"/>
                <a:gd name="T106" fmla="*/ 10227 w 12261"/>
                <a:gd name="T107" fmla="*/ 42 h 9015"/>
                <a:gd name="T108" fmla="*/ 10129 w 12261"/>
                <a:gd name="T109" fmla="*/ 11 h 9015"/>
                <a:gd name="T110" fmla="*/ 10024 w 12261"/>
                <a:gd name="T111" fmla="*/ 0 h 9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261" h="9015">
                  <a:moveTo>
                    <a:pt x="10296" y="6010"/>
                  </a:moveTo>
                  <a:lnTo>
                    <a:pt x="9460" y="6010"/>
                  </a:lnTo>
                  <a:lnTo>
                    <a:pt x="9424" y="6011"/>
                  </a:lnTo>
                  <a:lnTo>
                    <a:pt x="9389" y="6012"/>
                  </a:lnTo>
                  <a:lnTo>
                    <a:pt x="9354" y="6015"/>
                  </a:lnTo>
                  <a:lnTo>
                    <a:pt x="9318" y="6020"/>
                  </a:lnTo>
                  <a:lnTo>
                    <a:pt x="9283" y="6025"/>
                  </a:lnTo>
                  <a:lnTo>
                    <a:pt x="9249" y="6032"/>
                  </a:lnTo>
                  <a:lnTo>
                    <a:pt x="9216" y="6039"/>
                  </a:lnTo>
                  <a:lnTo>
                    <a:pt x="9182" y="6048"/>
                  </a:lnTo>
                  <a:lnTo>
                    <a:pt x="9148" y="6058"/>
                  </a:lnTo>
                  <a:lnTo>
                    <a:pt x="9116" y="6069"/>
                  </a:lnTo>
                  <a:lnTo>
                    <a:pt x="9084" y="6082"/>
                  </a:lnTo>
                  <a:lnTo>
                    <a:pt x="9052" y="6095"/>
                  </a:lnTo>
                  <a:lnTo>
                    <a:pt x="9021" y="6109"/>
                  </a:lnTo>
                  <a:lnTo>
                    <a:pt x="8990" y="6125"/>
                  </a:lnTo>
                  <a:lnTo>
                    <a:pt x="8960" y="6141"/>
                  </a:lnTo>
                  <a:lnTo>
                    <a:pt x="8931" y="6158"/>
                  </a:lnTo>
                  <a:lnTo>
                    <a:pt x="8902" y="6177"/>
                  </a:lnTo>
                  <a:lnTo>
                    <a:pt x="8874" y="6196"/>
                  </a:lnTo>
                  <a:lnTo>
                    <a:pt x="8847" y="6216"/>
                  </a:lnTo>
                  <a:lnTo>
                    <a:pt x="8819" y="6239"/>
                  </a:lnTo>
                  <a:lnTo>
                    <a:pt x="8793" y="6261"/>
                  </a:lnTo>
                  <a:lnTo>
                    <a:pt x="8768" y="6284"/>
                  </a:lnTo>
                  <a:lnTo>
                    <a:pt x="8743" y="6308"/>
                  </a:lnTo>
                  <a:lnTo>
                    <a:pt x="8719" y="6333"/>
                  </a:lnTo>
                  <a:lnTo>
                    <a:pt x="8697" y="6359"/>
                  </a:lnTo>
                  <a:lnTo>
                    <a:pt x="8675" y="6386"/>
                  </a:lnTo>
                  <a:lnTo>
                    <a:pt x="8652" y="6413"/>
                  </a:lnTo>
                  <a:lnTo>
                    <a:pt x="8632" y="6442"/>
                  </a:lnTo>
                  <a:lnTo>
                    <a:pt x="8613" y="6471"/>
                  </a:lnTo>
                  <a:lnTo>
                    <a:pt x="8594" y="6501"/>
                  </a:lnTo>
                  <a:lnTo>
                    <a:pt x="8577" y="6532"/>
                  </a:lnTo>
                  <a:lnTo>
                    <a:pt x="8560" y="6563"/>
                  </a:lnTo>
                  <a:lnTo>
                    <a:pt x="7833" y="8013"/>
                  </a:lnTo>
                  <a:lnTo>
                    <a:pt x="4429" y="8013"/>
                  </a:lnTo>
                  <a:lnTo>
                    <a:pt x="3701" y="6563"/>
                  </a:lnTo>
                  <a:lnTo>
                    <a:pt x="3685" y="6532"/>
                  </a:lnTo>
                  <a:lnTo>
                    <a:pt x="3667" y="6501"/>
                  </a:lnTo>
                  <a:lnTo>
                    <a:pt x="3649" y="6471"/>
                  </a:lnTo>
                  <a:lnTo>
                    <a:pt x="3629" y="6442"/>
                  </a:lnTo>
                  <a:lnTo>
                    <a:pt x="3609" y="6413"/>
                  </a:lnTo>
                  <a:lnTo>
                    <a:pt x="3587" y="6386"/>
                  </a:lnTo>
                  <a:lnTo>
                    <a:pt x="3565" y="6359"/>
                  </a:lnTo>
                  <a:lnTo>
                    <a:pt x="3542" y="6333"/>
                  </a:lnTo>
                  <a:lnTo>
                    <a:pt x="3518" y="6308"/>
                  </a:lnTo>
                  <a:lnTo>
                    <a:pt x="3494" y="6284"/>
                  </a:lnTo>
                  <a:lnTo>
                    <a:pt x="3468" y="6261"/>
                  </a:lnTo>
                  <a:lnTo>
                    <a:pt x="3442" y="6239"/>
                  </a:lnTo>
                  <a:lnTo>
                    <a:pt x="3415" y="6216"/>
                  </a:lnTo>
                  <a:lnTo>
                    <a:pt x="3387" y="6196"/>
                  </a:lnTo>
                  <a:lnTo>
                    <a:pt x="3359" y="6177"/>
                  </a:lnTo>
                  <a:lnTo>
                    <a:pt x="3330" y="6158"/>
                  </a:lnTo>
                  <a:lnTo>
                    <a:pt x="3301" y="6141"/>
                  </a:lnTo>
                  <a:lnTo>
                    <a:pt x="3271" y="6125"/>
                  </a:lnTo>
                  <a:lnTo>
                    <a:pt x="3240" y="6109"/>
                  </a:lnTo>
                  <a:lnTo>
                    <a:pt x="3209" y="6095"/>
                  </a:lnTo>
                  <a:lnTo>
                    <a:pt x="3177" y="6082"/>
                  </a:lnTo>
                  <a:lnTo>
                    <a:pt x="3145" y="6069"/>
                  </a:lnTo>
                  <a:lnTo>
                    <a:pt x="3113" y="6058"/>
                  </a:lnTo>
                  <a:lnTo>
                    <a:pt x="3079" y="6048"/>
                  </a:lnTo>
                  <a:lnTo>
                    <a:pt x="3046" y="6039"/>
                  </a:lnTo>
                  <a:lnTo>
                    <a:pt x="3012" y="6032"/>
                  </a:lnTo>
                  <a:lnTo>
                    <a:pt x="2978" y="6025"/>
                  </a:lnTo>
                  <a:lnTo>
                    <a:pt x="2943" y="6020"/>
                  </a:lnTo>
                  <a:lnTo>
                    <a:pt x="2908" y="6015"/>
                  </a:lnTo>
                  <a:lnTo>
                    <a:pt x="2873" y="6012"/>
                  </a:lnTo>
                  <a:lnTo>
                    <a:pt x="2837" y="6011"/>
                  </a:lnTo>
                  <a:lnTo>
                    <a:pt x="2802" y="6010"/>
                  </a:lnTo>
                  <a:lnTo>
                    <a:pt x="1966" y="6010"/>
                  </a:lnTo>
                  <a:lnTo>
                    <a:pt x="766" y="6010"/>
                  </a:lnTo>
                  <a:lnTo>
                    <a:pt x="2237" y="501"/>
                  </a:lnTo>
                  <a:lnTo>
                    <a:pt x="10024" y="501"/>
                  </a:lnTo>
                  <a:lnTo>
                    <a:pt x="11495" y="6010"/>
                  </a:lnTo>
                  <a:lnTo>
                    <a:pt x="10296" y="6010"/>
                  </a:lnTo>
                  <a:close/>
                  <a:moveTo>
                    <a:pt x="10024" y="0"/>
                  </a:moveTo>
                  <a:lnTo>
                    <a:pt x="2237" y="0"/>
                  </a:lnTo>
                  <a:lnTo>
                    <a:pt x="2215" y="0"/>
                  </a:lnTo>
                  <a:lnTo>
                    <a:pt x="2194" y="2"/>
                  </a:lnTo>
                  <a:lnTo>
                    <a:pt x="2173" y="4"/>
                  </a:lnTo>
                  <a:lnTo>
                    <a:pt x="2153" y="7"/>
                  </a:lnTo>
                  <a:lnTo>
                    <a:pt x="2132" y="11"/>
                  </a:lnTo>
                  <a:lnTo>
                    <a:pt x="2112" y="15"/>
                  </a:lnTo>
                  <a:lnTo>
                    <a:pt x="2092" y="21"/>
                  </a:lnTo>
                  <a:lnTo>
                    <a:pt x="2073" y="27"/>
                  </a:lnTo>
                  <a:lnTo>
                    <a:pt x="2053" y="34"/>
                  </a:lnTo>
                  <a:lnTo>
                    <a:pt x="2034" y="42"/>
                  </a:lnTo>
                  <a:lnTo>
                    <a:pt x="2016" y="50"/>
                  </a:lnTo>
                  <a:lnTo>
                    <a:pt x="1998" y="60"/>
                  </a:lnTo>
                  <a:lnTo>
                    <a:pt x="1980" y="70"/>
                  </a:lnTo>
                  <a:lnTo>
                    <a:pt x="1963" y="80"/>
                  </a:lnTo>
                  <a:lnTo>
                    <a:pt x="1946" y="92"/>
                  </a:lnTo>
                  <a:lnTo>
                    <a:pt x="1930" y="104"/>
                  </a:lnTo>
                  <a:lnTo>
                    <a:pt x="1914" y="116"/>
                  </a:lnTo>
                  <a:lnTo>
                    <a:pt x="1899" y="129"/>
                  </a:lnTo>
                  <a:lnTo>
                    <a:pt x="1884" y="144"/>
                  </a:lnTo>
                  <a:lnTo>
                    <a:pt x="1869" y="159"/>
                  </a:lnTo>
                  <a:lnTo>
                    <a:pt x="1856" y="174"/>
                  </a:lnTo>
                  <a:lnTo>
                    <a:pt x="1843" y="189"/>
                  </a:lnTo>
                  <a:lnTo>
                    <a:pt x="1831" y="205"/>
                  </a:lnTo>
                  <a:lnTo>
                    <a:pt x="1819" y="222"/>
                  </a:lnTo>
                  <a:lnTo>
                    <a:pt x="1808" y="239"/>
                  </a:lnTo>
                  <a:lnTo>
                    <a:pt x="1798" y="257"/>
                  </a:lnTo>
                  <a:lnTo>
                    <a:pt x="1788" y="275"/>
                  </a:lnTo>
                  <a:lnTo>
                    <a:pt x="1779" y="294"/>
                  </a:lnTo>
                  <a:lnTo>
                    <a:pt x="1771" y="313"/>
                  </a:lnTo>
                  <a:lnTo>
                    <a:pt x="1763" y="332"/>
                  </a:lnTo>
                  <a:lnTo>
                    <a:pt x="1757" y="352"/>
                  </a:lnTo>
                  <a:lnTo>
                    <a:pt x="1751" y="372"/>
                  </a:lnTo>
                  <a:lnTo>
                    <a:pt x="17" y="6382"/>
                  </a:lnTo>
                  <a:lnTo>
                    <a:pt x="10" y="6411"/>
                  </a:lnTo>
                  <a:lnTo>
                    <a:pt x="5" y="6439"/>
                  </a:lnTo>
                  <a:lnTo>
                    <a:pt x="2" y="6468"/>
                  </a:lnTo>
                  <a:lnTo>
                    <a:pt x="0" y="6496"/>
                  </a:lnTo>
                  <a:lnTo>
                    <a:pt x="0" y="6525"/>
                  </a:lnTo>
                  <a:lnTo>
                    <a:pt x="2" y="6553"/>
                  </a:lnTo>
                  <a:lnTo>
                    <a:pt x="5" y="6581"/>
                  </a:lnTo>
                  <a:lnTo>
                    <a:pt x="10" y="6609"/>
                  </a:lnTo>
                  <a:lnTo>
                    <a:pt x="16" y="6637"/>
                  </a:lnTo>
                  <a:lnTo>
                    <a:pt x="24" y="6664"/>
                  </a:lnTo>
                  <a:lnTo>
                    <a:pt x="35" y="6691"/>
                  </a:lnTo>
                  <a:lnTo>
                    <a:pt x="46" y="6717"/>
                  </a:lnTo>
                  <a:lnTo>
                    <a:pt x="58" y="6743"/>
                  </a:lnTo>
                  <a:lnTo>
                    <a:pt x="72" y="6768"/>
                  </a:lnTo>
                  <a:lnTo>
                    <a:pt x="88" y="6792"/>
                  </a:lnTo>
                  <a:lnTo>
                    <a:pt x="105" y="6815"/>
                  </a:lnTo>
                  <a:lnTo>
                    <a:pt x="123" y="6839"/>
                  </a:lnTo>
                  <a:lnTo>
                    <a:pt x="143" y="6860"/>
                  </a:lnTo>
                  <a:lnTo>
                    <a:pt x="163" y="6880"/>
                  </a:lnTo>
                  <a:lnTo>
                    <a:pt x="185" y="6899"/>
                  </a:lnTo>
                  <a:lnTo>
                    <a:pt x="208" y="6916"/>
                  </a:lnTo>
                  <a:lnTo>
                    <a:pt x="232" y="6932"/>
                  </a:lnTo>
                  <a:lnTo>
                    <a:pt x="256" y="6947"/>
                  </a:lnTo>
                  <a:lnTo>
                    <a:pt x="281" y="6960"/>
                  </a:lnTo>
                  <a:lnTo>
                    <a:pt x="307" y="6972"/>
                  </a:lnTo>
                  <a:lnTo>
                    <a:pt x="334" y="6982"/>
                  </a:lnTo>
                  <a:lnTo>
                    <a:pt x="361" y="6991"/>
                  </a:lnTo>
                  <a:lnTo>
                    <a:pt x="389" y="6999"/>
                  </a:lnTo>
                  <a:lnTo>
                    <a:pt x="417" y="7004"/>
                  </a:lnTo>
                  <a:lnTo>
                    <a:pt x="446" y="7009"/>
                  </a:lnTo>
                  <a:lnTo>
                    <a:pt x="474" y="7011"/>
                  </a:lnTo>
                  <a:lnTo>
                    <a:pt x="503" y="7012"/>
                  </a:lnTo>
                  <a:lnTo>
                    <a:pt x="1966" y="7012"/>
                  </a:lnTo>
                  <a:lnTo>
                    <a:pt x="2539" y="7012"/>
                  </a:lnTo>
                  <a:lnTo>
                    <a:pt x="2802" y="7012"/>
                  </a:lnTo>
                  <a:lnTo>
                    <a:pt x="3529" y="8461"/>
                  </a:lnTo>
                  <a:lnTo>
                    <a:pt x="3546" y="8493"/>
                  </a:lnTo>
                  <a:lnTo>
                    <a:pt x="3563" y="8523"/>
                  </a:lnTo>
                  <a:lnTo>
                    <a:pt x="3581" y="8553"/>
                  </a:lnTo>
                  <a:lnTo>
                    <a:pt x="3602" y="8582"/>
                  </a:lnTo>
                  <a:lnTo>
                    <a:pt x="3622" y="8611"/>
                  </a:lnTo>
                  <a:lnTo>
                    <a:pt x="3643" y="8638"/>
                  </a:lnTo>
                  <a:lnTo>
                    <a:pt x="3665" y="8665"/>
                  </a:lnTo>
                  <a:lnTo>
                    <a:pt x="3688" y="8692"/>
                  </a:lnTo>
                  <a:lnTo>
                    <a:pt x="3712" y="8716"/>
                  </a:lnTo>
                  <a:lnTo>
                    <a:pt x="3736" y="8741"/>
                  </a:lnTo>
                  <a:lnTo>
                    <a:pt x="3763" y="8764"/>
                  </a:lnTo>
                  <a:lnTo>
                    <a:pt x="3789" y="8786"/>
                  </a:lnTo>
                  <a:lnTo>
                    <a:pt x="3815" y="8807"/>
                  </a:lnTo>
                  <a:lnTo>
                    <a:pt x="3843" y="8828"/>
                  </a:lnTo>
                  <a:lnTo>
                    <a:pt x="3871" y="8847"/>
                  </a:lnTo>
                  <a:lnTo>
                    <a:pt x="3900" y="8866"/>
                  </a:lnTo>
                  <a:lnTo>
                    <a:pt x="3930" y="8883"/>
                  </a:lnTo>
                  <a:lnTo>
                    <a:pt x="3960" y="8900"/>
                  </a:lnTo>
                  <a:lnTo>
                    <a:pt x="3991" y="8915"/>
                  </a:lnTo>
                  <a:lnTo>
                    <a:pt x="4022" y="8929"/>
                  </a:lnTo>
                  <a:lnTo>
                    <a:pt x="4053" y="8943"/>
                  </a:lnTo>
                  <a:lnTo>
                    <a:pt x="4085" y="8955"/>
                  </a:lnTo>
                  <a:lnTo>
                    <a:pt x="4119" y="8966"/>
                  </a:lnTo>
                  <a:lnTo>
                    <a:pt x="4152" y="8976"/>
                  </a:lnTo>
                  <a:lnTo>
                    <a:pt x="4185" y="8985"/>
                  </a:lnTo>
                  <a:lnTo>
                    <a:pt x="4219" y="8993"/>
                  </a:lnTo>
                  <a:lnTo>
                    <a:pt x="4253" y="9000"/>
                  </a:lnTo>
                  <a:lnTo>
                    <a:pt x="4288" y="9005"/>
                  </a:lnTo>
                  <a:lnTo>
                    <a:pt x="4323" y="9009"/>
                  </a:lnTo>
                  <a:lnTo>
                    <a:pt x="4358" y="9012"/>
                  </a:lnTo>
                  <a:lnTo>
                    <a:pt x="4393" y="9014"/>
                  </a:lnTo>
                  <a:lnTo>
                    <a:pt x="4429" y="9015"/>
                  </a:lnTo>
                  <a:lnTo>
                    <a:pt x="7833" y="9015"/>
                  </a:lnTo>
                  <a:lnTo>
                    <a:pt x="7868" y="9014"/>
                  </a:lnTo>
                  <a:lnTo>
                    <a:pt x="7903" y="9012"/>
                  </a:lnTo>
                  <a:lnTo>
                    <a:pt x="7938" y="9009"/>
                  </a:lnTo>
                  <a:lnTo>
                    <a:pt x="7973" y="9005"/>
                  </a:lnTo>
                  <a:lnTo>
                    <a:pt x="8008" y="9000"/>
                  </a:lnTo>
                  <a:lnTo>
                    <a:pt x="8042" y="8993"/>
                  </a:lnTo>
                  <a:lnTo>
                    <a:pt x="8076" y="8985"/>
                  </a:lnTo>
                  <a:lnTo>
                    <a:pt x="8109" y="8976"/>
                  </a:lnTo>
                  <a:lnTo>
                    <a:pt x="8142" y="8966"/>
                  </a:lnTo>
                  <a:lnTo>
                    <a:pt x="8176" y="8955"/>
                  </a:lnTo>
                  <a:lnTo>
                    <a:pt x="8208" y="8943"/>
                  </a:lnTo>
                  <a:lnTo>
                    <a:pt x="8239" y="8929"/>
                  </a:lnTo>
                  <a:lnTo>
                    <a:pt x="8270" y="8915"/>
                  </a:lnTo>
                  <a:lnTo>
                    <a:pt x="8301" y="8900"/>
                  </a:lnTo>
                  <a:lnTo>
                    <a:pt x="8331" y="8883"/>
                  </a:lnTo>
                  <a:lnTo>
                    <a:pt x="8361" y="8866"/>
                  </a:lnTo>
                  <a:lnTo>
                    <a:pt x="8390" y="8847"/>
                  </a:lnTo>
                  <a:lnTo>
                    <a:pt x="8418" y="8828"/>
                  </a:lnTo>
                  <a:lnTo>
                    <a:pt x="8446" y="8807"/>
                  </a:lnTo>
                  <a:lnTo>
                    <a:pt x="8472" y="8786"/>
                  </a:lnTo>
                  <a:lnTo>
                    <a:pt x="8498" y="8764"/>
                  </a:lnTo>
                  <a:lnTo>
                    <a:pt x="8525" y="8741"/>
                  </a:lnTo>
                  <a:lnTo>
                    <a:pt x="8549" y="8716"/>
                  </a:lnTo>
                  <a:lnTo>
                    <a:pt x="8573" y="8692"/>
                  </a:lnTo>
                  <a:lnTo>
                    <a:pt x="8596" y="8665"/>
                  </a:lnTo>
                  <a:lnTo>
                    <a:pt x="8618" y="8638"/>
                  </a:lnTo>
                  <a:lnTo>
                    <a:pt x="8639" y="8611"/>
                  </a:lnTo>
                  <a:lnTo>
                    <a:pt x="8660" y="8582"/>
                  </a:lnTo>
                  <a:lnTo>
                    <a:pt x="8680" y="8553"/>
                  </a:lnTo>
                  <a:lnTo>
                    <a:pt x="8698" y="8523"/>
                  </a:lnTo>
                  <a:lnTo>
                    <a:pt x="8716" y="8493"/>
                  </a:lnTo>
                  <a:lnTo>
                    <a:pt x="8732" y="8461"/>
                  </a:lnTo>
                  <a:lnTo>
                    <a:pt x="9460" y="7012"/>
                  </a:lnTo>
                  <a:lnTo>
                    <a:pt x="9722" y="7012"/>
                  </a:lnTo>
                  <a:lnTo>
                    <a:pt x="10296" y="7012"/>
                  </a:lnTo>
                  <a:lnTo>
                    <a:pt x="11758" y="7012"/>
                  </a:lnTo>
                  <a:lnTo>
                    <a:pt x="11787" y="7011"/>
                  </a:lnTo>
                  <a:lnTo>
                    <a:pt x="11815" y="7009"/>
                  </a:lnTo>
                  <a:lnTo>
                    <a:pt x="11844" y="7004"/>
                  </a:lnTo>
                  <a:lnTo>
                    <a:pt x="11872" y="6999"/>
                  </a:lnTo>
                  <a:lnTo>
                    <a:pt x="11900" y="6991"/>
                  </a:lnTo>
                  <a:lnTo>
                    <a:pt x="11927" y="6982"/>
                  </a:lnTo>
                  <a:lnTo>
                    <a:pt x="11954" y="6972"/>
                  </a:lnTo>
                  <a:lnTo>
                    <a:pt x="11980" y="6960"/>
                  </a:lnTo>
                  <a:lnTo>
                    <a:pt x="12005" y="6947"/>
                  </a:lnTo>
                  <a:lnTo>
                    <a:pt x="12029" y="6932"/>
                  </a:lnTo>
                  <a:lnTo>
                    <a:pt x="12053" y="6916"/>
                  </a:lnTo>
                  <a:lnTo>
                    <a:pt x="12076" y="6899"/>
                  </a:lnTo>
                  <a:lnTo>
                    <a:pt x="12098" y="6880"/>
                  </a:lnTo>
                  <a:lnTo>
                    <a:pt x="12118" y="6860"/>
                  </a:lnTo>
                  <a:lnTo>
                    <a:pt x="12138" y="6839"/>
                  </a:lnTo>
                  <a:lnTo>
                    <a:pt x="12156" y="6815"/>
                  </a:lnTo>
                  <a:lnTo>
                    <a:pt x="12173" y="6792"/>
                  </a:lnTo>
                  <a:lnTo>
                    <a:pt x="12189" y="6768"/>
                  </a:lnTo>
                  <a:lnTo>
                    <a:pt x="12203" y="6743"/>
                  </a:lnTo>
                  <a:lnTo>
                    <a:pt x="12215" y="6717"/>
                  </a:lnTo>
                  <a:lnTo>
                    <a:pt x="12226" y="6691"/>
                  </a:lnTo>
                  <a:lnTo>
                    <a:pt x="12237" y="6664"/>
                  </a:lnTo>
                  <a:lnTo>
                    <a:pt x="12245" y="6637"/>
                  </a:lnTo>
                  <a:lnTo>
                    <a:pt x="12251" y="6609"/>
                  </a:lnTo>
                  <a:lnTo>
                    <a:pt x="12256" y="6581"/>
                  </a:lnTo>
                  <a:lnTo>
                    <a:pt x="12259" y="6553"/>
                  </a:lnTo>
                  <a:lnTo>
                    <a:pt x="12261" y="6525"/>
                  </a:lnTo>
                  <a:lnTo>
                    <a:pt x="12261" y="6496"/>
                  </a:lnTo>
                  <a:lnTo>
                    <a:pt x="12259" y="6468"/>
                  </a:lnTo>
                  <a:lnTo>
                    <a:pt x="12256" y="6439"/>
                  </a:lnTo>
                  <a:lnTo>
                    <a:pt x="12251" y="6411"/>
                  </a:lnTo>
                  <a:lnTo>
                    <a:pt x="12244" y="6382"/>
                  </a:lnTo>
                  <a:lnTo>
                    <a:pt x="10511" y="372"/>
                  </a:lnTo>
                  <a:lnTo>
                    <a:pt x="10505" y="352"/>
                  </a:lnTo>
                  <a:lnTo>
                    <a:pt x="10498" y="332"/>
                  </a:lnTo>
                  <a:lnTo>
                    <a:pt x="10491" y="313"/>
                  </a:lnTo>
                  <a:lnTo>
                    <a:pt x="10482" y="294"/>
                  </a:lnTo>
                  <a:lnTo>
                    <a:pt x="10473" y="275"/>
                  </a:lnTo>
                  <a:lnTo>
                    <a:pt x="10464" y="257"/>
                  </a:lnTo>
                  <a:lnTo>
                    <a:pt x="10453" y="239"/>
                  </a:lnTo>
                  <a:lnTo>
                    <a:pt x="10442" y="222"/>
                  </a:lnTo>
                  <a:lnTo>
                    <a:pt x="10431" y="205"/>
                  </a:lnTo>
                  <a:lnTo>
                    <a:pt x="10418" y="189"/>
                  </a:lnTo>
                  <a:lnTo>
                    <a:pt x="10405" y="174"/>
                  </a:lnTo>
                  <a:lnTo>
                    <a:pt x="10392" y="159"/>
                  </a:lnTo>
                  <a:lnTo>
                    <a:pt x="10377" y="144"/>
                  </a:lnTo>
                  <a:lnTo>
                    <a:pt x="10362" y="129"/>
                  </a:lnTo>
                  <a:lnTo>
                    <a:pt x="10347" y="116"/>
                  </a:lnTo>
                  <a:lnTo>
                    <a:pt x="10331" y="104"/>
                  </a:lnTo>
                  <a:lnTo>
                    <a:pt x="10315" y="92"/>
                  </a:lnTo>
                  <a:lnTo>
                    <a:pt x="10298" y="80"/>
                  </a:lnTo>
                  <a:lnTo>
                    <a:pt x="10281" y="70"/>
                  </a:lnTo>
                  <a:lnTo>
                    <a:pt x="10263" y="60"/>
                  </a:lnTo>
                  <a:lnTo>
                    <a:pt x="10245" y="50"/>
                  </a:lnTo>
                  <a:lnTo>
                    <a:pt x="10227" y="42"/>
                  </a:lnTo>
                  <a:lnTo>
                    <a:pt x="10208" y="34"/>
                  </a:lnTo>
                  <a:lnTo>
                    <a:pt x="10188" y="27"/>
                  </a:lnTo>
                  <a:lnTo>
                    <a:pt x="10169" y="21"/>
                  </a:lnTo>
                  <a:lnTo>
                    <a:pt x="10149" y="15"/>
                  </a:lnTo>
                  <a:lnTo>
                    <a:pt x="10129" y="11"/>
                  </a:lnTo>
                  <a:lnTo>
                    <a:pt x="10108" y="7"/>
                  </a:lnTo>
                  <a:lnTo>
                    <a:pt x="10088" y="4"/>
                  </a:lnTo>
                  <a:lnTo>
                    <a:pt x="10067" y="2"/>
                  </a:lnTo>
                  <a:lnTo>
                    <a:pt x="10046" y="0"/>
                  </a:lnTo>
                  <a:lnTo>
                    <a:pt x="10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9" name="í$lîḋe">
              <a:extLst>
                <a:ext uri="{FF2B5EF4-FFF2-40B4-BE49-F238E27FC236}">
                  <a16:creationId xmlns:a16="http://schemas.microsoft.com/office/drawing/2014/main" id="{1D0A7E9F-797E-41BB-8B46-D837C146ABAE}"/>
                </a:ext>
              </a:extLst>
            </p:cNvPr>
            <p:cNvSpPr/>
            <p:nvPr/>
          </p:nvSpPr>
          <p:spPr bwMode="auto">
            <a:xfrm>
              <a:off x="1377767" y="980323"/>
              <a:ext cx="280786" cy="321426"/>
            </a:xfrm>
            <a:custGeom>
              <a:avLst/>
              <a:gdLst>
                <a:gd name="T0" fmla="*/ 13056 w 14060"/>
                <a:gd name="T1" fmla="*/ 5030 h 16095"/>
                <a:gd name="T2" fmla="*/ 11382 w 14060"/>
                <a:gd name="T3" fmla="*/ 7545 h 16095"/>
                <a:gd name="T4" fmla="*/ 10768 w 14060"/>
                <a:gd name="T5" fmla="*/ 13077 h 16095"/>
                <a:gd name="T6" fmla="*/ 3515 w 14060"/>
                <a:gd name="T7" fmla="*/ 15089 h 16095"/>
                <a:gd name="T8" fmla="*/ 2511 w 14060"/>
                <a:gd name="T9" fmla="*/ 1006 h 16095"/>
                <a:gd name="T10" fmla="*/ 12457 w 14060"/>
                <a:gd name="T11" fmla="*/ 575 h 16095"/>
                <a:gd name="T12" fmla="*/ 12356 w 14060"/>
                <a:gd name="T13" fmla="*/ 407 h 16095"/>
                <a:gd name="T14" fmla="*/ 12226 w 14060"/>
                <a:gd name="T15" fmla="*/ 264 h 16095"/>
                <a:gd name="T16" fmla="*/ 12073 w 14060"/>
                <a:gd name="T17" fmla="*/ 147 h 16095"/>
                <a:gd name="T18" fmla="*/ 11898 w 14060"/>
                <a:gd name="T19" fmla="*/ 62 h 16095"/>
                <a:gd name="T20" fmla="*/ 11709 w 14060"/>
                <a:gd name="T21" fmla="*/ 13 h 16095"/>
                <a:gd name="T22" fmla="*/ 2511 w 14060"/>
                <a:gd name="T23" fmla="*/ 0 h 16095"/>
                <a:gd name="T24" fmla="*/ 2312 w 14060"/>
                <a:gd name="T25" fmla="*/ 20 h 16095"/>
                <a:gd name="T26" fmla="*/ 2126 w 14060"/>
                <a:gd name="T27" fmla="*/ 76 h 16095"/>
                <a:gd name="T28" fmla="*/ 1955 w 14060"/>
                <a:gd name="T29" fmla="*/ 168 h 16095"/>
                <a:gd name="T30" fmla="*/ 1806 w 14060"/>
                <a:gd name="T31" fmla="*/ 290 h 16095"/>
                <a:gd name="T32" fmla="*/ 1681 w 14060"/>
                <a:gd name="T33" fmla="*/ 439 h 16095"/>
                <a:gd name="T34" fmla="*/ 1587 w 14060"/>
                <a:gd name="T35" fmla="*/ 613 h 16095"/>
                <a:gd name="T36" fmla="*/ 846 w 14060"/>
                <a:gd name="T37" fmla="*/ 2538 h 16095"/>
                <a:gd name="T38" fmla="*/ 618 w 14060"/>
                <a:gd name="T39" fmla="*/ 2602 h 16095"/>
                <a:gd name="T40" fmla="*/ 414 w 14060"/>
                <a:gd name="T41" fmla="*/ 2716 h 16095"/>
                <a:gd name="T42" fmla="*/ 244 w 14060"/>
                <a:gd name="T43" fmla="*/ 2871 h 16095"/>
                <a:gd name="T44" fmla="*/ 113 w 14060"/>
                <a:gd name="T45" fmla="*/ 3061 h 16095"/>
                <a:gd name="T46" fmla="*/ 29 w 14060"/>
                <a:gd name="T47" fmla="*/ 3279 h 16095"/>
                <a:gd name="T48" fmla="*/ 0 w 14060"/>
                <a:gd name="T49" fmla="*/ 3521 h 16095"/>
                <a:gd name="T50" fmla="*/ 20 w 14060"/>
                <a:gd name="T51" fmla="*/ 5233 h 16095"/>
                <a:gd name="T52" fmla="*/ 99 w 14060"/>
                <a:gd name="T53" fmla="*/ 5465 h 16095"/>
                <a:gd name="T54" fmla="*/ 229 w 14060"/>
                <a:gd name="T55" fmla="*/ 5669 h 16095"/>
                <a:gd name="T56" fmla="*/ 404 w 14060"/>
                <a:gd name="T57" fmla="*/ 5835 h 16095"/>
                <a:gd name="T58" fmla="*/ 614 w 14060"/>
                <a:gd name="T59" fmla="*/ 5956 h 16095"/>
                <a:gd name="T60" fmla="*/ 852 w 14060"/>
                <a:gd name="T61" fmla="*/ 6025 h 16095"/>
                <a:gd name="T62" fmla="*/ 1522 w 14060"/>
                <a:gd name="T63" fmla="*/ 6050 h 16095"/>
                <a:gd name="T64" fmla="*/ 1512 w 14060"/>
                <a:gd name="T65" fmla="*/ 6119 h 16095"/>
                <a:gd name="T66" fmla="*/ 2532 w 14060"/>
                <a:gd name="T67" fmla="*/ 15294 h 16095"/>
                <a:gd name="T68" fmla="*/ 2605 w 14060"/>
                <a:gd name="T69" fmla="*/ 15514 h 16095"/>
                <a:gd name="T70" fmla="*/ 2723 w 14060"/>
                <a:gd name="T71" fmla="*/ 15707 h 16095"/>
                <a:gd name="T72" fmla="*/ 2879 w 14060"/>
                <a:gd name="T73" fmla="*/ 15868 h 16095"/>
                <a:gd name="T74" fmla="*/ 3068 w 14060"/>
                <a:gd name="T75" fmla="*/ 15990 h 16095"/>
                <a:gd name="T76" fmla="*/ 3282 w 14060"/>
                <a:gd name="T77" fmla="*/ 16068 h 16095"/>
                <a:gd name="T78" fmla="*/ 3515 w 14060"/>
                <a:gd name="T79" fmla="*/ 16095 h 16095"/>
                <a:gd name="T80" fmla="*/ 10733 w 14060"/>
                <a:gd name="T81" fmla="*/ 16078 h 16095"/>
                <a:gd name="T82" fmla="*/ 10951 w 14060"/>
                <a:gd name="T83" fmla="*/ 16009 h 16095"/>
                <a:gd name="T84" fmla="*/ 11146 w 14060"/>
                <a:gd name="T85" fmla="*/ 15896 h 16095"/>
                <a:gd name="T86" fmla="*/ 11309 w 14060"/>
                <a:gd name="T87" fmla="*/ 15742 h 16095"/>
                <a:gd name="T88" fmla="*/ 11435 w 14060"/>
                <a:gd name="T89" fmla="*/ 15555 h 16095"/>
                <a:gd name="T90" fmla="*/ 11517 w 14060"/>
                <a:gd name="T91" fmla="*/ 15340 h 16095"/>
                <a:gd name="T92" fmla="*/ 12548 w 14060"/>
                <a:gd name="T93" fmla="*/ 6133 h 16095"/>
                <a:gd name="T94" fmla="*/ 12539 w 14060"/>
                <a:gd name="T95" fmla="*/ 6064 h 16095"/>
                <a:gd name="T96" fmla="*/ 13158 w 14060"/>
                <a:gd name="T97" fmla="*/ 6031 h 16095"/>
                <a:gd name="T98" fmla="*/ 13401 w 14060"/>
                <a:gd name="T99" fmla="*/ 5974 h 16095"/>
                <a:gd name="T100" fmla="*/ 13617 w 14060"/>
                <a:gd name="T101" fmla="*/ 5864 h 16095"/>
                <a:gd name="T102" fmla="*/ 13799 w 14060"/>
                <a:gd name="T103" fmla="*/ 5706 h 16095"/>
                <a:gd name="T104" fmla="*/ 13938 w 14060"/>
                <a:gd name="T105" fmla="*/ 5510 h 16095"/>
                <a:gd name="T106" fmla="*/ 14028 w 14060"/>
                <a:gd name="T107" fmla="*/ 5281 h 16095"/>
                <a:gd name="T108" fmla="*/ 14060 w 14060"/>
                <a:gd name="T109" fmla="*/ 5030 h 16095"/>
                <a:gd name="T110" fmla="*/ 14041 w 14060"/>
                <a:gd name="T111" fmla="*/ 3326 h 16095"/>
                <a:gd name="T112" fmla="*/ 13967 w 14060"/>
                <a:gd name="T113" fmla="*/ 3101 h 16095"/>
                <a:gd name="T114" fmla="*/ 13844 w 14060"/>
                <a:gd name="T115" fmla="*/ 2904 h 16095"/>
                <a:gd name="T116" fmla="*/ 13680 w 14060"/>
                <a:gd name="T117" fmla="*/ 2741 h 16095"/>
                <a:gd name="T118" fmla="*/ 13482 w 14060"/>
                <a:gd name="T119" fmla="*/ 2619 h 16095"/>
                <a:gd name="T120" fmla="*/ 13257 w 14060"/>
                <a:gd name="T121" fmla="*/ 25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060" h="16095">
                  <a:moveTo>
                    <a:pt x="13056" y="5030"/>
                  </a:moveTo>
                  <a:lnTo>
                    <a:pt x="1004" y="5030"/>
                  </a:lnTo>
                  <a:lnTo>
                    <a:pt x="1004" y="3521"/>
                  </a:lnTo>
                  <a:lnTo>
                    <a:pt x="13056" y="3521"/>
                  </a:lnTo>
                  <a:lnTo>
                    <a:pt x="13056" y="5030"/>
                  </a:lnTo>
                  <a:close/>
                  <a:moveTo>
                    <a:pt x="11382" y="7545"/>
                  </a:moveTo>
                  <a:lnTo>
                    <a:pt x="2677" y="7545"/>
                  </a:lnTo>
                  <a:lnTo>
                    <a:pt x="2511" y="6036"/>
                  </a:lnTo>
                  <a:lnTo>
                    <a:pt x="11549" y="6036"/>
                  </a:lnTo>
                  <a:lnTo>
                    <a:pt x="11382" y="7545"/>
                  </a:lnTo>
                  <a:close/>
                  <a:moveTo>
                    <a:pt x="10768" y="13077"/>
                  </a:moveTo>
                  <a:lnTo>
                    <a:pt x="3292" y="13077"/>
                  </a:lnTo>
                  <a:lnTo>
                    <a:pt x="2734" y="8048"/>
                  </a:lnTo>
                  <a:lnTo>
                    <a:pt x="11326" y="8048"/>
                  </a:lnTo>
                  <a:lnTo>
                    <a:pt x="10768" y="13077"/>
                  </a:lnTo>
                  <a:close/>
                  <a:moveTo>
                    <a:pt x="3515" y="15089"/>
                  </a:moveTo>
                  <a:lnTo>
                    <a:pt x="3347" y="13580"/>
                  </a:lnTo>
                  <a:lnTo>
                    <a:pt x="10712" y="13580"/>
                  </a:lnTo>
                  <a:lnTo>
                    <a:pt x="10545" y="15089"/>
                  </a:lnTo>
                  <a:lnTo>
                    <a:pt x="3515" y="15089"/>
                  </a:lnTo>
                  <a:close/>
                  <a:moveTo>
                    <a:pt x="2511" y="1006"/>
                  </a:moveTo>
                  <a:lnTo>
                    <a:pt x="11549" y="1006"/>
                  </a:lnTo>
                  <a:lnTo>
                    <a:pt x="12051" y="2515"/>
                  </a:lnTo>
                  <a:lnTo>
                    <a:pt x="2009" y="2515"/>
                  </a:lnTo>
                  <a:lnTo>
                    <a:pt x="2511" y="1006"/>
                  </a:lnTo>
                  <a:close/>
                  <a:moveTo>
                    <a:pt x="13112" y="2526"/>
                  </a:moveTo>
                  <a:lnTo>
                    <a:pt x="12501" y="688"/>
                  </a:lnTo>
                  <a:lnTo>
                    <a:pt x="12488" y="650"/>
                  </a:lnTo>
                  <a:lnTo>
                    <a:pt x="12473" y="613"/>
                  </a:lnTo>
                  <a:lnTo>
                    <a:pt x="12457" y="575"/>
                  </a:lnTo>
                  <a:lnTo>
                    <a:pt x="12439" y="540"/>
                  </a:lnTo>
                  <a:lnTo>
                    <a:pt x="12420" y="506"/>
                  </a:lnTo>
                  <a:lnTo>
                    <a:pt x="12400" y="472"/>
                  </a:lnTo>
                  <a:lnTo>
                    <a:pt x="12379" y="439"/>
                  </a:lnTo>
                  <a:lnTo>
                    <a:pt x="12356" y="407"/>
                  </a:lnTo>
                  <a:lnTo>
                    <a:pt x="12333" y="376"/>
                  </a:lnTo>
                  <a:lnTo>
                    <a:pt x="12308" y="346"/>
                  </a:lnTo>
                  <a:lnTo>
                    <a:pt x="12281" y="318"/>
                  </a:lnTo>
                  <a:lnTo>
                    <a:pt x="12254" y="290"/>
                  </a:lnTo>
                  <a:lnTo>
                    <a:pt x="12226" y="264"/>
                  </a:lnTo>
                  <a:lnTo>
                    <a:pt x="12197" y="237"/>
                  </a:lnTo>
                  <a:lnTo>
                    <a:pt x="12167" y="213"/>
                  </a:lnTo>
                  <a:lnTo>
                    <a:pt x="12137" y="190"/>
                  </a:lnTo>
                  <a:lnTo>
                    <a:pt x="12105" y="168"/>
                  </a:lnTo>
                  <a:lnTo>
                    <a:pt x="12073" y="147"/>
                  </a:lnTo>
                  <a:lnTo>
                    <a:pt x="12038" y="128"/>
                  </a:lnTo>
                  <a:lnTo>
                    <a:pt x="12004" y="110"/>
                  </a:lnTo>
                  <a:lnTo>
                    <a:pt x="11970" y="93"/>
                  </a:lnTo>
                  <a:lnTo>
                    <a:pt x="11934" y="76"/>
                  </a:lnTo>
                  <a:lnTo>
                    <a:pt x="11898" y="62"/>
                  </a:lnTo>
                  <a:lnTo>
                    <a:pt x="11862" y="49"/>
                  </a:lnTo>
                  <a:lnTo>
                    <a:pt x="11824" y="38"/>
                  </a:lnTo>
                  <a:lnTo>
                    <a:pt x="11786" y="28"/>
                  </a:lnTo>
                  <a:lnTo>
                    <a:pt x="11748" y="20"/>
                  </a:lnTo>
                  <a:lnTo>
                    <a:pt x="11709" y="13"/>
                  </a:lnTo>
                  <a:lnTo>
                    <a:pt x="11670" y="7"/>
                  </a:lnTo>
                  <a:lnTo>
                    <a:pt x="11630" y="3"/>
                  </a:lnTo>
                  <a:lnTo>
                    <a:pt x="11589" y="1"/>
                  </a:lnTo>
                  <a:lnTo>
                    <a:pt x="11549" y="0"/>
                  </a:lnTo>
                  <a:lnTo>
                    <a:pt x="2511" y="0"/>
                  </a:lnTo>
                  <a:lnTo>
                    <a:pt x="2471" y="1"/>
                  </a:lnTo>
                  <a:lnTo>
                    <a:pt x="2430" y="3"/>
                  </a:lnTo>
                  <a:lnTo>
                    <a:pt x="2390" y="7"/>
                  </a:lnTo>
                  <a:lnTo>
                    <a:pt x="2351" y="13"/>
                  </a:lnTo>
                  <a:lnTo>
                    <a:pt x="2312" y="20"/>
                  </a:lnTo>
                  <a:lnTo>
                    <a:pt x="2274" y="28"/>
                  </a:lnTo>
                  <a:lnTo>
                    <a:pt x="2236" y="38"/>
                  </a:lnTo>
                  <a:lnTo>
                    <a:pt x="2198" y="49"/>
                  </a:lnTo>
                  <a:lnTo>
                    <a:pt x="2162" y="62"/>
                  </a:lnTo>
                  <a:lnTo>
                    <a:pt x="2126" y="76"/>
                  </a:lnTo>
                  <a:lnTo>
                    <a:pt x="2090" y="93"/>
                  </a:lnTo>
                  <a:lnTo>
                    <a:pt x="2056" y="110"/>
                  </a:lnTo>
                  <a:lnTo>
                    <a:pt x="2021" y="128"/>
                  </a:lnTo>
                  <a:lnTo>
                    <a:pt x="1987" y="147"/>
                  </a:lnTo>
                  <a:lnTo>
                    <a:pt x="1955" y="168"/>
                  </a:lnTo>
                  <a:lnTo>
                    <a:pt x="1923" y="190"/>
                  </a:lnTo>
                  <a:lnTo>
                    <a:pt x="1893" y="213"/>
                  </a:lnTo>
                  <a:lnTo>
                    <a:pt x="1863" y="237"/>
                  </a:lnTo>
                  <a:lnTo>
                    <a:pt x="1834" y="264"/>
                  </a:lnTo>
                  <a:lnTo>
                    <a:pt x="1806" y="290"/>
                  </a:lnTo>
                  <a:lnTo>
                    <a:pt x="1779" y="318"/>
                  </a:lnTo>
                  <a:lnTo>
                    <a:pt x="1752" y="346"/>
                  </a:lnTo>
                  <a:lnTo>
                    <a:pt x="1727" y="376"/>
                  </a:lnTo>
                  <a:lnTo>
                    <a:pt x="1703" y="407"/>
                  </a:lnTo>
                  <a:lnTo>
                    <a:pt x="1681" y="439"/>
                  </a:lnTo>
                  <a:lnTo>
                    <a:pt x="1660" y="472"/>
                  </a:lnTo>
                  <a:lnTo>
                    <a:pt x="1640" y="506"/>
                  </a:lnTo>
                  <a:lnTo>
                    <a:pt x="1621" y="540"/>
                  </a:lnTo>
                  <a:lnTo>
                    <a:pt x="1603" y="575"/>
                  </a:lnTo>
                  <a:lnTo>
                    <a:pt x="1587" y="613"/>
                  </a:lnTo>
                  <a:lnTo>
                    <a:pt x="1572" y="650"/>
                  </a:lnTo>
                  <a:lnTo>
                    <a:pt x="1559" y="688"/>
                  </a:lnTo>
                  <a:lnTo>
                    <a:pt x="943" y="2527"/>
                  </a:lnTo>
                  <a:lnTo>
                    <a:pt x="894" y="2531"/>
                  </a:lnTo>
                  <a:lnTo>
                    <a:pt x="846" y="2538"/>
                  </a:lnTo>
                  <a:lnTo>
                    <a:pt x="798" y="2547"/>
                  </a:lnTo>
                  <a:lnTo>
                    <a:pt x="752" y="2558"/>
                  </a:lnTo>
                  <a:lnTo>
                    <a:pt x="706" y="2570"/>
                  </a:lnTo>
                  <a:lnTo>
                    <a:pt x="661" y="2585"/>
                  </a:lnTo>
                  <a:lnTo>
                    <a:pt x="618" y="2602"/>
                  </a:lnTo>
                  <a:lnTo>
                    <a:pt x="574" y="2621"/>
                  </a:lnTo>
                  <a:lnTo>
                    <a:pt x="532" y="2643"/>
                  </a:lnTo>
                  <a:lnTo>
                    <a:pt x="492" y="2665"/>
                  </a:lnTo>
                  <a:lnTo>
                    <a:pt x="453" y="2690"/>
                  </a:lnTo>
                  <a:lnTo>
                    <a:pt x="414" y="2716"/>
                  </a:lnTo>
                  <a:lnTo>
                    <a:pt x="378" y="2743"/>
                  </a:lnTo>
                  <a:lnTo>
                    <a:pt x="341" y="2773"/>
                  </a:lnTo>
                  <a:lnTo>
                    <a:pt x="307" y="2805"/>
                  </a:lnTo>
                  <a:lnTo>
                    <a:pt x="275" y="2837"/>
                  </a:lnTo>
                  <a:lnTo>
                    <a:pt x="244" y="2871"/>
                  </a:lnTo>
                  <a:lnTo>
                    <a:pt x="214" y="2906"/>
                  </a:lnTo>
                  <a:lnTo>
                    <a:pt x="187" y="2942"/>
                  </a:lnTo>
                  <a:lnTo>
                    <a:pt x="160" y="2981"/>
                  </a:lnTo>
                  <a:lnTo>
                    <a:pt x="136" y="3020"/>
                  </a:lnTo>
                  <a:lnTo>
                    <a:pt x="113" y="3061"/>
                  </a:lnTo>
                  <a:lnTo>
                    <a:pt x="92" y="3102"/>
                  </a:lnTo>
                  <a:lnTo>
                    <a:pt x="73" y="3146"/>
                  </a:lnTo>
                  <a:lnTo>
                    <a:pt x="57" y="3189"/>
                  </a:lnTo>
                  <a:lnTo>
                    <a:pt x="42" y="3234"/>
                  </a:lnTo>
                  <a:lnTo>
                    <a:pt x="29" y="3279"/>
                  </a:lnTo>
                  <a:lnTo>
                    <a:pt x="19" y="3327"/>
                  </a:lnTo>
                  <a:lnTo>
                    <a:pt x="11" y="3374"/>
                  </a:lnTo>
                  <a:lnTo>
                    <a:pt x="5" y="3422"/>
                  </a:lnTo>
                  <a:lnTo>
                    <a:pt x="1" y="3471"/>
                  </a:lnTo>
                  <a:lnTo>
                    <a:pt x="0" y="3521"/>
                  </a:lnTo>
                  <a:lnTo>
                    <a:pt x="0" y="5030"/>
                  </a:lnTo>
                  <a:lnTo>
                    <a:pt x="1" y="5082"/>
                  </a:lnTo>
                  <a:lnTo>
                    <a:pt x="5" y="5132"/>
                  </a:lnTo>
                  <a:lnTo>
                    <a:pt x="12" y="5183"/>
                  </a:lnTo>
                  <a:lnTo>
                    <a:pt x="20" y="5233"/>
                  </a:lnTo>
                  <a:lnTo>
                    <a:pt x="32" y="5281"/>
                  </a:lnTo>
                  <a:lnTo>
                    <a:pt x="45" y="5328"/>
                  </a:lnTo>
                  <a:lnTo>
                    <a:pt x="61" y="5376"/>
                  </a:lnTo>
                  <a:lnTo>
                    <a:pt x="79" y="5421"/>
                  </a:lnTo>
                  <a:lnTo>
                    <a:pt x="99" y="5465"/>
                  </a:lnTo>
                  <a:lnTo>
                    <a:pt x="122" y="5510"/>
                  </a:lnTo>
                  <a:lnTo>
                    <a:pt x="146" y="5551"/>
                  </a:lnTo>
                  <a:lnTo>
                    <a:pt x="172" y="5592"/>
                  </a:lnTo>
                  <a:lnTo>
                    <a:pt x="200" y="5631"/>
                  </a:lnTo>
                  <a:lnTo>
                    <a:pt x="229" y="5669"/>
                  </a:lnTo>
                  <a:lnTo>
                    <a:pt x="261" y="5706"/>
                  </a:lnTo>
                  <a:lnTo>
                    <a:pt x="294" y="5741"/>
                  </a:lnTo>
                  <a:lnTo>
                    <a:pt x="329" y="5774"/>
                  </a:lnTo>
                  <a:lnTo>
                    <a:pt x="366" y="5806"/>
                  </a:lnTo>
                  <a:lnTo>
                    <a:pt x="404" y="5835"/>
                  </a:lnTo>
                  <a:lnTo>
                    <a:pt x="443" y="5864"/>
                  </a:lnTo>
                  <a:lnTo>
                    <a:pt x="484" y="5890"/>
                  </a:lnTo>
                  <a:lnTo>
                    <a:pt x="526" y="5914"/>
                  </a:lnTo>
                  <a:lnTo>
                    <a:pt x="569" y="5936"/>
                  </a:lnTo>
                  <a:lnTo>
                    <a:pt x="614" y="5956"/>
                  </a:lnTo>
                  <a:lnTo>
                    <a:pt x="659" y="5974"/>
                  </a:lnTo>
                  <a:lnTo>
                    <a:pt x="706" y="5990"/>
                  </a:lnTo>
                  <a:lnTo>
                    <a:pt x="753" y="6004"/>
                  </a:lnTo>
                  <a:lnTo>
                    <a:pt x="802" y="6016"/>
                  </a:lnTo>
                  <a:lnTo>
                    <a:pt x="852" y="6025"/>
                  </a:lnTo>
                  <a:lnTo>
                    <a:pt x="902" y="6031"/>
                  </a:lnTo>
                  <a:lnTo>
                    <a:pt x="953" y="6035"/>
                  </a:lnTo>
                  <a:lnTo>
                    <a:pt x="1004" y="6036"/>
                  </a:lnTo>
                  <a:lnTo>
                    <a:pt x="1524" y="6036"/>
                  </a:lnTo>
                  <a:lnTo>
                    <a:pt x="1522" y="6050"/>
                  </a:lnTo>
                  <a:lnTo>
                    <a:pt x="1521" y="6064"/>
                  </a:lnTo>
                  <a:lnTo>
                    <a:pt x="1518" y="6078"/>
                  </a:lnTo>
                  <a:lnTo>
                    <a:pt x="1516" y="6091"/>
                  </a:lnTo>
                  <a:lnTo>
                    <a:pt x="1514" y="6105"/>
                  </a:lnTo>
                  <a:lnTo>
                    <a:pt x="1512" y="6119"/>
                  </a:lnTo>
                  <a:lnTo>
                    <a:pt x="1512" y="6133"/>
                  </a:lnTo>
                  <a:lnTo>
                    <a:pt x="1512" y="6147"/>
                  </a:lnTo>
                  <a:lnTo>
                    <a:pt x="2517" y="15200"/>
                  </a:lnTo>
                  <a:lnTo>
                    <a:pt x="2524" y="15247"/>
                  </a:lnTo>
                  <a:lnTo>
                    <a:pt x="2532" y="15294"/>
                  </a:lnTo>
                  <a:lnTo>
                    <a:pt x="2543" y="15340"/>
                  </a:lnTo>
                  <a:lnTo>
                    <a:pt x="2555" y="15385"/>
                  </a:lnTo>
                  <a:lnTo>
                    <a:pt x="2570" y="15429"/>
                  </a:lnTo>
                  <a:lnTo>
                    <a:pt x="2586" y="15471"/>
                  </a:lnTo>
                  <a:lnTo>
                    <a:pt x="2605" y="15514"/>
                  </a:lnTo>
                  <a:lnTo>
                    <a:pt x="2625" y="15555"/>
                  </a:lnTo>
                  <a:lnTo>
                    <a:pt x="2647" y="15594"/>
                  </a:lnTo>
                  <a:lnTo>
                    <a:pt x="2670" y="15633"/>
                  </a:lnTo>
                  <a:lnTo>
                    <a:pt x="2696" y="15670"/>
                  </a:lnTo>
                  <a:lnTo>
                    <a:pt x="2723" y="15707"/>
                  </a:lnTo>
                  <a:lnTo>
                    <a:pt x="2751" y="15742"/>
                  </a:lnTo>
                  <a:lnTo>
                    <a:pt x="2781" y="15775"/>
                  </a:lnTo>
                  <a:lnTo>
                    <a:pt x="2813" y="15807"/>
                  </a:lnTo>
                  <a:lnTo>
                    <a:pt x="2845" y="15838"/>
                  </a:lnTo>
                  <a:lnTo>
                    <a:pt x="2879" y="15868"/>
                  </a:lnTo>
                  <a:lnTo>
                    <a:pt x="2914" y="15896"/>
                  </a:lnTo>
                  <a:lnTo>
                    <a:pt x="2952" y="15922"/>
                  </a:lnTo>
                  <a:lnTo>
                    <a:pt x="2990" y="15946"/>
                  </a:lnTo>
                  <a:lnTo>
                    <a:pt x="3028" y="15969"/>
                  </a:lnTo>
                  <a:lnTo>
                    <a:pt x="3068" y="15990"/>
                  </a:lnTo>
                  <a:lnTo>
                    <a:pt x="3109" y="16009"/>
                  </a:lnTo>
                  <a:lnTo>
                    <a:pt x="3151" y="16027"/>
                  </a:lnTo>
                  <a:lnTo>
                    <a:pt x="3195" y="16043"/>
                  </a:lnTo>
                  <a:lnTo>
                    <a:pt x="3238" y="16056"/>
                  </a:lnTo>
                  <a:lnTo>
                    <a:pt x="3282" y="16068"/>
                  </a:lnTo>
                  <a:lnTo>
                    <a:pt x="3328" y="16078"/>
                  </a:lnTo>
                  <a:lnTo>
                    <a:pt x="3373" y="16085"/>
                  </a:lnTo>
                  <a:lnTo>
                    <a:pt x="3421" y="16091"/>
                  </a:lnTo>
                  <a:lnTo>
                    <a:pt x="3468" y="16094"/>
                  </a:lnTo>
                  <a:lnTo>
                    <a:pt x="3515" y="16095"/>
                  </a:lnTo>
                  <a:lnTo>
                    <a:pt x="10545" y="16095"/>
                  </a:lnTo>
                  <a:lnTo>
                    <a:pt x="10593" y="16094"/>
                  </a:lnTo>
                  <a:lnTo>
                    <a:pt x="10640" y="16091"/>
                  </a:lnTo>
                  <a:lnTo>
                    <a:pt x="10687" y="16085"/>
                  </a:lnTo>
                  <a:lnTo>
                    <a:pt x="10733" y="16078"/>
                  </a:lnTo>
                  <a:lnTo>
                    <a:pt x="10778" y="16068"/>
                  </a:lnTo>
                  <a:lnTo>
                    <a:pt x="10822" y="16056"/>
                  </a:lnTo>
                  <a:lnTo>
                    <a:pt x="10866" y="16043"/>
                  </a:lnTo>
                  <a:lnTo>
                    <a:pt x="10910" y="16027"/>
                  </a:lnTo>
                  <a:lnTo>
                    <a:pt x="10951" y="16009"/>
                  </a:lnTo>
                  <a:lnTo>
                    <a:pt x="10992" y="15990"/>
                  </a:lnTo>
                  <a:lnTo>
                    <a:pt x="11032" y="15969"/>
                  </a:lnTo>
                  <a:lnTo>
                    <a:pt x="11071" y="15946"/>
                  </a:lnTo>
                  <a:lnTo>
                    <a:pt x="11108" y="15922"/>
                  </a:lnTo>
                  <a:lnTo>
                    <a:pt x="11146" y="15896"/>
                  </a:lnTo>
                  <a:lnTo>
                    <a:pt x="11181" y="15868"/>
                  </a:lnTo>
                  <a:lnTo>
                    <a:pt x="11215" y="15838"/>
                  </a:lnTo>
                  <a:lnTo>
                    <a:pt x="11248" y="15807"/>
                  </a:lnTo>
                  <a:lnTo>
                    <a:pt x="11279" y="15775"/>
                  </a:lnTo>
                  <a:lnTo>
                    <a:pt x="11309" y="15742"/>
                  </a:lnTo>
                  <a:lnTo>
                    <a:pt x="11337" y="15707"/>
                  </a:lnTo>
                  <a:lnTo>
                    <a:pt x="11364" y="15670"/>
                  </a:lnTo>
                  <a:lnTo>
                    <a:pt x="11390" y="15633"/>
                  </a:lnTo>
                  <a:lnTo>
                    <a:pt x="11413" y="15594"/>
                  </a:lnTo>
                  <a:lnTo>
                    <a:pt x="11435" y="15555"/>
                  </a:lnTo>
                  <a:lnTo>
                    <a:pt x="11455" y="15514"/>
                  </a:lnTo>
                  <a:lnTo>
                    <a:pt x="11474" y="15471"/>
                  </a:lnTo>
                  <a:lnTo>
                    <a:pt x="11490" y="15429"/>
                  </a:lnTo>
                  <a:lnTo>
                    <a:pt x="11504" y="15385"/>
                  </a:lnTo>
                  <a:lnTo>
                    <a:pt x="11517" y="15340"/>
                  </a:lnTo>
                  <a:lnTo>
                    <a:pt x="11527" y="15294"/>
                  </a:lnTo>
                  <a:lnTo>
                    <a:pt x="11536" y="15247"/>
                  </a:lnTo>
                  <a:lnTo>
                    <a:pt x="11542" y="15200"/>
                  </a:lnTo>
                  <a:lnTo>
                    <a:pt x="12547" y="6147"/>
                  </a:lnTo>
                  <a:lnTo>
                    <a:pt x="12548" y="6133"/>
                  </a:lnTo>
                  <a:lnTo>
                    <a:pt x="12548" y="6119"/>
                  </a:lnTo>
                  <a:lnTo>
                    <a:pt x="12546" y="6105"/>
                  </a:lnTo>
                  <a:lnTo>
                    <a:pt x="12544" y="6091"/>
                  </a:lnTo>
                  <a:lnTo>
                    <a:pt x="12541" y="6078"/>
                  </a:lnTo>
                  <a:lnTo>
                    <a:pt x="12539" y="6064"/>
                  </a:lnTo>
                  <a:lnTo>
                    <a:pt x="12536" y="6050"/>
                  </a:lnTo>
                  <a:lnTo>
                    <a:pt x="12536" y="6036"/>
                  </a:lnTo>
                  <a:lnTo>
                    <a:pt x="13056" y="6036"/>
                  </a:lnTo>
                  <a:lnTo>
                    <a:pt x="13107" y="6035"/>
                  </a:lnTo>
                  <a:lnTo>
                    <a:pt x="13158" y="6031"/>
                  </a:lnTo>
                  <a:lnTo>
                    <a:pt x="13208" y="6025"/>
                  </a:lnTo>
                  <a:lnTo>
                    <a:pt x="13259" y="6016"/>
                  </a:lnTo>
                  <a:lnTo>
                    <a:pt x="13307" y="6004"/>
                  </a:lnTo>
                  <a:lnTo>
                    <a:pt x="13354" y="5990"/>
                  </a:lnTo>
                  <a:lnTo>
                    <a:pt x="13401" y="5974"/>
                  </a:lnTo>
                  <a:lnTo>
                    <a:pt x="13446" y="5956"/>
                  </a:lnTo>
                  <a:lnTo>
                    <a:pt x="13491" y="5936"/>
                  </a:lnTo>
                  <a:lnTo>
                    <a:pt x="13535" y="5914"/>
                  </a:lnTo>
                  <a:lnTo>
                    <a:pt x="13576" y="5890"/>
                  </a:lnTo>
                  <a:lnTo>
                    <a:pt x="13617" y="5864"/>
                  </a:lnTo>
                  <a:lnTo>
                    <a:pt x="13656" y="5835"/>
                  </a:lnTo>
                  <a:lnTo>
                    <a:pt x="13694" y="5806"/>
                  </a:lnTo>
                  <a:lnTo>
                    <a:pt x="13731" y="5774"/>
                  </a:lnTo>
                  <a:lnTo>
                    <a:pt x="13766" y="5741"/>
                  </a:lnTo>
                  <a:lnTo>
                    <a:pt x="13799" y="5706"/>
                  </a:lnTo>
                  <a:lnTo>
                    <a:pt x="13831" y="5669"/>
                  </a:lnTo>
                  <a:lnTo>
                    <a:pt x="13860" y="5631"/>
                  </a:lnTo>
                  <a:lnTo>
                    <a:pt x="13888" y="5592"/>
                  </a:lnTo>
                  <a:lnTo>
                    <a:pt x="13914" y="5551"/>
                  </a:lnTo>
                  <a:lnTo>
                    <a:pt x="13938" y="5510"/>
                  </a:lnTo>
                  <a:lnTo>
                    <a:pt x="13961" y="5465"/>
                  </a:lnTo>
                  <a:lnTo>
                    <a:pt x="13981" y="5421"/>
                  </a:lnTo>
                  <a:lnTo>
                    <a:pt x="13999" y="5376"/>
                  </a:lnTo>
                  <a:lnTo>
                    <a:pt x="14015" y="5328"/>
                  </a:lnTo>
                  <a:lnTo>
                    <a:pt x="14028" y="5281"/>
                  </a:lnTo>
                  <a:lnTo>
                    <a:pt x="14040" y="5233"/>
                  </a:lnTo>
                  <a:lnTo>
                    <a:pt x="14048" y="5183"/>
                  </a:lnTo>
                  <a:lnTo>
                    <a:pt x="14055" y="5132"/>
                  </a:lnTo>
                  <a:lnTo>
                    <a:pt x="14059" y="5082"/>
                  </a:lnTo>
                  <a:lnTo>
                    <a:pt x="14060" y="5030"/>
                  </a:lnTo>
                  <a:lnTo>
                    <a:pt x="14060" y="3521"/>
                  </a:lnTo>
                  <a:lnTo>
                    <a:pt x="14059" y="3471"/>
                  </a:lnTo>
                  <a:lnTo>
                    <a:pt x="14055" y="3422"/>
                  </a:lnTo>
                  <a:lnTo>
                    <a:pt x="14049" y="3373"/>
                  </a:lnTo>
                  <a:lnTo>
                    <a:pt x="14041" y="3326"/>
                  </a:lnTo>
                  <a:lnTo>
                    <a:pt x="14030" y="3279"/>
                  </a:lnTo>
                  <a:lnTo>
                    <a:pt x="14018" y="3233"/>
                  </a:lnTo>
                  <a:lnTo>
                    <a:pt x="14003" y="3188"/>
                  </a:lnTo>
                  <a:lnTo>
                    <a:pt x="13986" y="3144"/>
                  </a:lnTo>
                  <a:lnTo>
                    <a:pt x="13967" y="3101"/>
                  </a:lnTo>
                  <a:lnTo>
                    <a:pt x="13947" y="3059"/>
                  </a:lnTo>
                  <a:lnTo>
                    <a:pt x="13923" y="3019"/>
                  </a:lnTo>
                  <a:lnTo>
                    <a:pt x="13899" y="2979"/>
                  </a:lnTo>
                  <a:lnTo>
                    <a:pt x="13872" y="2941"/>
                  </a:lnTo>
                  <a:lnTo>
                    <a:pt x="13844" y="2904"/>
                  </a:lnTo>
                  <a:lnTo>
                    <a:pt x="13815" y="2869"/>
                  </a:lnTo>
                  <a:lnTo>
                    <a:pt x="13783" y="2835"/>
                  </a:lnTo>
                  <a:lnTo>
                    <a:pt x="13751" y="2802"/>
                  </a:lnTo>
                  <a:lnTo>
                    <a:pt x="13716" y="2770"/>
                  </a:lnTo>
                  <a:lnTo>
                    <a:pt x="13680" y="2741"/>
                  </a:lnTo>
                  <a:lnTo>
                    <a:pt x="13643" y="2713"/>
                  </a:lnTo>
                  <a:lnTo>
                    <a:pt x="13605" y="2687"/>
                  </a:lnTo>
                  <a:lnTo>
                    <a:pt x="13565" y="2663"/>
                  </a:lnTo>
                  <a:lnTo>
                    <a:pt x="13524" y="2640"/>
                  </a:lnTo>
                  <a:lnTo>
                    <a:pt x="13482" y="2619"/>
                  </a:lnTo>
                  <a:lnTo>
                    <a:pt x="13438" y="2600"/>
                  </a:lnTo>
                  <a:lnTo>
                    <a:pt x="13395" y="2583"/>
                  </a:lnTo>
                  <a:lnTo>
                    <a:pt x="13350" y="2568"/>
                  </a:lnTo>
                  <a:lnTo>
                    <a:pt x="13304" y="2556"/>
                  </a:lnTo>
                  <a:lnTo>
                    <a:pt x="13257" y="2545"/>
                  </a:lnTo>
                  <a:lnTo>
                    <a:pt x="13209" y="2536"/>
                  </a:lnTo>
                  <a:lnTo>
                    <a:pt x="13160" y="2530"/>
                  </a:lnTo>
                  <a:lnTo>
                    <a:pt x="13112" y="25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0" name="iSlidé">
              <a:extLst>
                <a:ext uri="{FF2B5EF4-FFF2-40B4-BE49-F238E27FC236}">
                  <a16:creationId xmlns:a16="http://schemas.microsoft.com/office/drawing/2014/main" id="{196CFB1A-5FEC-475B-8DCB-2448FE25A8DA}"/>
                </a:ext>
              </a:extLst>
            </p:cNvPr>
            <p:cNvSpPr/>
            <p:nvPr/>
          </p:nvSpPr>
          <p:spPr bwMode="auto">
            <a:xfrm>
              <a:off x="2651883" y="1031984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1" name="ísḻíḓê">
              <a:extLst>
                <a:ext uri="{FF2B5EF4-FFF2-40B4-BE49-F238E27FC236}">
                  <a16:creationId xmlns:a16="http://schemas.microsoft.com/office/drawing/2014/main" id="{F6C33873-8177-43C8-83B8-E7DF07719310}"/>
                </a:ext>
              </a:extLst>
            </p:cNvPr>
            <p:cNvSpPr/>
            <p:nvPr/>
          </p:nvSpPr>
          <p:spPr bwMode="auto">
            <a:xfrm>
              <a:off x="3073466" y="1511374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2" name="îṧḷîḑé">
              <a:extLst>
                <a:ext uri="{FF2B5EF4-FFF2-40B4-BE49-F238E27FC236}">
                  <a16:creationId xmlns:a16="http://schemas.microsoft.com/office/drawing/2014/main" id="{91803F21-EB68-47E8-8D7B-982FC12FBED7}"/>
                </a:ext>
              </a:extLst>
            </p:cNvPr>
            <p:cNvSpPr/>
            <p:nvPr/>
          </p:nvSpPr>
          <p:spPr bwMode="auto">
            <a:xfrm>
              <a:off x="3073466" y="1395757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3" name="îs1iḑé">
              <a:extLst>
                <a:ext uri="{FF2B5EF4-FFF2-40B4-BE49-F238E27FC236}">
                  <a16:creationId xmlns:a16="http://schemas.microsoft.com/office/drawing/2014/main" id="{C18E9890-A2D4-432C-B8F8-50F09A9AF341}"/>
                </a:ext>
              </a:extLst>
            </p:cNvPr>
            <p:cNvSpPr/>
            <p:nvPr/>
          </p:nvSpPr>
          <p:spPr bwMode="auto">
            <a:xfrm>
              <a:off x="3073466" y="128154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4" name="íšḷiḋè">
              <a:extLst>
                <a:ext uri="{FF2B5EF4-FFF2-40B4-BE49-F238E27FC236}">
                  <a16:creationId xmlns:a16="http://schemas.microsoft.com/office/drawing/2014/main" id="{98C43AD4-A11A-4B97-88CE-0D723E32DEAF}"/>
                </a:ext>
              </a:extLst>
            </p:cNvPr>
            <p:cNvSpPr/>
            <p:nvPr/>
          </p:nvSpPr>
          <p:spPr bwMode="auto">
            <a:xfrm>
              <a:off x="2211987" y="1558913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5" name="îṧľidè">
              <a:extLst>
                <a:ext uri="{FF2B5EF4-FFF2-40B4-BE49-F238E27FC236}">
                  <a16:creationId xmlns:a16="http://schemas.microsoft.com/office/drawing/2014/main" id="{25376243-4E74-45F6-9157-99985670E760}"/>
                </a:ext>
              </a:extLst>
            </p:cNvPr>
            <p:cNvSpPr/>
            <p:nvPr/>
          </p:nvSpPr>
          <p:spPr bwMode="auto">
            <a:xfrm>
              <a:off x="2436173" y="1776049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6" name="ïşḷiďè">
              <a:extLst>
                <a:ext uri="{FF2B5EF4-FFF2-40B4-BE49-F238E27FC236}">
                  <a16:creationId xmlns:a16="http://schemas.microsoft.com/office/drawing/2014/main" id="{D67F4669-315E-4477-8E67-2E5E6568D59C}"/>
                </a:ext>
              </a:extLst>
            </p:cNvPr>
            <p:cNvSpPr/>
            <p:nvPr/>
          </p:nvSpPr>
          <p:spPr bwMode="auto">
            <a:xfrm>
              <a:off x="2417843" y="1981904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7" name="ïṩlïde">
              <a:extLst>
                <a:ext uri="{FF2B5EF4-FFF2-40B4-BE49-F238E27FC236}">
                  <a16:creationId xmlns:a16="http://schemas.microsoft.com/office/drawing/2014/main" id="{A5F0C8F7-3E30-4262-AF47-7C1DE3DB4CC5}"/>
                </a:ext>
              </a:extLst>
            </p:cNvPr>
            <p:cNvSpPr/>
            <p:nvPr/>
          </p:nvSpPr>
          <p:spPr bwMode="auto">
            <a:xfrm>
              <a:off x="2527821" y="1653382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8" name="ïṧļîďe">
              <a:extLst>
                <a:ext uri="{FF2B5EF4-FFF2-40B4-BE49-F238E27FC236}">
                  <a16:creationId xmlns:a16="http://schemas.microsoft.com/office/drawing/2014/main" id="{EA814CDC-62DA-4972-BBF2-FE3549900770}"/>
                </a:ext>
              </a:extLst>
            </p:cNvPr>
            <p:cNvSpPr/>
            <p:nvPr/>
          </p:nvSpPr>
          <p:spPr bwMode="auto">
            <a:xfrm>
              <a:off x="3240995" y="1493427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9" name="isľîďe">
              <a:extLst>
                <a:ext uri="{FF2B5EF4-FFF2-40B4-BE49-F238E27FC236}">
                  <a16:creationId xmlns:a16="http://schemas.microsoft.com/office/drawing/2014/main" id="{BF7F9B4B-9C23-43A3-B510-E74AE21697D6}"/>
                </a:ext>
              </a:extLst>
            </p:cNvPr>
            <p:cNvSpPr/>
            <p:nvPr/>
          </p:nvSpPr>
          <p:spPr bwMode="auto">
            <a:xfrm>
              <a:off x="3520775" y="1493427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0" name="ï$ḻîḓê">
              <a:extLst>
                <a:ext uri="{FF2B5EF4-FFF2-40B4-BE49-F238E27FC236}">
                  <a16:creationId xmlns:a16="http://schemas.microsoft.com/office/drawing/2014/main" id="{AB70639D-D23F-45D6-A25A-FC1CF9748FF1}"/>
                </a:ext>
              </a:extLst>
            </p:cNvPr>
            <p:cNvSpPr/>
            <p:nvPr/>
          </p:nvSpPr>
          <p:spPr bwMode="auto">
            <a:xfrm>
              <a:off x="3381352" y="1493427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1" name="íṣḷíḓé">
              <a:extLst>
                <a:ext uri="{FF2B5EF4-FFF2-40B4-BE49-F238E27FC236}">
                  <a16:creationId xmlns:a16="http://schemas.microsoft.com/office/drawing/2014/main" id="{9AB76126-A281-4EF3-9F85-DCD55A11C494}"/>
                </a:ext>
              </a:extLst>
            </p:cNvPr>
            <p:cNvSpPr/>
            <p:nvPr/>
          </p:nvSpPr>
          <p:spPr bwMode="auto">
            <a:xfrm>
              <a:off x="2893126" y="1693637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2" name="ïṡ1îḋe">
              <a:extLst>
                <a:ext uri="{FF2B5EF4-FFF2-40B4-BE49-F238E27FC236}">
                  <a16:creationId xmlns:a16="http://schemas.microsoft.com/office/drawing/2014/main" id="{D35122A0-F71F-43FB-92A5-4F820395E6B5}"/>
                </a:ext>
              </a:extLst>
            </p:cNvPr>
            <p:cNvSpPr/>
            <p:nvPr/>
          </p:nvSpPr>
          <p:spPr bwMode="auto">
            <a:xfrm>
              <a:off x="3700087" y="1153164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3" name="íṡḻîḋè">
              <a:extLst>
                <a:ext uri="{FF2B5EF4-FFF2-40B4-BE49-F238E27FC236}">
                  <a16:creationId xmlns:a16="http://schemas.microsoft.com/office/drawing/2014/main" id="{6C2578F3-890F-447F-B3DC-48AC9B0FDB75}"/>
                </a:ext>
              </a:extLst>
            </p:cNvPr>
            <p:cNvSpPr/>
            <p:nvPr/>
          </p:nvSpPr>
          <p:spPr bwMode="auto">
            <a:xfrm>
              <a:off x="4421748" y="160251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4" name="ïsḻídê">
              <a:extLst>
                <a:ext uri="{FF2B5EF4-FFF2-40B4-BE49-F238E27FC236}">
                  <a16:creationId xmlns:a16="http://schemas.microsoft.com/office/drawing/2014/main" id="{D1404067-F3CA-4AE3-9AA2-6FF5A4974705}"/>
                </a:ext>
              </a:extLst>
            </p:cNvPr>
            <p:cNvSpPr/>
            <p:nvPr/>
          </p:nvSpPr>
          <p:spPr bwMode="auto">
            <a:xfrm>
              <a:off x="4504974" y="7940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5" name="ï$1îḍê">
              <a:extLst>
                <a:ext uri="{FF2B5EF4-FFF2-40B4-BE49-F238E27FC236}">
                  <a16:creationId xmlns:a16="http://schemas.microsoft.com/office/drawing/2014/main" id="{24C7841D-2873-408F-9044-A193FB702126}"/>
                </a:ext>
              </a:extLst>
            </p:cNvPr>
            <p:cNvSpPr/>
            <p:nvPr/>
          </p:nvSpPr>
          <p:spPr bwMode="auto">
            <a:xfrm>
              <a:off x="4636550" y="77818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6" name="í$ḷíḑè">
              <a:extLst>
                <a:ext uri="{FF2B5EF4-FFF2-40B4-BE49-F238E27FC236}">
                  <a16:creationId xmlns:a16="http://schemas.microsoft.com/office/drawing/2014/main" id="{FA1D697D-9A08-4BAC-987E-A4DBB42B98EE}"/>
                </a:ext>
              </a:extLst>
            </p:cNvPr>
            <p:cNvSpPr/>
            <p:nvPr/>
          </p:nvSpPr>
          <p:spPr bwMode="auto">
            <a:xfrm>
              <a:off x="4581066" y="3105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7" name="íṥ1ïḑé">
              <a:extLst>
                <a:ext uri="{FF2B5EF4-FFF2-40B4-BE49-F238E27FC236}">
                  <a16:creationId xmlns:a16="http://schemas.microsoft.com/office/drawing/2014/main" id="{DC59B2FB-EE04-4022-BF90-C62BF9CE9579}"/>
                </a:ext>
              </a:extLst>
            </p:cNvPr>
            <p:cNvSpPr/>
            <p:nvPr/>
          </p:nvSpPr>
          <p:spPr bwMode="auto">
            <a:xfrm>
              <a:off x="4859983" y="35853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8" name="iśḻíḋé">
              <a:extLst>
                <a:ext uri="{FF2B5EF4-FFF2-40B4-BE49-F238E27FC236}">
                  <a16:creationId xmlns:a16="http://schemas.microsoft.com/office/drawing/2014/main" id="{0EF9BDB8-ACFB-4D9E-815C-A0D593EA1CDC}"/>
                </a:ext>
              </a:extLst>
            </p:cNvPr>
            <p:cNvSpPr/>
            <p:nvPr/>
          </p:nvSpPr>
          <p:spPr bwMode="auto">
            <a:xfrm>
              <a:off x="4899051" y="184152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9" name="i$ḻîḓé">
              <a:extLst>
                <a:ext uri="{FF2B5EF4-FFF2-40B4-BE49-F238E27FC236}">
                  <a16:creationId xmlns:a16="http://schemas.microsoft.com/office/drawing/2014/main" id="{AB7B1245-7FED-45C5-B8D0-76B172542F64}"/>
                </a:ext>
              </a:extLst>
            </p:cNvPr>
            <p:cNvSpPr/>
            <p:nvPr/>
          </p:nvSpPr>
          <p:spPr bwMode="auto">
            <a:xfrm>
              <a:off x="4630596" y="1619697"/>
              <a:ext cx="467782" cy="335512"/>
            </a:xfrm>
            <a:custGeom>
              <a:avLst/>
              <a:gdLst>
                <a:gd name="T0" fmla="*/ 7962 w 16095"/>
                <a:gd name="T1" fmla="*/ 5014 h 11549"/>
                <a:gd name="T2" fmla="*/ 1276 w 16095"/>
                <a:gd name="T3" fmla="*/ 3458 h 11549"/>
                <a:gd name="T4" fmla="*/ 1143 w 16095"/>
                <a:gd name="T5" fmla="*/ 3357 h 11549"/>
                <a:gd name="T6" fmla="*/ 1050 w 16095"/>
                <a:gd name="T7" fmla="*/ 3220 h 11549"/>
                <a:gd name="T8" fmla="*/ 1008 w 16095"/>
                <a:gd name="T9" fmla="*/ 3056 h 11549"/>
                <a:gd name="T10" fmla="*/ 1022 w 16095"/>
                <a:gd name="T11" fmla="*/ 2885 h 11549"/>
                <a:gd name="T12" fmla="*/ 1090 w 16095"/>
                <a:gd name="T13" fmla="*/ 2734 h 11549"/>
                <a:gd name="T14" fmla="*/ 1204 w 16095"/>
                <a:gd name="T15" fmla="*/ 2613 h 11549"/>
                <a:gd name="T16" fmla="*/ 1354 w 16095"/>
                <a:gd name="T17" fmla="*/ 2535 h 11549"/>
                <a:gd name="T18" fmla="*/ 8076 w 16095"/>
                <a:gd name="T19" fmla="*/ 1005 h 11549"/>
                <a:gd name="T20" fmla="*/ 14781 w 16095"/>
                <a:gd name="T21" fmla="*/ 2550 h 11549"/>
                <a:gd name="T22" fmla="*/ 14923 w 16095"/>
                <a:gd name="T23" fmla="*/ 2640 h 11549"/>
                <a:gd name="T24" fmla="*/ 15026 w 16095"/>
                <a:gd name="T25" fmla="*/ 2769 h 11549"/>
                <a:gd name="T26" fmla="*/ 15082 w 16095"/>
                <a:gd name="T27" fmla="*/ 2926 h 11549"/>
                <a:gd name="T28" fmla="*/ 15082 w 16095"/>
                <a:gd name="T29" fmla="*/ 3099 h 11549"/>
                <a:gd name="T30" fmla="*/ 15026 w 16095"/>
                <a:gd name="T31" fmla="*/ 3257 h 11549"/>
                <a:gd name="T32" fmla="*/ 14923 w 16095"/>
                <a:gd name="T33" fmla="*/ 3386 h 11549"/>
                <a:gd name="T34" fmla="*/ 14781 w 16095"/>
                <a:gd name="T35" fmla="*/ 3476 h 11549"/>
                <a:gd name="T36" fmla="*/ 12557 w 16095"/>
                <a:gd name="T37" fmla="*/ 9147 h 11549"/>
                <a:gd name="T38" fmla="*/ 12133 w 16095"/>
                <a:gd name="T39" fmla="*/ 9634 h 11549"/>
                <a:gd name="T40" fmla="*/ 11142 w 16095"/>
                <a:gd name="T41" fmla="*/ 10111 h 11549"/>
                <a:gd name="T42" fmla="*/ 9586 w 16095"/>
                <a:gd name="T43" fmla="*/ 10454 h 11549"/>
                <a:gd name="T44" fmla="*/ 7499 w 16095"/>
                <a:gd name="T45" fmla="*/ 10534 h 11549"/>
                <a:gd name="T46" fmla="*/ 5660 w 16095"/>
                <a:gd name="T47" fmla="*/ 10307 h 11549"/>
                <a:gd name="T48" fmla="*/ 4387 w 16095"/>
                <a:gd name="T49" fmla="*/ 9882 h 11549"/>
                <a:gd name="T50" fmla="*/ 3680 w 16095"/>
                <a:gd name="T51" fmla="*/ 9384 h 11549"/>
                <a:gd name="T52" fmla="*/ 7715 w 16095"/>
                <a:gd name="T53" fmla="*/ 5989 h 11549"/>
                <a:gd name="T54" fmla="*/ 8048 w 16095"/>
                <a:gd name="T55" fmla="*/ 6026 h 11549"/>
                <a:gd name="T56" fmla="*/ 8388 w 16095"/>
                <a:gd name="T57" fmla="*/ 5988 h 11549"/>
                <a:gd name="T58" fmla="*/ 16061 w 16095"/>
                <a:gd name="T59" fmla="*/ 2690 h 11549"/>
                <a:gd name="T60" fmla="*/ 15875 w 16095"/>
                <a:gd name="T61" fmla="*/ 2227 h 11549"/>
                <a:gd name="T62" fmla="*/ 15551 w 16095"/>
                <a:gd name="T63" fmla="*/ 1852 h 11549"/>
                <a:gd name="T64" fmla="*/ 15113 w 16095"/>
                <a:gd name="T65" fmla="*/ 1601 h 11549"/>
                <a:gd name="T66" fmla="*/ 8214 w 16095"/>
                <a:gd name="T67" fmla="*/ 9 h 11549"/>
                <a:gd name="T68" fmla="*/ 7880 w 16095"/>
                <a:gd name="T69" fmla="*/ 9 h 11549"/>
                <a:gd name="T70" fmla="*/ 982 w 16095"/>
                <a:gd name="T71" fmla="*/ 1601 h 11549"/>
                <a:gd name="T72" fmla="*/ 544 w 16095"/>
                <a:gd name="T73" fmla="*/ 1852 h 11549"/>
                <a:gd name="T74" fmla="*/ 220 w 16095"/>
                <a:gd name="T75" fmla="*/ 2227 h 11549"/>
                <a:gd name="T76" fmla="*/ 34 w 16095"/>
                <a:gd name="T77" fmla="*/ 2690 h 11549"/>
                <a:gd name="T78" fmla="*/ 12 w 16095"/>
                <a:gd name="T79" fmla="*/ 3209 h 11549"/>
                <a:gd name="T80" fmla="*/ 159 w 16095"/>
                <a:gd name="T81" fmla="*/ 3691 h 11549"/>
                <a:gd name="T82" fmla="*/ 452 w 16095"/>
                <a:gd name="T83" fmla="*/ 4090 h 11549"/>
                <a:gd name="T84" fmla="*/ 863 w 16095"/>
                <a:gd name="T85" fmla="*/ 4376 h 11549"/>
                <a:gd name="T86" fmla="*/ 2520 w 16095"/>
                <a:gd name="T87" fmla="*/ 9163 h 11549"/>
                <a:gd name="T88" fmla="*/ 2898 w 16095"/>
                <a:gd name="T89" fmla="*/ 10104 h 11549"/>
                <a:gd name="T90" fmla="*/ 3950 w 16095"/>
                <a:gd name="T91" fmla="*/ 10878 h 11549"/>
                <a:gd name="T92" fmla="*/ 5765 w 16095"/>
                <a:gd name="T93" fmla="*/ 11391 h 11549"/>
                <a:gd name="T94" fmla="*/ 8416 w 16095"/>
                <a:gd name="T95" fmla="*/ 11545 h 11549"/>
                <a:gd name="T96" fmla="*/ 10860 w 16095"/>
                <a:gd name="T97" fmla="*/ 11292 h 11549"/>
                <a:gd name="T98" fmla="*/ 12476 w 16095"/>
                <a:gd name="T99" fmla="*/ 10706 h 11549"/>
                <a:gd name="T100" fmla="*/ 13351 w 16095"/>
                <a:gd name="T101" fmla="*/ 9880 h 11549"/>
                <a:gd name="T102" fmla="*/ 13580 w 16095"/>
                <a:gd name="T103" fmla="*/ 4790 h 11549"/>
                <a:gd name="T104" fmla="*/ 15345 w 16095"/>
                <a:gd name="T105" fmla="*/ 4316 h 11549"/>
                <a:gd name="T106" fmla="*/ 15729 w 16095"/>
                <a:gd name="T107" fmla="*/ 4000 h 11549"/>
                <a:gd name="T108" fmla="*/ 15987 w 16095"/>
                <a:gd name="T109" fmla="*/ 3576 h 11549"/>
                <a:gd name="T110" fmla="*/ 16094 w 16095"/>
                <a:gd name="T111" fmla="*/ 3079 h 1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1549">
                  <a:moveTo>
                    <a:pt x="8160" y="5008"/>
                  </a:moveTo>
                  <a:lnTo>
                    <a:pt x="8133" y="5014"/>
                  </a:lnTo>
                  <a:lnTo>
                    <a:pt x="8105" y="5018"/>
                  </a:lnTo>
                  <a:lnTo>
                    <a:pt x="8076" y="5020"/>
                  </a:lnTo>
                  <a:lnTo>
                    <a:pt x="8048" y="5021"/>
                  </a:lnTo>
                  <a:lnTo>
                    <a:pt x="8019" y="5020"/>
                  </a:lnTo>
                  <a:lnTo>
                    <a:pt x="7990" y="5018"/>
                  </a:lnTo>
                  <a:lnTo>
                    <a:pt x="7962" y="5014"/>
                  </a:lnTo>
                  <a:lnTo>
                    <a:pt x="7935" y="5008"/>
                  </a:lnTo>
                  <a:lnTo>
                    <a:pt x="1396" y="3502"/>
                  </a:lnTo>
                  <a:lnTo>
                    <a:pt x="1374" y="3497"/>
                  </a:lnTo>
                  <a:lnTo>
                    <a:pt x="1354" y="3491"/>
                  </a:lnTo>
                  <a:lnTo>
                    <a:pt x="1334" y="3484"/>
                  </a:lnTo>
                  <a:lnTo>
                    <a:pt x="1314" y="3476"/>
                  </a:lnTo>
                  <a:lnTo>
                    <a:pt x="1294" y="3467"/>
                  </a:lnTo>
                  <a:lnTo>
                    <a:pt x="1276" y="3458"/>
                  </a:lnTo>
                  <a:lnTo>
                    <a:pt x="1256" y="3448"/>
                  </a:lnTo>
                  <a:lnTo>
                    <a:pt x="1238" y="3437"/>
                  </a:lnTo>
                  <a:lnTo>
                    <a:pt x="1221" y="3425"/>
                  </a:lnTo>
                  <a:lnTo>
                    <a:pt x="1204" y="3413"/>
                  </a:lnTo>
                  <a:lnTo>
                    <a:pt x="1188" y="3400"/>
                  </a:lnTo>
                  <a:lnTo>
                    <a:pt x="1172" y="3386"/>
                  </a:lnTo>
                  <a:lnTo>
                    <a:pt x="1157" y="3372"/>
                  </a:lnTo>
                  <a:lnTo>
                    <a:pt x="1143" y="3357"/>
                  </a:lnTo>
                  <a:lnTo>
                    <a:pt x="1129" y="3341"/>
                  </a:lnTo>
                  <a:lnTo>
                    <a:pt x="1116" y="3325"/>
                  </a:lnTo>
                  <a:lnTo>
                    <a:pt x="1103" y="3309"/>
                  </a:lnTo>
                  <a:lnTo>
                    <a:pt x="1090" y="3292"/>
                  </a:lnTo>
                  <a:lnTo>
                    <a:pt x="1079" y="3275"/>
                  </a:lnTo>
                  <a:lnTo>
                    <a:pt x="1069" y="3257"/>
                  </a:lnTo>
                  <a:lnTo>
                    <a:pt x="1059" y="3238"/>
                  </a:lnTo>
                  <a:lnTo>
                    <a:pt x="1050" y="3220"/>
                  </a:lnTo>
                  <a:lnTo>
                    <a:pt x="1042" y="3201"/>
                  </a:lnTo>
                  <a:lnTo>
                    <a:pt x="1035" y="3181"/>
                  </a:lnTo>
                  <a:lnTo>
                    <a:pt x="1028" y="3160"/>
                  </a:lnTo>
                  <a:lnTo>
                    <a:pt x="1022" y="3140"/>
                  </a:lnTo>
                  <a:lnTo>
                    <a:pt x="1018" y="3119"/>
                  </a:lnTo>
                  <a:lnTo>
                    <a:pt x="1013" y="3099"/>
                  </a:lnTo>
                  <a:lnTo>
                    <a:pt x="1010" y="3077"/>
                  </a:lnTo>
                  <a:lnTo>
                    <a:pt x="1008" y="3056"/>
                  </a:lnTo>
                  <a:lnTo>
                    <a:pt x="1007" y="3035"/>
                  </a:lnTo>
                  <a:lnTo>
                    <a:pt x="1006" y="3013"/>
                  </a:lnTo>
                  <a:lnTo>
                    <a:pt x="1007" y="2991"/>
                  </a:lnTo>
                  <a:lnTo>
                    <a:pt x="1008" y="2970"/>
                  </a:lnTo>
                  <a:lnTo>
                    <a:pt x="1010" y="2948"/>
                  </a:lnTo>
                  <a:lnTo>
                    <a:pt x="1013" y="2926"/>
                  </a:lnTo>
                  <a:lnTo>
                    <a:pt x="1018" y="2905"/>
                  </a:lnTo>
                  <a:lnTo>
                    <a:pt x="1022" y="2885"/>
                  </a:lnTo>
                  <a:lnTo>
                    <a:pt x="1028" y="2865"/>
                  </a:lnTo>
                  <a:lnTo>
                    <a:pt x="1035" y="2845"/>
                  </a:lnTo>
                  <a:lnTo>
                    <a:pt x="1042" y="2825"/>
                  </a:lnTo>
                  <a:lnTo>
                    <a:pt x="1050" y="2806"/>
                  </a:lnTo>
                  <a:lnTo>
                    <a:pt x="1059" y="2788"/>
                  </a:lnTo>
                  <a:lnTo>
                    <a:pt x="1069" y="2769"/>
                  </a:lnTo>
                  <a:lnTo>
                    <a:pt x="1079" y="2751"/>
                  </a:lnTo>
                  <a:lnTo>
                    <a:pt x="1090" y="2734"/>
                  </a:lnTo>
                  <a:lnTo>
                    <a:pt x="1103" y="2717"/>
                  </a:lnTo>
                  <a:lnTo>
                    <a:pt x="1116" y="2701"/>
                  </a:lnTo>
                  <a:lnTo>
                    <a:pt x="1129" y="2684"/>
                  </a:lnTo>
                  <a:lnTo>
                    <a:pt x="1143" y="2668"/>
                  </a:lnTo>
                  <a:lnTo>
                    <a:pt x="1157" y="2654"/>
                  </a:lnTo>
                  <a:lnTo>
                    <a:pt x="1172" y="2640"/>
                  </a:lnTo>
                  <a:lnTo>
                    <a:pt x="1188" y="2626"/>
                  </a:lnTo>
                  <a:lnTo>
                    <a:pt x="1204" y="2613"/>
                  </a:lnTo>
                  <a:lnTo>
                    <a:pt x="1221" y="2601"/>
                  </a:lnTo>
                  <a:lnTo>
                    <a:pt x="1238" y="2589"/>
                  </a:lnTo>
                  <a:lnTo>
                    <a:pt x="1256" y="2578"/>
                  </a:lnTo>
                  <a:lnTo>
                    <a:pt x="1276" y="2568"/>
                  </a:lnTo>
                  <a:lnTo>
                    <a:pt x="1294" y="2559"/>
                  </a:lnTo>
                  <a:lnTo>
                    <a:pt x="1314" y="2550"/>
                  </a:lnTo>
                  <a:lnTo>
                    <a:pt x="1334" y="2542"/>
                  </a:lnTo>
                  <a:lnTo>
                    <a:pt x="1354" y="2535"/>
                  </a:lnTo>
                  <a:lnTo>
                    <a:pt x="1374" y="2529"/>
                  </a:lnTo>
                  <a:lnTo>
                    <a:pt x="1396" y="2524"/>
                  </a:lnTo>
                  <a:lnTo>
                    <a:pt x="7935" y="1017"/>
                  </a:lnTo>
                  <a:lnTo>
                    <a:pt x="7962" y="1011"/>
                  </a:lnTo>
                  <a:lnTo>
                    <a:pt x="7990" y="1007"/>
                  </a:lnTo>
                  <a:lnTo>
                    <a:pt x="8019" y="1005"/>
                  </a:lnTo>
                  <a:lnTo>
                    <a:pt x="8048" y="1004"/>
                  </a:lnTo>
                  <a:lnTo>
                    <a:pt x="8076" y="1005"/>
                  </a:lnTo>
                  <a:lnTo>
                    <a:pt x="8105" y="1007"/>
                  </a:lnTo>
                  <a:lnTo>
                    <a:pt x="8133" y="1011"/>
                  </a:lnTo>
                  <a:lnTo>
                    <a:pt x="8160" y="1017"/>
                  </a:lnTo>
                  <a:lnTo>
                    <a:pt x="14700" y="2524"/>
                  </a:lnTo>
                  <a:lnTo>
                    <a:pt x="14721" y="2529"/>
                  </a:lnTo>
                  <a:lnTo>
                    <a:pt x="14741" y="2535"/>
                  </a:lnTo>
                  <a:lnTo>
                    <a:pt x="14762" y="2542"/>
                  </a:lnTo>
                  <a:lnTo>
                    <a:pt x="14781" y="2550"/>
                  </a:lnTo>
                  <a:lnTo>
                    <a:pt x="14801" y="2559"/>
                  </a:lnTo>
                  <a:lnTo>
                    <a:pt x="14820" y="2568"/>
                  </a:lnTo>
                  <a:lnTo>
                    <a:pt x="14839" y="2578"/>
                  </a:lnTo>
                  <a:lnTo>
                    <a:pt x="14857" y="2589"/>
                  </a:lnTo>
                  <a:lnTo>
                    <a:pt x="14874" y="2601"/>
                  </a:lnTo>
                  <a:lnTo>
                    <a:pt x="14891" y="2613"/>
                  </a:lnTo>
                  <a:lnTo>
                    <a:pt x="14907" y="2626"/>
                  </a:lnTo>
                  <a:lnTo>
                    <a:pt x="14923" y="2640"/>
                  </a:lnTo>
                  <a:lnTo>
                    <a:pt x="14938" y="2654"/>
                  </a:lnTo>
                  <a:lnTo>
                    <a:pt x="14952" y="2668"/>
                  </a:lnTo>
                  <a:lnTo>
                    <a:pt x="14966" y="2684"/>
                  </a:lnTo>
                  <a:lnTo>
                    <a:pt x="14979" y="2701"/>
                  </a:lnTo>
                  <a:lnTo>
                    <a:pt x="14992" y="2717"/>
                  </a:lnTo>
                  <a:lnTo>
                    <a:pt x="15005" y="2734"/>
                  </a:lnTo>
                  <a:lnTo>
                    <a:pt x="15016" y="2751"/>
                  </a:lnTo>
                  <a:lnTo>
                    <a:pt x="15026" y="2769"/>
                  </a:lnTo>
                  <a:lnTo>
                    <a:pt x="15036" y="2788"/>
                  </a:lnTo>
                  <a:lnTo>
                    <a:pt x="15045" y="2806"/>
                  </a:lnTo>
                  <a:lnTo>
                    <a:pt x="15053" y="2825"/>
                  </a:lnTo>
                  <a:lnTo>
                    <a:pt x="15060" y="2845"/>
                  </a:lnTo>
                  <a:lnTo>
                    <a:pt x="15067" y="2865"/>
                  </a:lnTo>
                  <a:lnTo>
                    <a:pt x="15073" y="2885"/>
                  </a:lnTo>
                  <a:lnTo>
                    <a:pt x="15078" y="2905"/>
                  </a:lnTo>
                  <a:lnTo>
                    <a:pt x="15082" y="2926"/>
                  </a:lnTo>
                  <a:lnTo>
                    <a:pt x="15085" y="2948"/>
                  </a:lnTo>
                  <a:lnTo>
                    <a:pt x="15087" y="2970"/>
                  </a:lnTo>
                  <a:lnTo>
                    <a:pt x="15089" y="2991"/>
                  </a:lnTo>
                  <a:lnTo>
                    <a:pt x="15089" y="3013"/>
                  </a:lnTo>
                  <a:lnTo>
                    <a:pt x="15089" y="3035"/>
                  </a:lnTo>
                  <a:lnTo>
                    <a:pt x="15087" y="3056"/>
                  </a:lnTo>
                  <a:lnTo>
                    <a:pt x="15085" y="3077"/>
                  </a:lnTo>
                  <a:lnTo>
                    <a:pt x="15082" y="3099"/>
                  </a:lnTo>
                  <a:lnTo>
                    <a:pt x="15078" y="3119"/>
                  </a:lnTo>
                  <a:lnTo>
                    <a:pt x="15073" y="3140"/>
                  </a:lnTo>
                  <a:lnTo>
                    <a:pt x="15067" y="3160"/>
                  </a:lnTo>
                  <a:lnTo>
                    <a:pt x="15060" y="3181"/>
                  </a:lnTo>
                  <a:lnTo>
                    <a:pt x="15053" y="3201"/>
                  </a:lnTo>
                  <a:lnTo>
                    <a:pt x="15045" y="3220"/>
                  </a:lnTo>
                  <a:lnTo>
                    <a:pt x="15036" y="3238"/>
                  </a:lnTo>
                  <a:lnTo>
                    <a:pt x="15026" y="3257"/>
                  </a:lnTo>
                  <a:lnTo>
                    <a:pt x="15016" y="3275"/>
                  </a:lnTo>
                  <a:lnTo>
                    <a:pt x="15005" y="3292"/>
                  </a:lnTo>
                  <a:lnTo>
                    <a:pt x="14992" y="3309"/>
                  </a:lnTo>
                  <a:lnTo>
                    <a:pt x="14979" y="3325"/>
                  </a:lnTo>
                  <a:lnTo>
                    <a:pt x="14966" y="3341"/>
                  </a:lnTo>
                  <a:lnTo>
                    <a:pt x="14952" y="3357"/>
                  </a:lnTo>
                  <a:lnTo>
                    <a:pt x="14938" y="3372"/>
                  </a:lnTo>
                  <a:lnTo>
                    <a:pt x="14923" y="3386"/>
                  </a:lnTo>
                  <a:lnTo>
                    <a:pt x="14907" y="3400"/>
                  </a:lnTo>
                  <a:lnTo>
                    <a:pt x="14891" y="3413"/>
                  </a:lnTo>
                  <a:lnTo>
                    <a:pt x="14874" y="3425"/>
                  </a:lnTo>
                  <a:lnTo>
                    <a:pt x="14857" y="3437"/>
                  </a:lnTo>
                  <a:lnTo>
                    <a:pt x="14839" y="3448"/>
                  </a:lnTo>
                  <a:lnTo>
                    <a:pt x="14820" y="3458"/>
                  </a:lnTo>
                  <a:lnTo>
                    <a:pt x="14801" y="3467"/>
                  </a:lnTo>
                  <a:lnTo>
                    <a:pt x="14781" y="3476"/>
                  </a:lnTo>
                  <a:lnTo>
                    <a:pt x="14762" y="3484"/>
                  </a:lnTo>
                  <a:lnTo>
                    <a:pt x="14741" y="3491"/>
                  </a:lnTo>
                  <a:lnTo>
                    <a:pt x="14721" y="3497"/>
                  </a:lnTo>
                  <a:lnTo>
                    <a:pt x="14700" y="3502"/>
                  </a:lnTo>
                  <a:lnTo>
                    <a:pt x="8160" y="5008"/>
                  </a:lnTo>
                  <a:close/>
                  <a:moveTo>
                    <a:pt x="12574" y="9039"/>
                  </a:moveTo>
                  <a:lnTo>
                    <a:pt x="12570" y="9092"/>
                  </a:lnTo>
                  <a:lnTo>
                    <a:pt x="12557" y="9147"/>
                  </a:lnTo>
                  <a:lnTo>
                    <a:pt x="12535" y="9204"/>
                  </a:lnTo>
                  <a:lnTo>
                    <a:pt x="12504" y="9263"/>
                  </a:lnTo>
                  <a:lnTo>
                    <a:pt x="12464" y="9323"/>
                  </a:lnTo>
                  <a:lnTo>
                    <a:pt x="12415" y="9384"/>
                  </a:lnTo>
                  <a:lnTo>
                    <a:pt x="12358" y="9445"/>
                  </a:lnTo>
                  <a:lnTo>
                    <a:pt x="12292" y="9509"/>
                  </a:lnTo>
                  <a:lnTo>
                    <a:pt x="12216" y="9571"/>
                  </a:lnTo>
                  <a:lnTo>
                    <a:pt x="12133" y="9634"/>
                  </a:lnTo>
                  <a:lnTo>
                    <a:pt x="12039" y="9696"/>
                  </a:lnTo>
                  <a:lnTo>
                    <a:pt x="11937" y="9759"/>
                  </a:lnTo>
                  <a:lnTo>
                    <a:pt x="11827" y="9821"/>
                  </a:lnTo>
                  <a:lnTo>
                    <a:pt x="11708" y="9882"/>
                  </a:lnTo>
                  <a:lnTo>
                    <a:pt x="11579" y="9941"/>
                  </a:lnTo>
                  <a:lnTo>
                    <a:pt x="11443" y="10000"/>
                  </a:lnTo>
                  <a:lnTo>
                    <a:pt x="11297" y="10057"/>
                  </a:lnTo>
                  <a:lnTo>
                    <a:pt x="11142" y="10111"/>
                  </a:lnTo>
                  <a:lnTo>
                    <a:pt x="10979" y="10164"/>
                  </a:lnTo>
                  <a:lnTo>
                    <a:pt x="10806" y="10215"/>
                  </a:lnTo>
                  <a:lnTo>
                    <a:pt x="10625" y="10263"/>
                  </a:lnTo>
                  <a:lnTo>
                    <a:pt x="10435" y="10307"/>
                  </a:lnTo>
                  <a:lnTo>
                    <a:pt x="10235" y="10349"/>
                  </a:lnTo>
                  <a:lnTo>
                    <a:pt x="10028" y="10387"/>
                  </a:lnTo>
                  <a:lnTo>
                    <a:pt x="9811" y="10422"/>
                  </a:lnTo>
                  <a:lnTo>
                    <a:pt x="9586" y="10454"/>
                  </a:lnTo>
                  <a:lnTo>
                    <a:pt x="9351" y="10481"/>
                  </a:lnTo>
                  <a:lnTo>
                    <a:pt x="9109" y="10503"/>
                  </a:lnTo>
                  <a:lnTo>
                    <a:pt x="8856" y="10521"/>
                  </a:lnTo>
                  <a:lnTo>
                    <a:pt x="8596" y="10534"/>
                  </a:lnTo>
                  <a:lnTo>
                    <a:pt x="8326" y="10542"/>
                  </a:lnTo>
                  <a:lnTo>
                    <a:pt x="8048" y="10545"/>
                  </a:lnTo>
                  <a:lnTo>
                    <a:pt x="7769" y="10542"/>
                  </a:lnTo>
                  <a:lnTo>
                    <a:pt x="7499" y="10534"/>
                  </a:lnTo>
                  <a:lnTo>
                    <a:pt x="7239" y="10521"/>
                  </a:lnTo>
                  <a:lnTo>
                    <a:pt x="6986" y="10503"/>
                  </a:lnTo>
                  <a:lnTo>
                    <a:pt x="6744" y="10481"/>
                  </a:lnTo>
                  <a:lnTo>
                    <a:pt x="6509" y="10454"/>
                  </a:lnTo>
                  <a:lnTo>
                    <a:pt x="6284" y="10422"/>
                  </a:lnTo>
                  <a:lnTo>
                    <a:pt x="6067" y="10387"/>
                  </a:lnTo>
                  <a:lnTo>
                    <a:pt x="5860" y="10349"/>
                  </a:lnTo>
                  <a:lnTo>
                    <a:pt x="5660" y="10307"/>
                  </a:lnTo>
                  <a:lnTo>
                    <a:pt x="5470" y="10263"/>
                  </a:lnTo>
                  <a:lnTo>
                    <a:pt x="5289" y="10215"/>
                  </a:lnTo>
                  <a:lnTo>
                    <a:pt x="5116" y="10164"/>
                  </a:lnTo>
                  <a:lnTo>
                    <a:pt x="4953" y="10111"/>
                  </a:lnTo>
                  <a:lnTo>
                    <a:pt x="4798" y="10057"/>
                  </a:lnTo>
                  <a:lnTo>
                    <a:pt x="4652" y="10000"/>
                  </a:lnTo>
                  <a:lnTo>
                    <a:pt x="4516" y="9941"/>
                  </a:lnTo>
                  <a:lnTo>
                    <a:pt x="4387" y="9882"/>
                  </a:lnTo>
                  <a:lnTo>
                    <a:pt x="4268" y="9821"/>
                  </a:lnTo>
                  <a:lnTo>
                    <a:pt x="4158" y="9759"/>
                  </a:lnTo>
                  <a:lnTo>
                    <a:pt x="4056" y="9696"/>
                  </a:lnTo>
                  <a:lnTo>
                    <a:pt x="3963" y="9634"/>
                  </a:lnTo>
                  <a:lnTo>
                    <a:pt x="3879" y="9571"/>
                  </a:lnTo>
                  <a:lnTo>
                    <a:pt x="3803" y="9509"/>
                  </a:lnTo>
                  <a:lnTo>
                    <a:pt x="3737" y="9445"/>
                  </a:lnTo>
                  <a:lnTo>
                    <a:pt x="3680" y="9384"/>
                  </a:lnTo>
                  <a:lnTo>
                    <a:pt x="3631" y="9323"/>
                  </a:lnTo>
                  <a:lnTo>
                    <a:pt x="3591" y="9263"/>
                  </a:lnTo>
                  <a:lnTo>
                    <a:pt x="3561" y="9204"/>
                  </a:lnTo>
                  <a:lnTo>
                    <a:pt x="3539" y="9147"/>
                  </a:lnTo>
                  <a:lnTo>
                    <a:pt x="3525" y="9092"/>
                  </a:lnTo>
                  <a:lnTo>
                    <a:pt x="3521" y="9039"/>
                  </a:lnTo>
                  <a:lnTo>
                    <a:pt x="3521" y="5022"/>
                  </a:lnTo>
                  <a:lnTo>
                    <a:pt x="7715" y="5989"/>
                  </a:lnTo>
                  <a:lnTo>
                    <a:pt x="7756" y="5998"/>
                  </a:lnTo>
                  <a:lnTo>
                    <a:pt x="7797" y="6005"/>
                  </a:lnTo>
                  <a:lnTo>
                    <a:pt x="7839" y="6012"/>
                  </a:lnTo>
                  <a:lnTo>
                    <a:pt x="7881" y="6017"/>
                  </a:lnTo>
                  <a:lnTo>
                    <a:pt x="7923" y="6021"/>
                  </a:lnTo>
                  <a:lnTo>
                    <a:pt x="7964" y="6024"/>
                  </a:lnTo>
                  <a:lnTo>
                    <a:pt x="8006" y="6025"/>
                  </a:lnTo>
                  <a:lnTo>
                    <a:pt x="8048" y="6026"/>
                  </a:lnTo>
                  <a:lnTo>
                    <a:pt x="8090" y="6025"/>
                  </a:lnTo>
                  <a:lnTo>
                    <a:pt x="8131" y="6024"/>
                  </a:lnTo>
                  <a:lnTo>
                    <a:pt x="8173" y="6021"/>
                  </a:lnTo>
                  <a:lnTo>
                    <a:pt x="8215" y="6017"/>
                  </a:lnTo>
                  <a:lnTo>
                    <a:pt x="8258" y="6011"/>
                  </a:lnTo>
                  <a:lnTo>
                    <a:pt x="8300" y="6005"/>
                  </a:lnTo>
                  <a:lnTo>
                    <a:pt x="8343" y="5997"/>
                  </a:lnTo>
                  <a:lnTo>
                    <a:pt x="8388" y="5988"/>
                  </a:lnTo>
                  <a:lnTo>
                    <a:pt x="12574" y="5022"/>
                  </a:lnTo>
                  <a:lnTo>
                    <a:pt x="12574" y="9039"/>
                  </a:lnTo>
                  <a:close/>
                  <a:moveTo>
                    <a:pt x="16095" y="3013"/>
                  </a:moveTo>
                  <a:lnTo>
                    <a:pt x="16094" y="2947"/>
                  </a:lnTo>
                  <a:lnTo>
                    <a:pt x="16089" y="2881"/>
                  </a:lnTo>
                  <a:lnTo>
                    <a:pt x="16083" y="2817"/>
                  </a:lnTo>
                  <a:lnTo>
                    <a:pt x="16073" y="2754"/>
                  </a:lnTo>
                  <a:lnTo>
                    <a:pt x="16061" y="2690"/>
                  </a:lnTo>
                  <a:lnTo>
                    <a:pt x="16046" y="2628"/>
                  </a:lnTo>
                  <a:lnTo>
                    <a:pt x="16029" y="2568"/>
                  </a:lnTo>
                  <a:lnTo>
                    <a:pt x="16009" y="2508"/>
                  </a:lnTo>
                  <a:lnTo>
                    <a:pt x="15987" y="2449"/>
                  </a:lnTo>
                  <a:lnTo>
                    <a:pt x="15962" y="2391"/>
                  </a:lnTo>
                  <a:lnTo>
                    <a:pt x="15936" y="2335"/>
                  </a:lnTo>
                  <a:lnTo>
                    <a:pt x="15907" y="2280"/>
                  </a:lnTo>
                  <a:lnTo>
                    <a:pt x="15875" y="2227"/>
                  </a:lnTo>
                  <a:lnTo>
                    <a:pt x="15842" y="2173"/>
                  </a:lnTo>
                  <a:lnTo>
                    <a:pt x="15806" y="2123"/>
                  </a:lnTo>
                  <a:lnTo>
                    <a:pt x="15768" y="2074"/>
                  </a:lnTo>
                  <a:lnTo>
                    <a:pt x="15729" y="2026"/>
                  </a:lnTo>
                  <a:lnTo>
                    <a:pt x="15687" y="1979"/>
                  </a:lnTo>
                  <a:lnTo>
                    <a:pt x="15643" y="1935"/>
                  </a:lnTo>
                  <a:lnTo>
                    <a:pt x="15598" y="1893"/>
                  </a:lnTo>
                  <a:lnTo>
                    <a:pt x="15551" y="1852"/>
                  </a:lnTo>
                  <a:lnTo>
                    <a:pt x="15501" y="1814"/>
                  </a:lnTo>
                  <a:lnTo>
                    <a:pt x="15451" y="1777"/>
                  </a:lnTo>
                  <a:lnTo>
                    <a:pt x="15399" y="1741"/>
                  </a:lnTo>
                  <a:lnTo>
                    <a:pt x="15345" y="1709"/>
                  </a:lnTo>
                  <a:lnTo>
                    <a:pt x="15289" y="1679"/>
                  </a:lnTo>
                  <a:lnTo>
                    <a:pt x="15232" y="1650"/>
                  </a:lnTo>
                  <a:lnTo>
                    <a:pt x="15174" y="1625"/>
                  </a:lnTo>
                  <a:lnTo>
                    <a:pt x="15113" y="1601"/>
                  </a:lnTo>
                  <a:lnTo>
                    <a:pt x="15052" y="1580"/>
                  </a:lnTo>
                  <a:lnTo>
                    <a:pt x="14989" y="1561"/>
                  </a:lnTo>
                  <a:lnTo>
                    <a:pt x="14926" y="1545"/>
                  </a:lnTo>
                  <a:lnTo>
                    <a:pt x="8380" y="37"/>
                  </a:lnTo>
                  <a:lnTo>
                    <a:pt x="8339" y="28"/>
                  </a:lnTo>
                  <a:lnTo>
                    <a:pt x="8298" y="21"/>
                  </a:lnTo>
                  <a:lnTo>
                    <a:pt x="8256" y="15"/>
                  </a:lnTo>
                  <a:lnTo>
                    <a:pt x="8214" y="9"/>
                  </a:lnTo>
                  <a:lnTo>
                    <a:pt x="8172" y="5"/>
                  </a:lnTo>
                  <a:lnTo>
                    <a:pt x="8131" y="2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6" y="1"/>
                  </a:lnTo>
                  <a:lnTo>
                    <a:pt x="7964" y="2"/>
                  </a:lnTo>
                  <a:lnTo>
                    <a:pt x="7922" y="5"/>
                  </a:lnTo>
                  <a:lnTo>
                    <a:pt x="7880" y="9"/>
                  </a:lnTo>
                  <a:lnTo>
                    <a:pt x="7837" y="15"/>
                  </a:lnTo>
                  <a:lnTo>
                    <a:pt x="7795" y="21"/>
                  </a:lnTo>
                  <a:lnTo>
                    <a:pt x="7752" y="29"/>
                  </a:lnTo>
                  <a:lnTo>
                    <a:pt x="7707" y="38"/>
                  </a:lnTo>
                  <a:lnTo>
                    <a:pt x="1170" y="1545"/>
                  </a:lnTo>
                  <a:lnTo>
                    <a:pt x="1106" y="1561"/>
                  </a:lnTo>
                  <a:lnTo>
                    <a:pt x="1043" y="1580"/>
                  </a:lnTo>
                  <a:lnTo>
                    <a:pt x="982" y="1601"/>
                  </a:lnTo>
                  <a:lnTo>
                    <a:pt x="921" y="1625"/>
                  </a:lnTo>
                  <a:lnTo>
                    <a:pt x="863" y="1650"/>
                  </a:lnTo>
                  <a:lnTo>
                    <a:pt x="806" y="1679"/>
                  </a:lnTo>
                  <a:lnTo>
                    <a:pt x="750" y="1709"/>
                  </a:lnTo>
                  <a:lnTo>
                    <a:pt x="696" y="1741"/>
                  </a:lnTo>
                  <a:lnTo>
                    <a:pt x="644" y="1777"/>
                  </a:lnTo>
                  <a:lnTo>
                    <a:pt x="594" y="1814"/>
                  </a:lnTo>
                  <a:lnTo>
                    <a:pt x="544" y="1852"/>
                  </a:lnTo>
                  <a:lnTo>
                    <a:pt x="497" y="1893"/>
                  </a:lnTo>
                  <a:lnTo>
                    <a:pt x="452" y="1935"/>
                  </a:lnTo>
                  <a:lnTo>
                    <a:pt x="407" y="1979"/>
                  </a:lnTo>
                  <a:lnTo>
                    <a:pt x="366" y="2026"/>
                  </a:lnTo>
                  <a:lnTo>
                    <a:pt x="327" y="2074"/>
                  </a:lnTo>
                  <a:lnTo>
                    <a:pt x="289" y="2123"/>
                  </a:lnTo>
                  <a:lnTo>
                    <a:pt x="253" y="2173"/>
                  </a:lnTo>
                  <a:lnTo>
                    <a:pt x="220" y="2227"/>
                  </a:lnTo>
                  <a:lnTo>
                    <a:pt x="188" y="2280"/>
                  </a:lnTo>
                  <a:lnTo>
                    <a:pt x="159" y="2335"/>
                  </a:lnTo>
                  <a:lnTo>
                    <a:pt x="133" y="2391"/>
                  </a:lnTo>
                  <a:lnTo>
                    <a:pt x="108" y="2449"/>
                  </a:lnTo>
                  <a:lnTo>
                    <a:pt x="86" y="2508"/>
                  </a:lnTo>
                  <a:lnTo>
                    <a:pt x="66" y="2568"/>
                  </a:lnTo>
                  <a:lnTo>
                    <a:pt x="49" y="2628"/>
                  </a:lnTo>
                  <a:lnTo>
                    <a:pt x="34" y="2690"/>
                  </a:lnTo>
                  <a:lnTo>
                    <a:pt x="22" y="2754"/>
                  </a:lnTo>
                  <a:lnTo>
                    <a:pt x="12" y="2817"/>
                  </a:lnTo>
                  <a:lnTo>
                    <a:pt x="6" y="2881"/>
                  </a:lnTo>
                  <a:lnTo>
                    <a:pt x="1" y="2947"/>
                  </a:lnTo>
                  <a:lnTo>
                    <a:pt x="0" y="3013"/>
                  </a:lnTo>
                  <a:lnTo>
                    <a:pt x="1" y="3079"/>
                  </a:lnTo>
                  <a:lnTo>
                    <a:pt x="6" y="3143"/>
                  </a:lnTo>
                  <a:lnTo>
                    <a:pt x="12" y="3209"/>
                  </a:lnTo>
                  <a:lnTo>
                    <a:pt x="22" y="3272"/>
                  </a:lnTo>
                  <a:lnTo>
                    <a:pt x="34" y="3335"/>
                  </a:lnTo>
                  <a:lnTo>
                    <a:pt x="49" y="3396"/>
                  </a:lnTo>
                  <a:lnTo>
                    <a:pt x="66" y="3458"/>
                  </a:lnTo>
                  <a:lnTo>
                    <a:pt x="86" y="3518"/>
                  </a:lnTo>
                  <a:lnTo>
                    <a:pt x="108" y="3576"/>
                  </a:lnTo>
                  <a:lnTo>
                    <a:pt x="133" y="3635"/>
                  </a:lnTo>
                  <a:lnTo>
                    <a:pt x="159" y="3691"/>
                  </a:lnTo>
                  <a:lnTo>
                    <a:pt x="188" y="3746"/>
                  </a:lnTo>
                  <a:lnTo>
                    <a:pt x="219" y="3800"/>
                  </a:lnTo>
                  <a:lnTo>
                    <a:pt x="253" y="3852"/>
                  </a:lnTo>
                  <a:lnTo>
                    <a:pt x="289" y="3903"/>
                  </a:lnTo>
                  <a:lnTo>
                    <a:pt x="327" y="3953"/>
                  </a:lnTo>
                  <a:lnTo>
                    <a:pt x="366" y="4000"/>
                  </a:lnTo>
                  <a:lnTo>
                    <a:pt x="407" y="4046"/>
                  </a:lnTo>
                  <a:lnTo>
                    <a:pt x="452" y="4090"/>
                  </a:lnTo>
                  <a:lnTo>
                    <a:pt x="497" y="4134"/>
                  </a:lnTo>
                  <a:lnTo>
                    <a:pt x="544" y="4174"/>
                  </a:lnTo>
                  <a:lnTo>
                    <a:pt x="594" y="4213"/>
                  </a:lnTo>
                  <a:lnTo>
                    <a:pt x="644" y="4249"/>
                  </a:lnTo>
                  <a:lnTo>
                    <a:pt x="696" y="4284"/>
                  </a:lnTo>
                  <a:lnTo>
                    <a:pt x="750" y="4316"/>
                  </a:lnTo>
                  <a:lnTo>
                    <a:pt x="806" y="4348"/>
                  </a:lnTo>
                  <a:lnTo>
                    <a:pt x="863" y="4376"/>
                  </a:lnTo>
                  <a:lnTo>
                    <a:pt x="921" y="4402"/>
                  </a:lnTo>
                  <a:lnTo>
                    <a:pt x="982" y="4425"/>
                  </a:lnTo>
                  <a:lnTo>
                    <a:pt x="1043" y="4446"/>
                  </a:lnTo>
                  <a:lnTo>
                    <a:pt x="1106" y="4465"/>
                  </a:lnTo>
                  <a:lnTo>
                    <a:pt x="1170" y="4481"/>
                  </a:lnTo>
                  <a:lnTo>
                    <a:pt x="2515" y="4790"/>
                  </a:lnTo>
                  <a:lnTo>
                    <a:pt x="2515" y="9039"/>
                  </a:lnTo>
                  <a:lnTo>
                    <a:pt x="2520" y="9163"/>
                  </a:lnTo>
                  <a:lnTo>
                    <a:pt x="2533" y="9287"/>
                  </a:lnTo>
                  <a:lnTo>
                    <a:pt x="2556" y="9408"/>
                  </a:lnTo>
                  <a:lnTo>
                    <a:pt x="2588" y="9529"/>
                  </a:lnTo>
                  <a:lnTo>
                    <a:pt x="2631" y="9648"/>
                  </a:lnTo>
                  <a:lnTo>
                    <a:pt x="2682" y="9766"/>
                  </a:lnTo>
                  <a:lnTo>
                    <a:pt x="2744" y="9880"/>
                  </a:lnTo>
                  <a:lnTo>
                    <a:pt x="2817" y="9994"/>
                  </a:lnTo>
                  <a:lnTo>
                    <a:pt x="2898" y="10104"/>
                  </a:lnTo>
                  <a:lnTo>
                    <a:pt x="2992" y="10212"/>
                  </a:lnTo>
                  <a:lnTo>
                    <a:pt x="3095" y="10317"/>
                  </a:lnTo>
                  <a:lnTo>
                    <a:pt x="3209" y="10418"/>
                  </a:lnTo>
                  <a:lnTo>
                    <a:pt x="3335" y="10518"/>
                  </a:lnTo>
                  <a:lnTo>
                    <a:pt x="3471" y="10613"/>
                  </a:lnTo>
                  <a:lnTo>
                    <a:pt x="3619" y="10706"/>
                  </a:lnTo>
                  <a:lnTo>
                    <a:pt x="3779" y="10794"/>
                  </a:lnTo>
                  <a:lnTo>
                    <a:pt x="3950" y="10878"/>
                  </a:lnTo>
                  <a:lnTo>
                    <a:pt x="4134" y="10959"/>
                  </a:lnTo>
                  <a:lnTo>
                    <a:pt x="4330" y="11035"/>
                  </a:lnTo>
                  <a:lnTo>
                    <a:pt x="4537" y="11106"/>
                  </a:lnTo>
                  <a:lnTo>
                    <a:pt x="4757" y="11174"/>
                  </a:lnTo>
                  <a:lnTo>
                    <a:pt x="4989" y="11235"/>
                  </a:lnTo>
                  <a:lnTo>
                    <a:pt x="5235" y="11292"/>
                  </a:lnTo>
                  <a:lnTo>
                    <a:pt x="5493" y="11344"/>
                  </a:lnTo>
                  <a:lnTo>
                    <a:pt x="5765" y="11391"/>
                  </a:lnTo>
                  <a:lnTo>
                    <a:pt x="6050" y="11432"/>
                  </a:lnTo>
                  <a:lnTo>
                    <a:pt x="6348" y="11467"/>
                  </a:lnTo>
                  <a:lnTo>
                    <a:pt x="6660" y="11496"/>
                  </a:lnTo>
                  <a:lnTo>
                    <a:pt x="6985" y="11519"/>
                  </a:lnTo>
                  <a:lnTo>
                    <a:pt x="7325" y="11535"/>
                  </a:lnTo>
                  <a:lnTo>
                    <a:pt x="7679" y="11545"/>
                  </a:lnTo>
                  <a:lnTo>
                    <a:pt x="8048" y="11549"/>
                  </a:lnTo>
                  <a:lnTo>
                    <a:pt x="8416" y="11545"/>
                  </a:lnTo>
                  <a:lnTo>
                    <a:pt x="8770" y="11535"/>
                  </a:lnTo>
                  <a:lnTo>
                    <a:pt x="9110" y="11519"/>
                  </a:lnTo>
                  <a:lnTo>
                    <a:pt x="9435" y="11496"/>
                  </a:lnTo>
                  <a:lnTo>
                    <a:pt x="9748" y="11467"/>
                  </a:lnTo>
                  <a:lnTo>
                    <a:pt x="10045" y="11432"/>
                  </a:lnTo>
                  <a:lnTo>
                    <a:pt x="10330" y="11391"/>
                  </a:lnTo>
                  <a:lnTo>
                    <a:pt x="10602" y="11344"/>
                  </a:lnTo>
                  <a:lnTo>
                    <a:pt x="10860" y="11292"/>
                  </a:lnTo>
                  <a:lnTo>
                    <a:pt x="11106" y="11235"/>
                  </a:lnTo>
                  <a:lnTo>
                    <a:pt x="11338" y="11174"/>
                  </a:lnTo>
                  <a:lnTo>
                    <a:pt x="11558" y="11106"/>
                  </a:lnTo>
                  <a:lnTo>
                    <a:pt x="11765" y="11035"/>
                  </a:lnTo>
                  <a:lnTo>
                    <a:pt x="11961" y="10959"/>
                  </a:lnTo>
                  <a:lnTo>
                    <a:pt x="12145" y="10878"/>
                  </a:lnTo>
                  <a:lnTo>
                    <a:pt x="12316" y="10794"/>
                  </a:lnTo>
                  <a:lnTo>
                    <a:pt x="12476" y="10706"/>
                  </a:lnTo>
                  <a:lnTo>
                    <a:pt x="12624" y="10613"/>
                  </a:lnTo>
                  <a:lnTo>
                    <a:pt x="12760" y="10518"/>
                  </a:lnTo>
                  <a:lnTo>
                    <a:pt x="12886" y="10418"/>
                  </a:lnTo>
                  <a:lnTo>
                    <a:pt x="13000" y="10317"/>
                  </a:lnTo>
                  <a:lnTo>
                    <a:pt x="13103" y="10212"/>
                  </a:lnTo>
                  <a:lnTo>
                    <a:pt x="13197" y="10104"/>
                  </a:lnTo>
                  <a:lnTo>
                    <a:pt x="13278" y="9994"/>
                  </a:lnTo>
                  <a:lnTo>
                    <a:pt x="13351" y="9880"/>
                  </a:lnTo>
                  <a:lnTo>
                    <a:pt x="13413" y="9766"/>
                  </a:lnTo>
                  <a:lnTo>
                    <a:pt x="13464" y="9648"/>
                  </a:lnTo>
                  <a:lnTo>
                    <a:pt x="13507" y="9529"/>
                  </a:lnTo>
                  <a:lnTo>
                    <a:pt x="13539" y="9408"/>
                  </a:lnTo>
                  <a:lnTo>
                    <a:pt x="13562" y="9287"/>
                  </a:lnTo>
                  <a:lnTo>
                    <a:pt x="13576" y="9163"/>
                  </a:lnTo>
                  <a:lnTo>
                    <a:pt x="13580" y="9039"/>
                  </a:lnTo>
                  <a:lnTo>
                    <a:pt x="13580" y="4790"/>
                  </a:lnTo>
                  <a:lnTo>
                    <a:pt x="14925" y="4481"/>
                  </a:lnTo>
                  <a:lnTo>
                    <a:pt x="14989" y="4465"/>
                  </a:lnTo>
                  <a:lnTo>
                    <a:pt x="15052" y="4446"/>
                  </a:lnTo>
                  <a:lnTo>
                    <a:pt x="15113" y="4425"/>
                  </a:lnTo>
                  <a:lnTo>
                    <a:pt x="15174" y="4402"/>
                  </a:lnTo>
                  <a:lnTo>
                    <a:pt x="15232" y="4376"/>
                  </a:lnTo>
                  <a:lnTo>
                    <a:pt x="15289" y="4348"/>
                  </a:lnTo>
                  <a:lnTo>
                    <a:pt x="15345" y="4316"/>
                  </a:lnTo>
                  <a:lnTo>
                    <a:pt x="15399" y="4284"/>
                  </a:lnTo>
                  <a:lnTo>
                    <a:pt x="15451" y="4249"/>
                  </a:lnTo>
                  <a:lnTo>
                    <a:pt x="15501" y="4213"/>
                  </a:lnTo>
                  <a:lnTo>
                    <a:pt x="15551" y="4174"/>
                  </a:lnTo>
                  <a:lnTo>
                    <a:pt x="15598" y="4134"/>
                  </a:lnTo>
                  <a:lnTo>
                    <a:pt x="15643" y="4090"/>
                  </a:lnTo>
                  <a:lnTo>
                    <a:pt x="15687" y="4046"/>
                  </a:lnTo>
                  <a:lnTo>
                    <a:pt x="15729" y="4000"/>
                  </a:lnTo>
                  <a:lnTo>
                    <a:pt x="15768" y="3953"/>
                  </a:lnTo>
                  <a:lnTo>
                    <a:pt x="15806" y="3903"/>
                  </a:lnTo>
                  <a:lnTo>
                    <a:pt x="15842" y="3852"/>
                  </a:lnTo>
                  <a:lnTo>
                    <a:pt x="15875" y="3800"/>
                  </a:lnTo>
                  <a:lnTo>
                    <a:pt x="15906" y="3746"/>
                  </a:lnTo>
                  <a:lnTo>
                    <a:pt x="15935" y="3691"/>
                  </a:lnTo>
                  <a:lnTo>
                    <a:pt x="15962" y="3635"/>
                  </a:lnTo>
                  <a:lnTo>
                    <a:pt x="15987" y="3576"/>
                  </a:lnTo>
                  <a:lnTo>
                    <a:pt x="16009" y="3518"/>
                  </a:lnTo>
                  <a:lnTo>
                    <a:pt x="16029" y="3458"/>
                  </a:lnTo>
                  <a:lnTo>
                    <a:pt x="16046" y="3396"/>
                  </a:lnTo>
                  <a:lnTo>
                    <a:pt x="16061" y="3335"/>
                  </a:lnTo>
                  <a:lnTo>
                    <a:pt x="16073" y="3272"/>
                  </a:lnTo>
                  <a:lnTo>
                    <a:pt x="16083" y="3209"/>
                  </a:lnTo>
                  <a:lnTo>
                    <a:pt x="16089" y="3143"/>
                  </a:lnTo>
                  <a:lnTo>
                    <a:pt x="16094" y="3079"/>
                  </a:lnTo>
                  <a:lnTo>
                    <a:pt x="16095" y="30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0" name="isľïḑé">
              <a:extLst>
                <a:ext uri="{FF2B5EF4-FFF2-40B4-BE49-F238E27FC236}">
                  <a16:creationId xmlns:a16="http://schemas.microsoft.com/office/drawing/2014/main" id="{F2D68274-0F5A-4B39-AAA7-4FCD19FBE7A8}"/>
                </a:ext>
              </a:extLst>
            </p:cNvPr>
            <p:cNvSpPr/>
            <p:nvPr/>
          </p:nvSpPr>
          <p:spPr bwMode="auto">
            <a:xfrm>
              <a:off x="5054288" y="1765946"/>
              <a:ext cx="29035" cy="160229"/>
            </a:xfrm>
            <a:custGeom>
              <a:avLst/>
              <a:gdLst>
                <a:gd name="T0" fmla="*/ 1 w 1006"/>
                <a:gd name="T1" fmla="*/ 5048 h 5524"/>
                <a:gd name="T2" fmla="*/ 10 w 1006"/>
                <a:gd name="T3" fmla="*/ 5123 h 5524"/>
                <a:gd name="T4" fmla="*/ 30 w 1006"/>
                <a:gd name="T5" fmla="*/ 5195 h 5524"/>
                <a:gd name="T6" fmla="*/ 60 w 1006"/>
                <a:gd name="T7" fmla="*/ 5262 h 5524"/>
                <a:gd name="T8" fmla="*/ 100 w 1006"/>
                <a:gd name="T9" fmla="*/ 5322 h 5524"/>
                <a:gd name="T10" fmla="*/ 147 w 1006"/>
                <a:gd name="T11" fmla="*/ 5377 h 5524"/>
                <a:gd name="T12" fmla="*/ 202 w 1006"/>
                <a:gd name="T13" fmla="*/ 5425 h 5524"/>
                <a:gd name="T14" fmla="*/ 264 w 1006"/>
                <a:gd name="T15" fmla="*/ 5464 h 5524"/>
                <a:gd name="T16" fmla="*/ 330 w 1006"/>
                <a:gd name="T17" fmla="*/ 5494 h 5524"/>
                <a:gd name="T18" fmla="*/ 401 w 1006"/>
                <a:gd name="T19" fmla="*/ 5514 h 5524"/>
                <a:gd name="T20" fmla="*/ 477 w 1006"/>
                <a:gd name="T21" fmla="*/ 5523 h 5524"/>
                <a:gd name="T22" fmla="*/ 554 w 1006"/>
                <a:gd name="T23" fmla="*/ 5522 h 5524"/>
                <a:gd name="T24" fmla="*/ 629 w 1006"/>
                <a:gd name="T25" fmla="*/ 5508 h 5524"/>
                <a:gd name="T26" fmla="*/ 699 w 1006"/>
                <a:gd name="T27" fmla="*/ 5485 h 5524"/>
                <a:gd name="T28" fmla="*/ 764 w 1006"/>
                <a:gd name="T29" fmla="*/ 5452 h 5524"/>
                <a:gd name="T30" fmla="*/ 823 w 1006"/>
                <a:gd name="T31" fmla="*/ 5410 h 5524"/>
                <a:gd name="T32" fmla="*/ 875 w 1006"/>
                <a:gd name="T33" fmla="*/ 5359 h 5524"/>
                <a:gd name="T34" fmla="*/ 921 w 1006"/>
                <a:gd name="T35" fmla="*/ 5303 h 5524"/>
                <a:gd name="T36" fmla="*/ 957 w 1006"/>
                <a:gd name="T37" fmla="*/ 5240 h 5524"/>
                <a:gd name="T38" fmla="*/ 983 w 1006"/>
                <a:gd name="T39" fmla="*/ 5171 h 5524"/>
                <a:gd name="T40" fmla="*/ 1000 w 1006"/>
                <a:gd name="T41" fmla="*/ 5098 h 5524"/>
                <a:gd name="T42" fmla="*/ 1006 w 1006"/>
                <a:gd name="T43" fmla="*/ 5022 h 5524"/>
                <a:gd name="T44" fmla="*/ 1003 w 1006"/>
                <a:gd name="T45" fmla="*/ 451 h 5524"/>
                <a:gd name="T46" fmla="*/ 990 w 1006"/>
                <a:gd name="T47" fmla="*/ 377 h 5524"/>
                <a:gd name="T48" fmla="*/ 967 w 1006"/>
                <a:gd name="T49" fmla="*/ 307 h 5524"/>
                <a:gd name="T50" fmla="*/ 934 w 1006"/>
                <a:gd name="T51" fmla="*/ 242 h 5524"/>
                <a:gd name="T52" fmla="*/ 891 w 1006"/>
                <a:gd name="T53" fmla="*/ 183 h 5524"/>
                <a:gd name="T54" fmla="*/ 841 w 1006"/>
                <a:gd name="T55" fmla="*/ 131 h 5524"/>
                <a:gd name="T56" fmla="*/ 785 w 1006"/>
                <a:gd name="T57" fmla="*/ 86 h 5524"/>
                <a:gd name="T58" fmla="*/ 721 w 1006"/>
                <a:gd name="T59" fmla="*/ 50 h 5524"/>
                <a:gd name="T60" fmla="*/ 653 w 1006"/>
                <a:gd name="T61" fmla="*/ 24 h 5524"/>
                <a:gd name="T62" fmla="*/ 580 w 1006"/>
                <a:gd name="T63" fmla="*/ 6 h 5524"/>
                <a:gd name="T64" fmla="*/ 503 w 1006"/>
                <a:gd name="T65" fmla="*/ 0 h 5524"/>
                <a:gd name="T66" fmla="*/ 427 w 1006"/>
                <a:gd name="T67" fmla="*/ 6 h 5524"/>
                <a:gd name="T68" fmla="*/ 353 w 1006"/>
                <a:gd name="T69" fmla="*/ 24 h 5524"/>
                <a:gd name="T70" fmla="*/ 285 w 1006"/>
                <a:gd name="T71" fmla="*/ 50 h 5524"/>
                <a:gd name="T72" fmla="*/ 221 w 1006"/>
                <a:gd name="T73" fmla="*/ 86 h 5524"/>
                <a:gd name="T74" fmla="*/ 165 w 1006"/>
                <a:gd name="T75" fmla="*/ 131 h 5524"/>
                <a:gd name="T76" fmla="*/ 115 w 1006"/>
                <a:gd name="T77" fmla="*/ 183 h 5524"/>
                <a:gd name="T78" fmla="*/ 73 w 1006"/>
                <a:gd name="T79" fmla="*/ 242 h 5524"/>
                <a:gd name="T80" fmla="*/ 39 w 1006"/>
                <a:gd name="T81" fmla="*/ 307 h 5524"/>
                <a:gd name="T82" fmla="*/ 16 w 1006"/>
                <a:gd name="T83" fmla="*/ 377 h 5524"/>
                <a:gd name="T84" fmla="*/ 2 w 1006"/>
                <a:gd name="T85" fmla="*/ 451 h 5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5524">
                  <a:moveTo>
                    <a:pt x="0" y="503"/>
                  </a:moveTo>
                  <a:lnTo>
                    <a:pt x="0" y="5022"/>
                  </a:lnTo>
                  <a:lnTo>
                    <a:pt x="1" y="5048"/>
                  </a:lnTo>
                  <a:lnTo>
                    <a:pt x="2" y="5073"/>
                  </a:lnTo>
                  <a:lnTo>
                    <a:pt x="6" y="5098"/>
                  </a:lnTo>
                  <a:lnTo>
                    <a:pt x="10" y="5123"/>
                  </a:lnTo>
                  <a:lnTo>
                    <a:pt x="16" y="5147"/>
                  </a:lnTo>
                  <a:lnTo>
                    <a:pt x="22" y="5171"/>
                  </a:lnTo>
                  <a:lnTo>
                    <a:pt x="30" y="5195"/>
                  </a:lnTo>
                  <a:lnTo>
                    <a:pt x="39" y="5218"/>
                  </a:lnTo>
                  <a:lnTo>
                    <a:pt x="49" y="5240"/>
                  </a:lnTo>
                  <a:lnTo>
                    <a:pt x="60" y="5262"/>
                  </a:lnTo>
                  <a:lnTo>
                    <a:pt x="73" y="5282"/>
                  </a:lnTo>
                  <a:lnTo>
                    <a:pt x="86" y="5303"/>
                  </a:lnTo>
                  <a:lnTo>
                    <a:pt x="100" y="5322"/>
                  </a:lnTo>
                  <a:lnTo>
                    <a:pt x="115" y="5341"/>
                  </a:lnTo>
                  <a:lnTo>
                    <a:pt x="131" y="5359"/>
                  </a:lnTo>
                  <a:lnTo>
                    <a:pt x="147" y="5377"/>
                  </a:lnTo>
                  <a:lnTo>
                    <a:pt x="165" y="5393"/>
                  </a:lnTo>
                  <a:lnTo>
                    <a:pt x="183" y="5410"/>
                  </a:lnTo>
                  <a:lnTo>
                    <a:pt x="202" y="5425"/>
                  </a:lnTo>
                  <a:lnTo>
                    <a:pt x="221" y="5439"/>
                  </a:lnTo>
                  <a:lnTo>
                    <a:pt x="243" y="5452"/>
                  </a:lnTo>
                  <a:lnTo>
                    <a:pt x="264" y="5464"/>
                  </a:lnTo>
                  <a:lnTo>
                    <a:pt x="285" y="5475"/>
                  </a:lnTo>
                  <a:lnTo>
                    <a:pt x="307" y="5485"/>
                  </a:lnTo>
                  <a:lnTo>
                    <a:pt x="330" y="5494"/>
                  </a:lnTo>
                  <a:lnTo>
                    <a:pt x="353" y="5502"/>
                  </a:lnTo>
                  <a:lnTo>
                    <a:pt x="377" y="5508"/>
                  </a:lnTo>
                  <a:lnTo>
                    <a:pt x="401" y="5514"/>
                  </a:lnTo>
                  <a:lnTo>
                    <a:pt x="427" y="5518"/>
                  </a:lnTo>
                  <a:lnTo>
                    <a:pt x="452" y="5522"/>
                  </a:lnTo>
                  <a:lnTo>
                    <a:pt x="477" y="5523"/>
                  </a:lnTo>
                  <a:lnTo>
                    <a:pt x="503" y="5524"/>
                  </a:lnTo>
                  <a:lnTo>
                    <a:pt x="529" y="5523"/>
                  </a:lnTo>
                  <a:lnTo>
                    <a:pt x="554" y="5522"/>
                  </a:lnTo>
                  <a:lnTo>
                    <a:pt x="580" y="5518"/>
                  </a:lnTo>
                  <a:lnTo>
                    <a:pt x="605" y="5514"/>
                  </a:lnTo>
                  <a:lnTo>
                    <a:pt x="629" y="5508"/>
                  </a:lnTo>
                  <a:lnTo>
                    <a:pt x="653" y="5502"/>
                  </a:lnTo>
                  <a:lnTo>
                    <a:pt x="676" y="5494"/>
                  </a:lnTo>
                  <a:lnTo>
                    <a:pt x="699" y="5485"/>
                  </a:lnTo>
                  <a:lnTo>
                    <a:pt x="721" y="5475"/>
                  </a:lnTo>
                  <a:lnTo>
                    <a:pt x="742" y="5464"/>
                  </a:lnTo>
                  <a:lnTo>
                    <a:pt x="764" y="5452"/>
                  </a:lnTo>
                  <a:lnTo>
                    <a:pt x="785" y="5439"/>
                  </a:lnTo>
                  <a:lnTo>
                    <a:pt x="804" y="5425"/>
                  </a:lnTo>
                  <a:lnTo>
                    <a:pt x="823" y="5410"/>
                  </a:lnTo>
                  <a:lnTo>
                    <a:pt x="841" y="5393"/>
                  </a:lnTo>
                  <a:lnTo>
                    <a:pt x="859" y="5377"/>
                  </a:lnTo>
                  <a:lnTo>
                    <a:pt x="875" y="5359"/>
                  </a:lnTo>
                  <a:lnTo>
                    <a:pt x="891" y="5341"/>
                  </a:lnTo>
                  <a:lnTo>
                    <a:pt x="906" y="5322"/>
                  </a:lnTo>
                  <a:lnTo>
                    <a:pt x="921" y="5303"/>
                  </a:lnTo>
                  <a:lnTo>
                    <a:pt x="934" y="5282"/>
                  </a:lnTo>
                  <a:lnTo>
                    <a:pt x="946" y="5262"/>
                  </a:lnTo>
                  <a:lnTo>
                    <a:pt x="957" y="5240"/>
                  </a:lnTo>
                  <a:lnTo>
                    <a:pt x="967" y="5218"/>
                  </a:lnTo>
                  <a:lnTo>
                    <a:pt x="976" y="5195"/>
                  </a:lnTo>
                  <a:lnTo>
                    <a:pt x="983" y="5171"/>
                  </a:lnTo>
                  <a:lnTo>
                    <a:pt x="990" y="5147"/>
                  </a:lnTo>
                  <a:lnTo>
                    <a:pt x="996" y="5123"/>
                  </a:lnTo>
                  <a:lnTo>
                    <a:pt x="1000" y="5098"/>
                  </a:lnTo>
                  <a:lnTo>
                    <a:pt x="1003" y="5073"/>
                  </a:lnTo>
                  <a:lnTo>
                    <a:pt x="1005" y="5048"/>
                  </a:lnTo>
                  <a:lnTo>
                    <a:pt x="1006" y="5022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3" y="353"/>
                  </a:lnTo>
                  <a:lnTo>
                    <a:pt x="976" y="330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4"/>
                  </a:lnTo>
                  <a:lnTo>
                    <a:pt x="934" y="242"/>
                  </a:lnTo>
                  <a:lnTo>
                    <a:pt x="921" y="221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5" y="86"/>
                  </a:lnTo>
                  <a:lnTo>
                    <a:pt x="764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3" y="24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4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2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1" name="î$ḻíḋe">
              <a:extLst>
                <a:ext uri="{FF2B5EF4-FFF2-40B4-BE49-F238E27FC236}">
                  <a16:creationId xmlns:a16="http://schemas.microsoft.com/office/drawing/2014/main" id="{F11C49B2-009C-44F8-95EC-16474BEDA439}"/>
                </a:ext>
              </a:extLst>
            </p:cNvPr>
            <p:cNvSpPr/>
            <p:nvPr/>
          </p:nvSpPr>
          <p:spPr bwMode="auto">
            <a:xfrm>
              <a:off x="5040309" y="1941230"/>
              <a:ext cx="58069" cy="87104"/>
            </a:xfrm>
            <a:custGeom>
              <a:avLst/>
              <a:gdLst>
                <a:gd name="T0" fmla="*/ 903 w 2012"/>
                <a:gd name="T1" fmla="*/ 16 h 3013"/>
                <a:gd name="T2" fmla="*/ 755 w 2012"/>
                <a:gd name="T3" fmla="*/ 98 h 3013"/>
                <a:gd name="T4" fmla="*/ 615 w 2012"/>
                <a:gd name="T5" fmla="*/ 236 h 3013"/>
                <a:gd name="T6" fmla="*/ 485 w 2012"/>
                <a:gd name="T7" fmla="*/ 420 h 3013"/>
                <a:gd name="T8" fmla="*/ 366 w 2012"/>
                <a:gd name="T9" fmla="*/ 638 h 3013"/>
                <a:gd name="T10" fmla="*/ 262 w 2012"/>
                <a:gd name="T11" fmla="*/ 879 h 3013"/>
                <a:gd name="T12" fmla="*/ 172 w 2012"/>
                <a:gd name="T13" fmla="*/ 1130 h 3013"/>
                <a:gd name="T14" fmla="*/ 100 w 2012"/>
                <a:gd name="T15" fmla="*/ 1380 h 3013"/>
                <a:gd name="T16" fmla="*/ 45 w 2012"/>
                <a:gd name="T17" fmla="*/ 1617 h 3013"/>
                <a:gd name="T18" fmla="*/ 12 w 2012"/>
                <a:gd name="T19" fmla="*/ 1831 h 3013"/>
                <a:gd name="T20" fmla="*/ 0 w 2012"/>
                <a:gd name="T21" fmla="*/ 2009 h 3013"/>
                <a:gd name="T22" fmla="*/ 12 w 2012"/>
                <a:gd name="T23" fmla="*/ 2161 h 3013"/>
                <a:gd name="T24" fmla="*/ 45 w 2012"/>
                <a:gd name="T25" fmla="*/ 2307 h 3013"/>
                <a:gd name="T26" fmla="*/ 100 w 2012"/>
                <a:gd name="T27" fmla="*/ 2444 h 3013"/>
                <a:gd name="T28" fmla="*/ 172 w 2012"/>
                <a:gd name="T29" fmla="*/ 2570 h 3013"/>
                <a:gd name="T30" fmla="*/ 262 w 2012"/>
                <a:gd name="T31" fmla="*/ 2684 h 3013"/>
                <a:gd name="T32" fmla="*/ 366 w 2012"/>
                <a:gd name="T33" fmla="*/ 2784 h 3013"/>
                <a:gd name="T34" fmla="*/ 485 w 2012"/>
                <a:gd name="T35" fmla="*/ 2867 h 3013"/>
                <a:gd name="T36" fmla="*/ 615 w 2012"/>
                <a:gd name="T37" fmla="*/ 2934 h 3013"/>
                <a:gd name="T38" fmla="*/ 755 w 2012"/>
                <a:gd name="T39" fmla="*/ 2981 h 3013"/>
                <a:gd name="T40" fmla="*/ 903 w 2012"/>
                <a:gd name="T41" fmla="*/ 3008 h 3013"/>
                <a:gd name="T42" fmla="*/ 1057 w 2012"/>
                <a:gd name="T43" fmla="*/ 3012 h 3013"/>
                <a:gd name="T44" fmla="*/ 1208 w 2012"/>
                <a:gd name="T45" fmla="*/ 2993 h 3013"/>
                <a:gd name="T46" fmla="*/ 1352 w 2012"/>
                <a:gd name="T47" fmla="*/ 2952 h 3013"/>
                <a:gd name="T48" fmla="*/ 1486 w 2012"/>
                <a:gd name="T49" fmla="*/ 2891 h 3013"/>
                <a:gd name="T50" fmla="*/ 1608 w 2012"/>
                <a:gd name="T51" fmla="*/ 2813 h 3013"/>
                <a:gd name="T52" fmla="*/ 1717 w 2012"/>
                <a:gd name="T53" fmla="*/ 2719 h 3013"/>
                <a:gd name="T54" fmla="*/ 1812 w 2012"/>
                <a:gd name="T55" fmla="*/ 2609 h 3013"/>
                <a:gd name="T56" fmla="*/ 1890 w 2012"/>
                <a:gd name="T57" fmla="*/ 2488 h 3013"/>
                <a:gd name="T58" fmla="*/ 1951 w 2012"/>
                <a:gd name="T59" fmla="*/ 2354 h 3013"/>
                <a:gd name="T60" fmla="*/ 1992 w 2012"/>
                <a:gd name="T61" fmla="*/ 2211 h 3013"/>
                <a:gd name="T62" fmla="*/ 2011 w 2012"/>
                <a:gd name="T63" fmla="*/ 2060 h 3013"/>
                <a:gd name="T64" fmla="*/ 2007 w 2012"/>
                <a:gd name="T65" fmla="*/ 1895 h 3013"/>
                <a:gd name="T66" fmla="*/ 1980 w 2012"/>
                <a:gd name="T67" fmla="*/ 1692 h 3013"/>
                <a:gd name="T68" fmla="*/ 1933 w 2012"/>
                <a:gd name="T69" fmla="*/ 1461 h 3013"/>
                <a:gd name="T70" fmla="*/ 1866 w 2012"/>
                <a:gd name="T71" fmla="*/ 1213 h 3013"/>
                <a:gd name="T72" fmla="*/ 1783 w 2012"/>
                <a:gd name="T73" fmla="*/ 961 h 3013"/>
                <a:gd name="T74" fmla="*/ 1682 w 2012"/>
                <a:gd name="T75" fmla="*/ 716 h 3013"/>
                <a:gd name="T76" fmla="*/ 1568 w 2012"/>
                <a:gd name="T77" fmla="*/ 489 h 3013"/>
                <a:gd name="T78" fmla="*/ 1442 w 2012"/>
                <a:gd name="T79" fmla="*/ 292 h 3013"/>
                <a:gd name="T80" fmla="*/ 1305 w 2012"/>
                <a:gd name="T81" fmla="*/ 138 h 3013"/>
                <a:gd name="T82" fmla="*/ 1159 w 2012"/>
                <a:gd name="T83" fmla="*/ 36 h 3013"/>
                <a:gd name="T84" fmla="*/ 1006 w 2012"/>
                <a:gd name="T85" fmla="*/ 0 h 3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2" h="3013">
                  <a:moveTo>
                    <a:pt x="1006" y="0"/>
                  </a:moveTo>
                  <a:lnTo>
                    <a:pt x="955" y="4"/>
                  </a:lnTo>
                  <a:lnTo>
                    <a:pt x="903" y="16"/>
                  </a:lnTo>
                  <a:lnTo>
                    <a:pt x="853" y="36"/>
                  </a:lnTo>
                  <a:lnTo>
                    <a:pt x="804" y="63"/>
                  </a:lnTo>
                  <a:lnTo>
                    <a:pt x="755" y="98"/>
                  </a:lnTo>
                  <a:lnTo>
                    <a:pt x="707" y="138"/>
                  </a:lnTo>
                  <a:lnTo>
                    <a:pt x="660" y="184"/>
                  </a:lnTo>
                  <a:lnTo>
                    <a:pt x="615" y="236"/>
                  </a:lnTo>
                  <a:lnTo>
                    <a:pt x="570" y="292"/>
                  </a:lnTo>
                  <a:lnTo>
                    <a:pt x="527" y="355"/>
                  </a:lnTo>
                  <a:lnTo>
                    <a:pt x="485" y="420"/>
                  </a:lnTo>
                  <a:lnTo>
                    <a:pt x="444" y="489"/>
                  </a:lnTo>
                  <a:lnTo>
                    <a:pt x="405" y="563"/>
                  </a:lnTo>
                  <a:lnTo>
                    <a:pt x="366" y="638"/>
                  </a:lnTo>
                  <a:lnTo>
                    <a:pt x="330" y="716"/>
                  </a:lnTo>
                  <a:lnTo>
                    <a:pt x="295" y="797"/>
                  </a:lnTo>
                  <a:lnTo>
                    <a:pt x="262" y="879"/>
                  </a:lnTo>
                  <a:lnTo>
                    <a:pt x="230" y="961"/>
                  </a:lnTo>
                  <a:lnTo>
                    <a:pt x="200" y="1046"/>
                  </a:lnTo>
                  <a:lnTo>
                    <a:pt x="172" y="1130"/>
                  </a:lnTo>
                  <a:lnTo>
                    <a:pt x="146" y="1213"/>
                  </a:lnTo>
                  <a:lnTo>
                    <a:pt x="122" y="1298"/>
                  </a:lnTo>
                  <a:lnTo>
                    <a:pt x="100" y="1380"/>
                  </a:lnTo>
                  <a:lnTo>
                    <a:pt x="80" y="1461"/>
                  </a:lnTo>
                  <a:lnTo>
                    <a:pt x="61" y="1541"/>
                  </a:lnTo>
                  <a:lnTo>
                    <a:pt x="45" y="1617"/>
                  </a:lnTo>
                  <a:lnTo>
                    <a:pt x="32" y="1692"/>
                  </a:lnTo>
                  <a:lnTo>
                    <a:pt x="20" y="1764"/>
                  </a:lnTo>
                  <a:lnTo>
                    <a:pt x="12" y="1831"/>
                  </a:lnTo>
                  <a:lnTo>
                    <a:pt x="5" y="1895"/>
                  </a:lnTo>
                  <a:lnTo>
                    <a:pt x="1" y="1954"/>
                  </a:lnTo>
                  <a:lnTo>
                    <a:pt x="0" y="2009"/>
                  </a:lnTo>
                  <a:lnTo>
                    <a:pt x="1" y="2060"/>
                  </a:lnTo>
                  <a:lnTo>
                    <a:pt x="5" y="2111"/>
                  </a:lnTo>
                  <a:lnTo>
                    <a:pt x="12" y="2161"/>
                  </a:lnTo>
                  <a:lnTo>
                    <a:pt x="20" y="2211"/>
                  </a:lnTo>
                  <a:lnTo>
                    <a:pt x="32" y="2260"/>
                  </a:lnTo>
                  <a:lnTo>
                    <a:pt x="45" y="2307"/>
                  </a:lnTo>
                  <a:lnTo>
                    <a:pt x="61" y="2354"/>
                  </a:lnTo>
                  <a:lnTo>
                    <a:pt x="80" y="2399"/>
                  </a:lnTo>
                  <a:lnTo>
                    <a:pt x="100" y="2444"/>
                  </a:lnTo>
                  <a:lnTo>
                    <a:pt x="122" y="2488"/>
                  </a:lnTo>
                  <a:lnTo>
                    <a:pt x="146" y="2529"/>
                  </a:lnTo>
                  <a:lnTo>
                    <a:pt x="172" y="2570"/>
                  </a:lnTo>
                  <a:lnTo>
                    <a:pt x="200" y="2609"/>
                  </a:lnTo>
                  <a:lnTo>
                    <a:pt x="230" y="2647"/>
                  </a:lnTo>
                  <a:lnTo>
                    <a:pt x="262" y="2684"/>
                  </a:lnTo>
                  <a:lnTo>
                    <a:pt x="295" y="2719"/>
                  </a:lnTo>
                  <a:lnTo>
                    <a:pt x="330" y="2752"/>
                  </a:lnTo>
                  <a:lnTo>
                    <a:pt x="366" y="2784"/>
                  </a:lnTo>
                  <a:lnTo>
                    <a:pt x="405" y="2813"/>
                  </a:lnTo>
                  <a:lnTo>
                    <a:pt x="444" y="2841"/>
                  </a:lnTo>
                  <a:lnTo>
                    <a:pt x="485" y="2867"/>
                  </a:lnTo>
                  <a:lnTo>
                    <a:pt x="527" y="2891"/>
                  </a:lnTo>
                  <a:lnTo>
                    <a:pt x="570" y="2914"/>
                  </a:lnTo>
                  <a:lnTo>
                    <a:pt x="615" y="2934"/>
                  </a:lnTo>
                  <a:lnTo>
                    <a:pt x="660" y="2952"/>
                  </a:lnTo>
                  <a:lnTo>
                    <a:pt x="707" y="2968"/>
                  </a:lnTo>
                  <a:lnTo>
                    <a:pt x="755" y="2981"/>
                  </a:lnTo>
                  <a:lnTo>
                    <a:pt x="804" y="2993"/>
                  </a:lnTo>
                  <a:lnTo>
                    <a:pt x="853" y="3001"/>
                  </a:lnTo>
                  <a:lnTo>
                    <a:pt x="903" y="3008"/>
                  </a:lnTo>
                  <a:lnTo>
                    <a:pt x="955" y="3012"/>
                  </a:lnTo>
                  <a:lnTo>
                    <a:pt x="1006" y="3013"/>
                  </a:lnTo>
                  <a:lnTo>
                    <a:pt x="1057" y="3012"/>
                  </a:lnTo>
                  <a:lnTo>
                    <a:pt x="1109" y="3008"/>
                  </a:lnTo>
                  <a:lnTo>
                    <a:pt x="1159" y="3001"/>
                  </a:lnTo>
                  <a:lnTo>
                    <a:pt x="1208" y="2993"/>
                  </a:lnTo>
                  <a:lnTo>
                    <a:pt x="1258" y="2981"/>
                  </a:lnTo>
                  <a:lnTo>
                    <a:pt x="1305" y="2968"/>
                  </a:lnTo>
                  <a:lnTo>
                    <a:pt x="1352" y="2952"/>
                  </a:lnTo>
                  <a:lnTo>
                    <a:pt x="1397" y="2934"/>
                  </a:lnTo>
                  <a:lnTo>
                    <a:pt x="1442" y="2914"/>
                  </a:lnTo>
                  <a:lnTo>
                    <a:pt x="1486" y="2891"/>
                  </a:lnTo>
                  <a:lnTo>
                    <a:pt x="1527" y="2867"/>
                  </a:lnTo>
                  <a:lnTo>
                    <a:pt x="1568" y="2841"/>
                  </a:lnTo>
                  <a:lnTo>
                    <a:pt x="1608" y="2813"/>
                  </a:lnTo>
                  <a:lnTo>
                    <a:pt x="1646" y="2784"/>
                  </a:lnTo>
                  <a:lnTo>
                    <a:pt x="1682" y="2752"/>
                  </a:lnTo>
                  <a:lnTo>
                    <a:pt x="1717" y="2719"/>
                  </a:lnTo>
                  <a:lnTo>
                    <a:pt x="1750" y="2684"/>
                  </a:lnTo>
                  <a:lnTo>
                    <a:pt x="1783" y="2647"/>
                  </a:lnTo>
                  <a:lnTo>
                    <a:pt x="1812" y="2609"/>
                  </a:lnTo>
                  <a:lnTo>
                    <a:pt x="1840" y="2570"/>
                  </a:lnTo>
                  <a:lnTo>
                    <a:pt x="1866" y="2529"/>
                  </a:lnTo>
                  <a:lnTo>
                    <a:pt x="1890" y="2488"/>
                  </a:lnTo>
                  <a:lnTo>
                    <a:pt x="1912" y="2444"/>
                  </a:lnTo>
                  <a:lnTo>
                    <a:pt x="1933" y="2399"/>
                  </a:lnTo>
                  <a:lnTo>
                    <a:pt x="1951" y="2354"/>
                  </a:lnTo>
                  <a:lnTo>
                    <a:pt x="1967" y="2307"/>
                  </a:lnTo>
                  <a:lnTo>
                    <a:pt x="1980" y="2260"/>
                  </a:lnTo>
                  <a:lnTo>
                    <a:pt x="1992" y="2211"/>
                  </a:lnTo>
                  <a:lnTo>
                    <a:pt x="2000" y="2161"/>
                  </a:lnTo>
                  <a:lnTo>
                    <a:pt x="2007" y="2111"/>
                  </a:lnTo>
                  <a:lnTo>
                    <a:pt x="2011" y="2060"/>
                  </a:lnTo>
                  <a:lnTo>
                    <a:pt x="2012" y="2009"/>
                  </a:lnTo>
                  <a:lnTo>
                    <a:pt x="2011" y="1954"/>
                  </a:lnTo>
                  <a:lnTo>
                    <a:pt x="2007" y="1895"/>
                  </a:lnTo>
                  <a:lnTo>
                    <a:pt x="2000" y="1831"/>
                  </a:lnTo>
                  <a:lnTo>
                    <a:pt x="1992" y="1764"/>
                  </a:lnTo>
                  <a:lnTo>
                    <a:pt x="1980" y="1692"/>
                  </a:lnTo>
                  <a:lnTo>
                    <a:pt x="1967" y="1617"/>
                  </a:lnTo>
                  <a:lnTo>
                    <a:pt x="1951" y="1541"/>
                  </a:lnTo>
                  <a:lnTo>
                    <a:pt x="1933" y="1461"/>
                  </a:lnTo>
                  <a:lnTo>
                    <a:pt x="1912" y="1380"/>
                  </a:lnTo>
                  <a:lnTo>
                    <a:pt x="1890" y="1298"/>
                  </a:lnTo>
                  <a:lnTo>
                    <a:pt x="1866" y="1213"/>
                  </a:lnTo>
                  <a:lnTo>
                    <a:pt x="1840" y="1130"/>
                  </a:lnTo>
                  <a:lnTo>
                    <a:pt x="1812" y="1046"/>
                  </a:lnTo>
                  <a:lnTo>
                    <a:pt x="1783" y="961"/>
                  </a:lnTo>
                  <a:lnTo>
                    <a:pt x="1750" y="879"/>
                  </a:lnTo>
                  <a:lnTo>
                    <a:pt x="1717" y="797"/>
                  </a:lnTo>
                  <a:lnTo>
                    <a:pt x="1682" y="716"/>
                  </a:lnTo>
                  <a:lnTo>
                    <a:pt x="1646" y="638"/>
                  </a:lnTo>
                  <a:lnTo>
                    <a:pt x="1608" y="563"/>
                  </a:lnTo>
                  <a:lnTo>
                    <a:pt x="1568" y="489"/>
                  </a:lnTo>
                  <a:lnTo>
                    <a:pt x="1527" y="420"/>
                  </a:lnTo>
                  <a:lnTo>
                    <a:pt x="1486" y="355"/>
                  </a:lnTo>
                  <a:lnTo>
                    <a:pt x="1442" y="292"/>
                  </a:lnTo>
                  <a:lnTo>
                    <a:pt x="1397" y="236"/>
                  </a:lnTo>
                  <a:lnTo>
                    <a:pt x="1352" y="184"/>
                  </a:lnTo>
                  <a:lnTo>
                    <a:pt x="1305" y="138"/>
                  </a:lnTo>
                  <a:lnTo>
                    <a:pt x="1258" y="98"/>
                  </a:lnTo>
                  <a:lnTo>
                    <a:pt x="1208" y="63"/>
                  </a:lnTo>
                  <a:lnTo>
                    <a:pt x="1159" y="36"/>
                  </a:lnTo>
                  <a:lnTo>
                    <a:pt x="1109" y="16"/>
                  </a:lnTo>
                  <a:lnTo>
                    <a:pt x="1057" y="4"/>
                  </a:lnTo>
                  <a:lnTo>
                    <a:pt x="10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2" name="ísḷíḋé">
              <a:extLst>
                <a:ext uri="{FF2B5EF4-FFF2-40B4-BE49-F238E27FC236}">
                  <a16:creationId xmlns:a16="http://schemas.microsoft.com/office/drawing/2014/main" id="{F6B346F2-84E0-477D-80D6-1FCB1D6142F0}"/>
                </a:ext>
              </a:extLst>
            </p:cNvPr>
            <p:cNvSpPr/>
            <p:nvPr/>
          </p:nvSpPr>
          <p:spPr bwMode="auto">
            <a:xfrm>
              <a:off x="4821555" y="2306672"/>
              <a:ext cx="65098" cy="66304"/>
            </a:xfrm>
            <a:custGeom>
              <a:avLst/>
              <a:gdLst>
                <a:gd name="T0" fmla="*/ 903 w 2011"/>
                <a:gd name="T1" fmla="*/ 5 h 2014"/>
                <a:gd name="T2" fmla="*/ 754 w 2011"/>
                <a:gd name="T3" fmla="*/ 31 h 2014"/>
                <a:gd name="T4" fmla="*/ 614 w 2011"/>
                <a:gd name="T5" fmla="*/ 79 h 2014"/>
                <a:gd name="T6" fmla="*/ 483 w 2011"/>
                <a:gd name="T7" fmla="*/ 146 h 2014"/>
                <a:gd name="T8" fmla="*/ 366 w 2011"/>
                <a:gd name="T9" fmla="*/ 229 h 2014"/>
                <a:gd name="T10" fmla="*/ 261 w 2011"/>
                <a:gd name="T11" fmla="*/ 330 h 2014"/>
                <a:gd name="T12" fmla="*/ 172 w 2011"/>
                <a:gd name="T13" fmla="*/ 444 h 2014"/>
                <a:gd name="T14" fmla="*/ 99 w 2011"/>
                <a:gd name="T15" fmla="*/ 571 h 2014"/>
                <a:gd name="T16" fmla="*/ 45 w 2011"/>
                <a:gd name="T17" fmla="*/ 708 h 2014"/>
                <a:gd name="T18" fmla="*/ 11 w 2011"/>
                <a:gd name="T19" fmla="*/ 854 h 2014"/>
                <a:gd name="T20" fmla="*/ 0 w 2011"/>
                <a:gd name="T21" fmla="*/ 1007 h 2014"/>
                <a:gd name="T22" fmla="*/ 11 w 2011"/>
                <a:gd name="T23" fmla="*/ 1160 h 2014"/>
                <a:gd name="T24" fmla="*/ 45 w 2011"/>
                <a:gd name="T25" fmla="*/ 1306 h 2014"/>
                <a:gd name="T26" fmla="*/ 99 w 2011"/>
                <a:gd name="T27" fmla="*/ 1443 h 2014"/>
                <a:gd name="T28" fmla="*/ 172 w 2011"/>
                <a:gd name="T29" fmla="*/ 1570 h 2014"/>
                <a:gd name="T30" fmla="*/ 261 w 2011"/>
                <a:gd name="T31" fmla="*/ 1684 h 2014"/>
                <a:gd name="T32" fmla="*/ 366 w 2011"/>
                <a:gd name="T33" fmla="*/ 1785 h 2014"/>
                <a:gd name="T34" fmla="*/ 483 w 2011"/>
                <a:gd name="T35" fmla="*/ 1868 h 2014"/>
                <a:gd name="T36" fmla="*/ 614 w 2011"/>
                <a:gd name="T37" fmla="*/ 1935 h 2014"/>
                <a:gd name="T38" fmla="*/ 754 w 2011"/>
                <a:gd name="T39" fmla="*/ 1982 h 2014"/>
                <a:gd name="T40" fmla="*/ 903 w 2011"/>
                <a:gd name="T41" fmla="*/ 2009 h 2014"/>
                <a:gd name="T42" fmla="*/ 1057 w 2011"/>
                <a:gd name="T43" fmla="*/ 2013 h 2014"/>
                <a:gd name="T44" fmla="*/ 1208 w 2011"/>
                <a:gd name="T45" fmla="*/ 1994 h 2014"/>
                <a:gd name="T46" fmla="*/ 1351 w 2011"/>
                <a:gd name="T47" fmla="*/ 1953 h 2014"/>
                <a:gd name="T48" fmla="*/ 1484 w 2011"/>
                <a:gd name="T49" fmla="*/ 1892 h 2014"/>
                <a:gd name="T50" fmla="*/ 1607 w 2011"/>
                <a:gd name="T51" fmla="*/ 1814 h 2014"/>
                <a:gd name="T52" fmla="*/ 1717 w 2011"/>
                <a:gd name="T53" fmla="*/ 1719 h 2014"/>
                <a:gd name="T54" fmla="*/ 1811 w 2011"/>
                <a:gd name="T55" fmla="*/ 1609 h 2014"/>
                <a:gd name="T56" fmla="*/ 1890 w 2011"/>
                <a:gd name="T57" fmla="*/ 1487 h 2014"/>
                <a:gd name="T58" fmla="*/ 1950 w 2011"/>
                <a:gd name="T59" fmla="*/ 1353 h 2014"/>
                <a:gd name="T60" fmla="*/ 1991 w 2011"/>
                <a:gd name="T61" fmla="*/ 1209 h 2014"/>
                <a:gd name="T62" fmla="*/ 2010 w 2011"/>
                <a:gd name="T63" fmla="*/ 1058 h 2014"/>
                <a:gd name="T64" fmla="*/ 2006 w 2011"/>
                <a:gd name="T65" fmla="*/ 904 h 2014"/>
                <a:gd name="T66" fmla="*/ 1979 w 2011"/>
                <a:gd name="T67" fmla="*/ 755 h 2014"/>
                <a:gd name="T68" fmla="*/ 1932 w 2011"/>
                <a:gd name="T69" fmla="*/ 615 h 2014"/>
                <a:gd name="T70" fmla="*/ 1866 w 2011"/>
                <a:gd name="T71" fmla="*/ 485 h 2014"/>
                <a:gd name="T72" fmla="*/ 1781 w 2011"/>
                <a:gd name="T73" fmla="*/ 366 h 2014"/>
                <a:gd name="T74" fmla="*/ 1681 w 2011"/>
                <a:gd name="T75" fmla="*/ 261 h 2014"/>
                <a:gd name="T76" fmla="*/ 1568 w 2011"/>
                <a:gd name="T77" fmla="*/ 172 h 2014"/>
                <a:gd name="T78" fmla="*/ 1441 w 2011"/>
                <a:gd name="T79" fmla="*/ 99 h 2014"/>
                <a:gd name="T80" fmla="*/ 1304 w 2011"/>
                <a:gd name="T81" fmla="*/ 45 h 2014"/>
                <a:gd name="T82" fmla="*/ 1158 w 2011"/>
                <a:gd name="T83" fmla="*/ 11 h 2014"/>
                <a:gd name="T84" fmla="*/ 1005 w 2011"/>
                <a:gd name="T85" fmla="*/ 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2014">
                  <a:moveTo>
                    <a:pt x="1005" y="0"/>
                  </a:moveTo>
                  <a:lnTo>
                    <a:pt x="953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2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59" y="61"/>
                  </a:lnTo>
                  <a:lnTo>
                    <a:pt x="614" y="79"/>
                  </a:lnTo>
                  <a:lnTo>
                    <a:pt x="570" y="99"/>
                  </a:lnTo>
                  <a:lnTo>
                    <a:pt x="526" y="121"/>
                  </a:lnTo>
                  <a:lnTo>
                    <a:pt x="483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29" y="261"/>
                  </a:lnTo>
                  <a:lnTo>
                    <a:pt x="294" y="295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4"/>
                  </a:lnTo>
                  <a:lnTo>
                    <a:pt x="145" y="485"/>
                  </a:lnTo>
                  <a:lnTo>
                    <a:pt x="121" y="526"/>
                  </a:lnTo>
                  <a:lnTo>
                    <a:pt x="99" y="571"/>
                  </a:lnTo>
                  <a:lnTo>
                    <a:pt x="79" y="615"/>
                  </a:lnTo>
                  <a:lnTo>
                    <a:pt x="61" y="660"/>
                  </a:lnTo>
                  <a:lnTo>
                    <a:pt x="45" y="708"/>
                  </a:lnTo>
                  <a:lnTo>
                    <a:pt x="31" y="755"/>
                  </a:lnTo>
                  <a:lnTo>
                    <a:pt x="20" y="804"/>
                  </a:lnTo>
                  <a:lnTo>
                    <a:pt x="11" y="854"/>
                  </a:lnTo>
                  <a:lnTo>
                    <a:pt x="5" y="904"/>
                  </a:lnTo>
                  <a:lnTo>
                    <a:pt x="1" y="955"/>
                  </a:lnTo>
                  <a:lnTo>
                    <a:pt x="0" y="1007"/>
                  </a:lnTo>
                  <a:lnTo>
                    <a:pt x="1" y="1058"/>
                  </a:lnTo>
                  <a:lnTo>
                    <a:pt x="5" y="1110"/>
                  </a:lnTo>
                  <a:lnTo>
                    <a:pt x="11" y="1160"/>
                  </a:lnTo>
                  <a:lnTo>
                    <a:pt x="20" y="1209"/>
                  </a:lnTo>
                  <a:lnTo>
                    <a:pt x="31" y="1259"/>
                  </a:lnTo>
                  <a:lnTo>
                    <a:pt x="45" y="1306"/>
                  </a:lnTo>
                  <a:lnTo>
                    <a:pt x="61" y="1353"/>
                  </a:lnTo>
                  <a:lnTo>
                    <a:pt x="79" y="1399"/>
                  </a:lnTo>
                  <a:lnTo>
                    <a:pt x="99" y="1443"/>
                  </a:lnTo>
                  <a:lnTo>
                    <a:pt x="121" y="1487"/>
                  </a:lnTo>
                  <a:lnTo>
                    <a:pt x="145" y="1529"/>
                  </a:lnTo>
                  <a:lnTo>
                    <a:pt x="172" y="1570"/>
                  </a:lnTo>
                  <a:lnTo>
                    <a:pt x="200" y="1609"/>
                  </a:lnTo>
                  <a:lnTo>
                    <a:pt x="229" y="1648"/>
                  </a:lnTo>
                  <a:lnTo>
                    <a:pt x="261" y="1684"/>
                  </a:lnTo>
                  <a:lnTo>
                    <a:pt x="294" y="1719"/>
                  </a:lnTo>
                  <a:lnTo>
                    <a:pt x="329" y="1752"/>
                  </a:lnTo>
                  <a:lnTo>
                    <a:pt x="366" y="1785"/>
                  </a:lnTo>
                  <a:lnTo>
                    <a:pt x="404" y="1814"/>
                  </a:lnTo>
                  <a:lnTo>
                    <a:pt x="443" y="1842"/>
                  </a:lnTo>
                  <a:lnTo>
                    <a:pt x="483" y="1868"/>
                  </a:lnTo>
                  <a:lnTo>
                    <a:pt x="526" y="1892"/>
                  </a:lnTo>
                  <a:lnTo>
                    <a:pt x="570" y="1914"/>
                  </a:lnTo>
                  <a:lnTo>
                    <a:pt x="614" y="1935"/>
                  </a:lnTo>
                  <a:lnTo>
                    <a:pt x="659" y="1953"/>
                  </a:lnTo>
                  <a:lnTo>
                    <a:pt x="707" y="1969"/>
                  </a:lnTo>
                  <a:lnTo>
                    <a:pt x="754" y="1982"/>
                  </a:lnTo>
                  <a:lnTo>
                    <a:pt x="802" y="1994"/>
                  </a:lnTo>
                  <a:lnTo>
                    <a:pt x="853" y="2003"/>
                  </a:lnTo>
                  <a:lnTo>
                    <a:pt x="903" y="2009"/>
                  </a:lnTo>
                  <a:lnTo>
                    <a:pt x="953" y="2013"/>
                  </a:lnTo>
                  <a:lnTo>
                    <a:pt x="1005" y="2014"/>
                  </a:lnTo>
                  <a:lnTo>
                    <a:pt x="1057" y="2013"/>
                  </a:lnTo>
                  <a:lnTo>
                    <a:pt x="1108" y="2009"/>
                  </a:lnTo>
                  <a:lnTo>
                    <a:pt x="1158" y="2003"/>
                  </a:lnTo>
                  <a:lnTo>
                    <a:pt x="1208" y="1994"/>
                  </a:lnTo>
                  <a:lnTo>
                    <a:pt x="1257" y="1982"/>
                  </a:lnTo>
                  <a:lnTo>
                    <a:pt x="1304" y="1969"/>
                  </a:lnTo>
                  <a:lnTo>
                    <a:pt x="1351" y="1953"/>
                  </a:lnTo>
                  <a:lnTo>
                    <a:pt x="1397" y="1935"/>
                  </a:lnTo>
                  <a:lnTo>
                    <a:pt x="1441" y="1914"/>
                  </a:lnTo>
                  <a:lnTo>
                    <a:pt x="1484" y="1892"/>
                  </a:lnTo>
                  <a:lnTo>
                    <a:pt x="1527" y="1868"/>
                  </a:lnTo>
                  <a:lnTo>
                    <a:pt x="1568" y="1842"/>
                  </a:lnTo>
                  <a:lnTo>
                    <a:pt x="1607" y="1814"/>
                  </a:lnTo>
                  <a:lnTo>
                    <a:pt x="1645" y="1785"/>
                  </a:lnTo>
                  <a:lnTo>
                    <a:pt x="1681" y="1752"/>
                  </a:lnTo>
                  <a:lnTo>
                    <a:pt x="1717" y="1719"/>
                  </a:lnTo>
                  <a:lnTo>
                    <a:pt x="1750" y="1684"/>
                  </a:lnTo>
                  <a:lnTo>
                    <a:pt x="1781" y="1648"/>
                  </a:lnTo>
                  <a:lnTo>
                    <a:pt x="1811" y="1609"/>
                  </a:lnTo>
                  <a:lnTo>
                    <a:pt x="1839" y="1570"/>
                  </a:lnTo>
                  <a:lnTo>
                    <a:pt x="1866" y="1529"/>
                  </a:lnTo>
                  <a:lnTo>
                    <a:pt x="1890" y="1487"/>
                  </a:lnTo>
                  <a:lnTo>
                    <a:pt x="1912" y="1443"/>
                  </a:lnTo>
                  <a:lnTo>
                    <a:pt x="1932" y="1399"/>
                  </a:lnTo>
                  <a:lnTo>
                    <a:pt x="1950" y="1353"/>
                  </a:lnTo>
                  <a:lnTo>
                    <a:pt x="1966" y="1306"/>
                  </a:lnTo>
                  <a:lnTo>
                    <a:pt x="1979" y="1259"/>
                  </a:lnTo>
                  <a:lnTo>
                    <a:pt x="1991" y="1209"/>
                  </a:lnTo>
                  <a:lnTo>
                    <a:pt x="1999" y="1160"/>
                  </a:lnTo>
                  <a:lnTo>
                    <a:pt x="2006" y="1110"/>
                  </a:lnTo>
                  <a:lnTo>
                    <a:pt x="2010" y="1058"/>
                  </a:lnTo>
                  <a:lnTo>
                    <a:pt x="2011" y="1007"/>
                  </a:lnTo>
                  <a:lnTo>
                    <a:pt x="2010" y="955"/>
                  </a:lnTo>
                  <a:lnTo>
                    <a:pt x="2006" y="904"/>
                  </a:lnTo>
                  <a:lnTo>
                    <a:pt x="1999" y="854"/>
                  </a:lnTo>
                  <a:lnTo>
                    <a:pt x="1991" y="804"/>
                  </a:lnTo>
                  <a:lnTo>
                    <a:pt x="1979" y="755"/>
                  </a:lnTo>
                  <a:lnTo>
                    <a:pt x="1966" y="708"/>
                  </a:lnTo>
                  <a:lnTo>
                    <a:pt x="1950" y="660"/>
                  </a:lnTo>
                  <a:lnTo>
                    <a:pt x="1932" y="615"/>
                  </a:lnTo>
                  <a:lnTo>
                    <a:pt x="1912" y="571"/>
                  </a:lnTo>
                  <a:lnTo>
                    <a:pt x="1890" y="526"/>
                  </a:lnTo>
                  <a:lnTo>
                    <a:pt x="1866" y="485"/>
                  </a:lnTo>
                  <a:lnTo>
                    <a:pt x="1839" y="444"/>
                  </a:lnTo>
                  <a:lnTo>
                    <a:pt x="1811" y="404"/>
                  </a:lnTo>
                  <a:lnTo>
                    <a:pt x="1781" y="366"/>
                  </a:lnTo>
                  <a:lnTo>
                    <a:pt x="1750" y="330"/>
                  </a:lnTo>
                  <a:lnTo>
                    <a:pt x="1717" y="295"/>
                  </a:lnTo>
                  <a:lnTo>
                    <a:pt x="1681" y="261"/>
                  </a:lnTo>
                  <a:lnTo>
                    <a:pt x="1645" y="229"/>
                  </a:lnTo>
                  <a:lnTo>
                    <a:pt x="1607" y="200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4" y="121"/>
                  </a:lnTo>
                  <a:lnTo>
                    <a:pt x="1441" y="99"/>
                  </a:lnTo>
                  <a:lnTo>
                    <a:pt x="1397" y="79"/>
                  </a:lnTo>
                  <a:lnTo>
                    <a:pt x="1351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3" name="íṧļíḋê">
              <a:extLst>
                <a:ext uri="{FF2B5EF4-FFF2-40B4-BE49-F238E27FC236}">
                  <a16:creationId xmlns:a16="http://schemas.microsoft.com/office/drawing/2014/main" id="{77B6B23B-33E4-4EBB-93CC-56951E8DBF72}"/>
                </a:ext>
              </a:extLst>
            </p:cNvPr>
            <p:cNvSpPr/>
            <p:nvPr/>
          </p:nvSpPr>
          <p:spPr bwMode="auto">
            <a:xfrm>
              <a:off x="4558752" y="2028195"/>
              <a:ext cx="524401" cy="508733"/>
            </a:xfrm>
            <a:custGeom>
              <a:avLst/>
              <a:gdLst>
                <a:gd name="T0" fmla="*/ 8272 w 16095"/>
                <a:gd name="T1" fmla="*/ 10861 h 15614"/>
                <a:gd name="T2" fmla="*/ 7663 w 16095"/>
                <a:gd name="T3" fmla="*/ 10157 h 15614"/>
                <a:gd name="T4" fmla="*/ 7592 w 16095"/>
                <a:gd name="T5" fmla="*/ 9193 h 15614"/>
                <a:gd name="T6" fmla="*/ 8095 w 16095"/>
                <a:gd name="T7" fmla="*/ 8404 h 15614"/>
                <a:gd name="T8" fmla="*/ 8976 w 16095"/>
                <a:gd name="T9" fmla="*/ 8061 h 15614"/>
                <a:gd name="T10" fmla="*/ 13895 w 16095"/>
                <a:gd name="T11" fmla="*/ 8004 h 15614"/>
                <a:gd name="T12" fmla="*/ 14225 w 16095"/>
                <a:gd name="T13" fmla="*/ 7822 h 15614"/>
                <a:gd name="T14" fmla="*/ 14471 w 16095"/>
                <a:gd name="T15" fmla="*/ 7513 h 15614"/>
                <a:gd name="T16" fmla="*/ 14715 w 16095"/>
                <a:gd name="T17" fmla="*/ 7669 h 15614"/>
                <a:gd name="T18" fmla="*/ 14993 w 16095"/>
                <a:gd name="T19" fmla="*/ 8335 h 15614"/>
                <a:gd name="T20" fmla="*/ 15089 w 16095"/>
                <a:gd name="T21" fmla="*/ 9066 h 15614"/>
                <a:gd name="T22" fmla="*/ 14939 w 16095"/>
                <a:gd name="T23" fmla="*/ 9973 h 15614"/>
                <a:gd name="T24" fmla="*/ 14509 w 16095"/>
                <a:gd name="T25" fmla="*/ 10768 h 15614"/>
                <a:gd name="T26" fmla="*/ 13502 w 16095"/>
                <a:gd name="T27" fmla="*/ 13368 h 15614"/>
                <a:gd name="T28" fmla="*/ 12873 w 16095"/>
                <a:gd name="T29" fmla="*/ 14256 h 15614"/>
                <a:gd name="T30" fmla="*/ 11820 w 16095"/>
                <a:gd name="T31" fmla="*/ 14607 h 15614"/>
                <a:gd name="T32" fmla="*/ 1782 w 16095"/>
                <a:gd name="T33" fmla="*/ 14305 h 15614"/>
                <a:gd name="T34" fmla="*/ 1113 w 16095"/>
                <a:gd name="T35" fmla="*/ 13450 h 15614"/>
                <a:gd name="T36" fmla="*/ 1239 w 16095"/>
                <a:gd name="T37" fmla="*/ 5079 h 15614"/>
                <a:gd name="T38" fmla="*/ 1927 w 16095"/>
                <a:gd name="T39" fmla="*/ 5411 h 15614"/>
                <a:gd name="T40" fmla="*/ 2704 w 16095"/>
                <a:gd name="T41" fmla="*/ 5539 h 15614"/>
                <a:gd name="T42" fmla="*/ 13317 w 16095"/>
                <a:gd name="T43" fmla="*/ 5601 h 15614"/>
                <a:gd name="T44" fmla="*/ 13531 w 16095"/>
                <a:gd name="T45" fmla="*/ 5826 h 15614"/>
                <a:gd name="T46" fmla="*/ 8796 w 16095"/>
                <a:gd name="T47" fmla="*/ 7065 h 15614"/>
                <a:gd name="T48" fmla="*/ 7362 w 16095"/>
                <a:gd name="T49" fmla="*/ 7705 h 15614"/>
                <a:gd name="T50" fmla="*/ 6590 w 16095"/>
                <a:gd name="T51" fmla="*/ 9062 h 15614"/>
                <a:gd name="T52" fmla="*/ 6787 w 16095"/>
                <a:gd name="T53" fmla="*/ 10662 h 15614"/>
                <a:gd name="T54" fmla="*/ 7854 w 16095"/>
                <a:gd name="T55" fmla="*/ 11784 h 15614"/>
                <a:gd name="T56" fmla="*/ 12574 w 16095"/>
                <a:gd name="T57" fmla="*/ 4029 h 15614"/>
                <a:gd name="T58" fmla="*/ 2279 w 16095"/>
                <a:gd name="T59" fmla="*/ 4461 h 15614"/>
                <a:gd name="T60" fmla="*/ 12574 w 16095"/>
                <a:gd name="T61" fmla="*/ 3526 h 15614"/>
                <a:gd name="T62" fmla="*/ 13203 w 16095"/>
                <a:gd name="T63" fmla="*/ 1023 h 15614"/>
                <a:gd name="T64" fmla="*/ 13465 w 16095"/>
                <a:gd name="T65" fmla="*/ 1191 h 15614"/>
                <a:gd name="T66" fmla="*/ 13580 w 16095"/>
                <a:gd name="T67" fmla="*/ 1485 h 15614"/>
                <a:gd name="T68" fmla="*/ 13305 w 16095"/>
                <a:gd name="T69" fmla="*/ 4552 h 15614"/>
                <a:gd name="T70" fmla="*/ 13074 w 16095"/>
                <a:gd name="T71" fmla="*/ 1963 h 15614"/>
                <a:gd name="T72" fmla="*/ 12946 w 16095"/>
                <a:gd name="T73" fmla="*/ 1676 h 15614"/>
                <a:gd name="T74" fmla="*/ 12675 w 16095"/>
                <a:gd name="T75" fmla="*/ 1521 h 15614"/>
                <a:gd name="T76" fmla="*/ 1816 w 16095"/>
                <a:gd name="T77" fmla="*/ 1550 h 15614"/>
                <a:gd name="T78" fmla="*/ 1581 w 16095"/>
                <a:gd name="T79" fmla="*/ 1754 h 15614"/>
                <a:gd name="T80" fmla="*/ 1508 w 16095"/>
                <a:gd name="T81" fmla="*/ 4000 h 15614"/>
                <a:gd name="T82" fmla="*/ 1194 w 16095"/>
                <a:gd name="T83" fmla="*/ 3561 h 15614"/>
                <a:gd name="T84" fmla="*/ 1026 w 16095"/>
                <a:gd name="T85" fmla="*/ 3034 h 15614"/>
                <a:gd name="T86" fmla="*/ 1113 w 16095"/>
                <a:gd name="T87" fmla="*/ 2164 h 15614"/>
                <a:gd name="T88" fmla="*/ 1782 w 16095"/>
                <a:gd name="T89" fmla="*/ 1309 h 15614"/>
                <a:gd name="T90" fmla="*/ 14587 w 16095"/>
                <a:gd name="T91" fmla="*/ 6044 h 15614"/>
                <a:gd name="T92" fmla="*/ 14437 w 16095"/>
                <a:gd name="T93" fmla="*/ 856 h 15614"/>
                <a:gd name="T94" fmla="*/ 13796 w 16095"/>
                <a:gd name="T95" fmla="*/ 182 h 15614"/>
                <a:gd name="T96" fmla="*/ 2624 w 16095"/>
                <a:gd name="T97" fmla="*/ 4 h 15614"/>
                <a:gd name="T98" fmla="*/ 1008 w 16095"/>
                <a:gd name="T99" fmla="*/ 634 h 15614"/>
                <a:gd name="T100" fmla="*/ 88 w 16095"/>
                <a:gd name="T101" fmla="*/ 2079 h 15614"/>
                <a:gd name="T102" fmla="*/ 168 w 16095"/>
                <a:gd name="T103" fmla="*/ 13795 h 15614"/>
                <a:gd name="T104" fmla="*/ 1220 w 16095"/>
                <a:gd name="T105" fmla="*/ 15141 h 15614"/>
                <a:gd name="T106" fmla="*/ 11820 w 16095"/>
                <a:gd name="T107" fmla="*/ 15614 h 15614"/>
                <a:gd name="T108" fmla="*/ 13474 w 16095"/>
                <a:gd name="T109" fmla="*/ 15063 h 15614"/>
                <a:gd name="T110" fmla="*/ 14461 w 16095"/>
                <a:gd name="T111" fmla="*/ 13667 h 15614"/>
                <a:gd name="T112" fmla="*/ 15382 w 16095"/>
                <a:gd name="T113" fmla="*/ 11280 h 15614"/>
                <a:gd name="T114" fmla="*/ 16072 w 16095"/>
                <a:gd name="T115" fmla="*/ 8642 h 15614"/>
                <a:gd name="T116" fmla="*/ 14769 w 16095"/>
                <a:gd name="T117" fmla="*/ 619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5614">
                  <a:moveTo>
                    <a:pt x="14223" y="11081"/>
                  </a:moveTo>
                  <a:lnTo>
                    <a:pt x="9053" y="11081"/>
                  </a:lnTo>
                  <a:lnTo>
                    <a:pt x="8976" y="11079"/>
                  </a:lnTo>
                  <a:lnTo>
                    <a:pt x="8900" y="11073"/>
                  </a:lnTo>
                  <a:lnTo>
                    <a:pt x="8824" y="11064"/>
                  </a:lnTo>
                  <a:lnTo>
                    <a:pt x="8750" y="11050"/>
                  </a:lnTo>
                  <a:lnTo>
                    <a:pt x="8677" y="11034"/>
                  </a:lnTo>
                  <a:lnTo>
                    <a:pt x="8606" y="11012"/>
                  </a:lnTo>
                  <a:lnTo>
                    <a:pt x="8535" y="10989"/>
                  </a:lnTo>
                  <a:lnTo>
                    <a:pt x="8467" y="10962"/>
                  </a:lnTo>
                  <a:lnTo>
                    <a:pt x="8400" y="10932"/>
                  </a:lnTo>
                  <a:lnTo>
                    <a:pt x="8335" y="10899"/>
                  </a:lnTo>
                  <a:lnTo>
                    <a:pt x="8272" y="10861"/>
                  </a:lnTo>
                  <a:lnTo>
                    <a:pt x="8210" y="10822"/>
                  </a:lnTo>
                  <a:lnTo>
                    <a:pt x="8151" y="10781"/>
                  </a:lnTo>
                  <a:lnTo>
                    <a:pt x="8095" y="10735"/>
                  </a:lnTo>
                  <a:lnTo>
                    <a:pt x="8039" y="10688"/>
                  </a:lnTo>
                  <a:lnTo>
                    <a:pt x="7987" y="10638"/>
                  </a:lnTo>
                  <a:lnTo>
                    <a:pt x="7937" y="10585"/>
                  </a:lnTo>
                  <a:lnTo>
                    <a:pt x="7890" y="10531"/>
                  </a:lnTo>
                  <a:lnTo>
                    <a:pt x="7844" y="10473"/>
                  </a:lnTo>
                  <a:lnTo>
                    <a:pt x="7803" y="10414"/>
                  </a:lnTo>
                  <a:lnTo>
                    <a:pt x="7764" y="10353"/>
                  </a:lnTo>
                  <a:lnTo>
                    <a:pt x="7727" y="10289"/>
                  </a:lnTo>
                  <a:lnTo>
                    <a:pt x="7693" y="10225"/>
                  </a:lnTo>
                  <a:lnTo>
                    <a:pt x="7663" y="10157"/>
                  </a:lnTo>
                  <a:lnTo>
                    <a:pt x="7636" y="10089"/>
                  </a:lnTo>
                  <a:lnTo>
                    <a:pt x="7613" y="10019"/>
                  </a:lnTo>
                  <a:lnTo>
                    <a:pt x="7592" y="9947"/>
                  </a:lnTo>
                  <a:lnTo>
                    <a:pt x="7576" y="9874"/>
                  </a:lnTo>
                  <a:lnTo>
                    <a:pt x="7562" y="9800"/>
                  </a:lnTo>
                  <a:lnTo>
                    <a:pt x="7553" y="9724"/>
                  </a:lnTo>
                  <a:lnTo>
                    <a:pt x="7547" y="9647"/>
                  </a:lnTo>
                  <a:lnTo>
                    <a:pt x="7545" y="9570"/>
                  </a:lnTo>
                  <a:lnTo>
                    <a:pt x="7547" y="9492"/>
                  </a:lnTo>
                  <a:lnTo>
                    <a:pt x="7553" y="9416"/>
                  </a:lnTo>
                  <a:lnTo>
                    <a:pt x="7562" y="9340"/>
                  </a:lnTo>
                  <a:lnTo>
                    <a:pt x="7576" y="9266"/>
                  </a:lnTo>
                  <a:lnTo>
                    <a:pt x="7592" y="9193"/>
                  </a:lnTo>
                  <a:lnTo>
                    <a:pt x="7613" y="9121"/>
                  </a:lnTo>
                  <a:lnTo>
                    <a:pt x="7636" y="9051"/>
                  </a:lnTo>
                  <a:lnTo>
                    <a:pt x="7663" y="8983"/>
                  </a:lnTo>
                  <a:lnTo>
                    <a:pt x="7693" y="8915"/>
                  </a:lnTo>
                  <a:lnTo>
                    <a:pt x="7727" y="8851"/>
                  </a:lnTo>
                  <a:lnTo>
                    <a:pt x="7764" y="8787"/>
                  </a:lnTo>
                  <a:lnTo>
                    <a:pt x="7803" y="8726"/>
                  </a:lnTo>
                  <a:lnTo>
                    <a:pt x="7844" y="8666"/>
                  </a:lnTo>
                  <a:lnTo>
                    <a:pt x="7890" y="8609"/>
                  </a:lnTo>
                  <a:lnTo>
                    <a:pt x="7937" y="8554"/>
                  </a:lnTo>
                  <a:lnTo>
                    <a:pt x="7987" y="8502"/>
                  </a:lnTo>
                  <a:lnTo>
                    <a:pt x="8039" y="8452"/>
                  </a:lnTo>
                  <a:lnTo>
                    <a:pt x="8095" y="8404"/>
                  </a:lnTo>
                  <a:lnTo>
                    <a:pt x="8151" y="8359"/>
                  </a:lnTo>
                  <a:lnTo>
                    <a:pt x="8210" y="8318"/>
                  </a:lnTo>
                  <a:lnTo>
                    <a:pt x="8272" y="8278"/>
                  </a:lnTo>
                  <a:lnTo>
                    <a:pt x="8335" y="8241"/>
                  </a:lnTo>
                  <a:lnTo>
                    <a:pt x="8400" y="8208"/>
                  </a:lnTo>
                  <a:lnTo>
                    <a:pt x="8467" y="8178"/>
                  </a:lnTo>
                  <a:lnTo>
                    <a:pt x="8535" y="8151"/>
                  </a:lnTo>
                  <a:lnTo>
                    <a:pt x="8606" y="8127"/>
                  </a:lnTo>
                  <a:lnTo>
                    <a:pt x="8677" y="8106"/>
                  </a:lnTo>
                  <a:lnTo>
                    <a:pt x="8750" y="8090"/>
                  </a:lnTo>
                  <a:lnTo>
                    <a:pt x="8824" y="8076"/>
                  </a:lnTo>
                  <a:lnTo>
                    <a:pt x="8900" y="8067"/>
                  </a:lnTo>
                  <a:lnTo>
                    <a:pt x="8976" y="8061"/>
                  </a:lnTo>
                  <a:lnTo>
                    <a:pt x="9053" y="8059"/>
                  </a:lnTo>
                  <a:lnTo>
                    <a:pt x="13580" y="8059"/>
                  </a:lnTo>
                  <a:lnTo>
                    <a:pt x="13609" y="8058"/>
                  </a:lnTo>
                  <a:lnTo>
                    <a:pt x="13639" y="8057"/>
                  </a:lnTo>
                  <a:lnTo>
                    <a:pt x="13668" y="8054"/>
                  </a:lnTo>
                  <a:lnTo>
                    <a:pt x="13697" y="8051"/>
                  </a:lnTo>
                  <a:lnTo>
                    <a:pt x="13725" y="8047"/>
                  </a:lnTo>
                  <a:lnTo>
                    <a:pt x="13754" y="8042"/>
                  </a:lnTo>
                  <a:lnTo>
                    <a:pt x="13782" y="8036"/>
                  </a:lnTo>
                  <a:lnTo>
                    <a:pt x="13811" y="8029"/>
                  </a:lnTo>
                  <a:lnTo>
                    <a:pt x="13840" y="8022"/>
                  </a:lnTo>
                  <a:lnTo>
                    <a:pt x="13867" y="8014"/>
                  </a:lnTo>
                  <a:lnTo>
                    <a:pt x="13895" y="8004"/>
                  </a:lnTo>
                  <a:lnTo>
                    <a:pt x="13922" y="7994"/>
                  </a:lnTo>
                  <a:lnTo>
                    <a:pt x="13949" y="7984"/>
                  </a:lnTo>
                  <a:lnTo>
                    <a:pt x="13976" y="7973"/>
                  </a:lnTo>
                  <a:lnTo>
                    <a:pt x="14004" y="7961"/>
                  </a:lnTo>
                  <a:lnTo>
                    <a:pt x="14030" y="7949"/>
                  </a:lnTo>
                  <a:lnTo>
                    <a:pt x="14055" y="7935"/>
                  </a:lnTo>
                  <a:lnTo>
                    <a:pt x="14081" y="7921"/>
                  </a:lnTo>
                  <a:lnTo>
                    <a:pt x="14106" y="7907"/>
                  </a:lnTo>
                  <a:lnTo>
                    <a:pt x="14130" y="7891"/>
                  </a:lnTo>
                  <a:lnTo>
                    <a:pt x="14155" y="7874"/>
                  </a:lnTo>
                  <a:lnTo>
                    <a:pt x="14179" y="7858"/>
                  </a:lnTo>
                  <a:lnTo>
                    <a:pt x="14202" y="7840"/>
                  </a:lnTo>
                  <a:lnTo>
                    <a:pt x="14225" y="7822"/>
                  </a:lnTo>
                  <a:lnTo>
                    <a:pt x="14247" y="7803"/>
                  </a:lnTo>
                  <a:lnTo>
                    <a:pt x="14268" y="7784"/>
                  </a:lnTo>
                  <a:lnTo>
                    <a:pt x="14289" y="7764"/>
                  </a:lnTo>
                  <a:lnTo>
                    <a:pt x="14310" y="7743"/>
                  </a:lnTo>
                  <a:lnTo>
                    <a:pt x="14331" y="7721"/>
                  </a:lnTo>
                  <a:lnTo>
                    <a:pt x="14350" y="7699"/>
                  </a:lnTo>
                  <a:lnTo>
                    <a:pt x="14368" y="7677"/>
                  </a:lnTo>
                  <a:lnTo>
                    <a:pt x="14386" y="7654"/>
                  </a:lnTo>
                  <a:lnTo>
                    <a:pt x="14405" y="7627"/>
                  </a:lnTo>
                  <a:lnTo>
                    <a:pt x="14423" y="7599"/>
                  </a:lnTo>
                  <a:lnTo>
                    <a:pt x="14440" y="7571"/>
                  </a:lnTo>
                  <a:lnTo>
                    <a:pt x="14456" y="7542"/>
                  </a:lnTo>
                  <a:lnTo>
                    <a:pt x="14471" y="7513"/>
                  </a:lnTo>
                  <a:lnTo>
                    <a:pt x="14486" y="7483"/>
                  </a:lnTo>
                  <a:lnTo>
                    <a:pt x="14499" y="7452"/>
                  </a:lnTo>
                  <a:lnTo>
                    <a:pt x="14512" y="7421"/>
                  </a:lnTo>
                  <a:lnTo>
                    <a:pt x="14516" y="7414"/>
                  </a:lnTo>
                  <a:lnTo>
                    <a:pt x="14520" y="7406"/>
                  </a:lnTo>
                  <a:lnTo>
                    <a:pt x="14525" y="7399"/>
                  </a:lnTo>
                  <a:lnTo>
                    <a:pt x="14529" y="7391"/>
                  </a:lnTo>
                  <a:lnTo>
                    <a:pt x="14562" y="7435"/>
                  </a:lnTo>
                  <a:lnTo>
                    <a:pt x="14594" y="7481"/>
                  </a:lnTo>
                  <a:lnTo>
                    <a:pt x="14625" y="7527"/>
                  </a:lnTo>
                  <a:lnTo>
                    <a:pt x="14657" y="7573"/>
                  </a:lnTo>
                  <a:lnTo>
                    <a:pt x="14686" y="7621"/>
                  </a:lnTo>
                  <a:lnTo>
                    <a:pt x="14715" y="7669"/>
                  </a:lnTo>
                  <a:lnTo>
                    <a:pt x="14742" y="7717"/>
                  </a:lnTo>
                  <a:lnTo>
                    <a:pt x="14768" y="7766"/>
                  </a:lnTo>
                  <a:lnTo>
                    <a:pt x="14794" y="7815"/>
                  </a:lnTo>
                  <a:lnTo>
                    <a:pt x="14818" y="7865"/>
                  </a:lnTo>
                  <a:lnTo>
                    <a:pt x="14843" y="7916"/>
                  </a:lnTo>
                  <a:lnTo>
                    <a:pt x="14865" y="7966"/>
                  </a:lnTo>
                  <a:lnTo>
                    <a:pt x="14886" y="8018"/>
                  </a:lnTo>
                  <a:lnTo>
                    <a:pt x="14907" y="8070"/>
                  </a:lnTo>
                  <a:lnTo>
                    <a:pt x="14926" y="8122"/>
                  </a:lnTo>
                  <a:lnTo>
                    <a:pt x="14944" y="8175"/>
                  </a:lnTo>
                  <a:lnTo>
                    <a:pt x="14961" y="8228"/>
                  </a:lnTo>
                  <a:lnTo>
                    <a:pt x="14978" y="8281"/>
                  </a:lnTo>
                  <a:lnTo>
                    <a:pt x="14993" y="8335"/>
                  </a:lnTo>
                  <a:lnTo>
                    <a:pt x="15008" y="8389"/>
                  </a:lnTo>
                  <a:lnTo>
                    <a:pt x="15020" y="8444"/>
                  </a:lnTo>
                  <a:lnTo>
                    <a:pt x="15032" y="8499"/>
                  </a:lnTo>
                  <a:lnTo>
                    <a:pt x="15043" y="8554"/>
                  </a:lnTo>
                  <a:lnTo>
                    <a:pt x="15053" y="8610"/>
                  </a:lnTo>
                  <a:lnTo>
                    <a:pt x="15061" y="8666"/>
                  </a:lnTo>
                  <a:lnTo>
                    <a:pt x="15069" y="8723"/>
                  </a:lnTo>
                  <a:lnTo>
                    <a:pt x="15075" y="8779"/>
                  </a:lnTo>
                  <a:lnTo>
                    <a:pt x="15080" y="8837"/>
                  </a:lnTo>
                  <a:lnTo>
                    <a:pt x="15084" y="8893"/>
                  </a:lnTo>
                  <a:lnTo>
                    <a:pt x="15087" y="8950"/>
                  </a:lnTo>
                  <a:lnTo>
                    <a:pt x="15089" y="9008"/>
                  </a:lnTo>
                  <a:lnTo>
                    <a:pt x="15089" y="9066"/>
                  </a:lnTo>
                  <a:lnTo>
                    <a:pt x="15088" y="9139"/>
                  </a:lnTo>
                  <a:lnTo>
                    <a:pt x="15086" y="9210"/>
                  </a:lnTo>
                  <a:lnTo>
                    <a:pt x="15081" y="9283"/>
                  </a:lnTo>
                  <a:lnTo>
                    <a:pt x="15075" y="9353"/>
                  </a:lnTo>
                  <a:lnTo>
                    <a:pt x="15067" y="9425"/>
                  </a:lnTo>
                  <a:lnTo>
                    <a:pt x="15057" y="9495"/>
                  </a:lnTo>
                  <a:lnTo>
                    <a:pt x="15045" y="9565"/>
                  </a:lnTo>
                  <a:lnTo>
                    <a:pt x="15032" y="9634"/>
                  </a:lnTo>
                  <a:lnTo>
                    <a:pt x="15017" y="9704"/>
                  </a:lnTo>
                  <a:lnTo>
                    <a:pt x="15000" y="9771"/>
                  </a:lnTo>
                  <a:lnTo>
                    <a:pt x="14981" y="9840"/>
                  </a:lnTo>
                  <a:lnTo>
                    <a:pt x="14961" y="9906"/>
                  </a:lnTo>
                  <a:lnTo>
                    <a:pt x="14939" y="9973"/>
                  </a:lnTo>
                  <a:lnTo>
                    <a:pt x="14916" y="10039"/>
                  </a:lnTo>
                  <a:lnTo>
                    <a:pt x="14891" y="10104"/>
                  </a:lnTo>
                  <a:lnTo>
                    <a:pt x="14864" y="10168"/>
                  </a:lnTo>
                  <a:lnTo>
                    <a:pt x="14836" y="10233"/>
                  </a:lnTo>
                  <a:lnTo>
                    <a:pt x="14805" y="10295"/>
                  </a:lnTo>
                  <a:lnTo>
                    <a:pt x="14773" y="10358"/>
                  </a:lnTo>
                  <a:lnTo>
                    <a:pt x="14740" y="10419"/>
                  </a:lnTo>
                  <a:lnTo>
                    <a:pt x="14706" y="10480"/>
                  </a:lnTo>
                  <a:lnTo>
                    <a:pt x="14670" y="10539"/>
                  </a:lnTo>
                  <a:lnTo>
                    <a:pt x="14631" y="10597"/>
                  </a:lnTo>
                  <a:lnTo>
                    <a:pt x="14592" y="10655"/>
                  </a:lnTo>
                  <a:lnTo>
                    <a:pt x="14551" y="10712"/>
                  </a:lnTo>
                  <a:lnTo>
                    <a:pt x="14509" y="10768"/>
                  </a:lnTo>
                  <a:lnTo>
                    <a:pt x="14464" y="10823"/>
                  </a:lnTo>
                  <a:lnTo>
                    <a:pt x="14419" y="10876"/>
                  </a:lnTo>
                  <a:lnTo>
                    <a:pt x="14372" y="10929"/>
                  </a:lnTo>
                  <a:lnTo>
                    <a:pt x="14324" y="10981"/>
                  </a:lnTo>
                  <a:lnTo>
                    <a:pt x="14274" y="11032"/>
                  </a:lnTo>
                  <a:lnTo>
                    <a:pt x="14223" y="11081"/>
                  </a:lnTo>
                  <a:close/>
                  <a:moveTo>
                    <a:pt x="13580" y="12844"/>
                  </a:moveTo>
                  <a:lnTo>
                    <a:pt x="13578" y="12934"/>
                  </a:lnTo>
                  <a:lnTo>
                    <a:pt x="13571" y="13024"/>
                  </a:lnTo>
                  <a:lnTo>
                    <a:pt x="13560" y="13113"/>
                  </a:lnTo>
                  <a:lnTo>
                    <a:pt x="13545" y="13199"/>
                  </a:lnTo>
                  <a:lnTo>
                    <a:pt x="13525" y="13284"/>
                  </a:lnTo>
                  <a:lnTo>
                    <a:pt x="13502" y="13368"/>
                  </a:lnTo>
                  <a:lnTo>
                    <a:pt x="13474" y="13450"/>
                  </a:lnTo>
                  <a:lnTo>
                    <a:pt x="13442" y="13530"/>
                  </a:lnTo>
                  <a:lnTo>
                    <a:pt x="13407" y="13608"/>
                  </a:lnTo>
                  <a:lnTo>
                    <a:pt x="13368" y="13684"/>
                  </a:lnTo>
                  <a:lnTo>
                    <a:pt x="13326" y="13758"/>
                  </a:lnTo>
                  <a:lnTo>
                    <a:pt x="13279" y="13830"/>
                  </a:lnTo>
                  <a:lnTo>
                    <a:pt x="13231" y="13898"/>
                  </a:lnTo>
                  <a:lnTo>
                    <a:pt x="13179" y="13965"/>
                  </a:lnTo>
                  <a:lnTo>
                    <a:pt x="13123" y="14029"/>
                  </a:lnTo>
                  <a:lnTo>
                    <a:pt x="13065" y="14091"/>
                  </a:lnTo>
                  <a:lnTo>
                    <a:pt x="13004" y="14148"/>
                  </a:lnTo>
                  <a:lnTo>
                    <a:pt x="12939" y="14204"/>
                  </a:lnTo>
                  <a:lnTo>
                    <a:pt x="12873" y="14256"/>
                  </a:lnTo>
                  <a:lnTo>
                    <a:pt x="12805" y="14305"/>
                  </a:lnTo>
                  <a:lnTo>
                    <a:pt x="12733" y="14352"/>
                  </a:lnTo>
                  <a:lnTo>
                    <a:pt x="12659" y="14394"/>
                  </a:lnTo>
                  <a:lnTo>
                    <a:pt x="12583" y="14432"/>
                  </a:lnTo>
                  <a:lnTo>
                    <a:pt x="12505" y="14468"/>
                  </a:lnTo>
                  <a:lnTo>
                    <a:pt x="12425" y="14500"/>
                  </a:lnTo>
                  <a:lnTo>
                    <a:pt x="12343" y="14527"/>
                  </a:lnTo>
                  <a:lnTo>
                    <a:pt x="12259" y="14551"/>
                  </a:lnTo>
                  <a:lnTo>
                    <a:pt x="12175" y="14571"/>
                  </a:lnTo>
                  <a:lnTo>
                    <a:pt x="12088" y="14586"/>
                  </a:lnTo>
                  <a:lnTo>
                    <a:pt x="12000" y="14598"/>
                  </a:lnTo>
                  <a:lnTo>
                    <a:pt x="11910" y="14605"/>
                  </a:lnTo>
                  <a:lnTo>
                    <a:pt x="11820" y="14607"/>
                  </a:lnTo>
                  <a:lnTo>
                    <a:pt x="2766" y="14607"/>
                  </a:lnTo>
                  <a:lnTo>
                    <a:pt x="2676" y="14605"/>
                  </a:lnTo>
                  <a:lnTo>
                    <a:pt x="2586" y="14598"/>
                  </a:lnTo>
                  <a:lnTo>
                    <a:pt x="2498" y="14586"/>
                  </a:lnTo>
                  <a:lnTo>
                    <a:pt x="2411" y="14571"/>
                  </a:lnTo>
                  <a:lnTo>
                    <a:pt x="2327" y="14551"/>
                  </a:lnTo>
                  <a:lnTo>
                    <a:pt x="2243" y="14527"/>
                  </a:lnTo>
                  <a:lnTo>
                    <a:pt x="2161" y="14500"/>
                  </a:lnTo>
                  <a:lnTo>
                    <a:pt x="2081" y="14468"/>
                  </a:lnTo>
                  <a:lnTo>
                    <a:pt x="2003" y="14432"/>
                  </a:lnTo>
                  <a:lnTo>
                    <a:pt x="1927" y="14394"/>
                  </a:lnTo>
                  <a:lnTo>
                    <a:pt x="1853" y="14352"/>
                  </a:lnTo>
                  <a:lnTo>
                    <a:pt x="1782" y="14305"/>
                  </a:lnTo>
                  <a:lnTo>
                    <a:pt x="1713" y="14256"/>
                  </a:lnTo>
                  <a:lnTo>
                    <a:pt x="1647" y="14204"/>
                  </a:lnTo>
                  <a:lnTo>
                    <a:pt x="1582" y="14148"/>
                  </a:lnTo>
                  <a:lnTo>
                    <a:pt x="1521" y="14091"/>
                  </a:lnTo>
                  <a:lnTo>
                    <a:pt x="1464" y="14029"/>
                  </a:lnTo>
                  <a:lnTo>
                    <a:pt x="1408" y="13965"/>
                  </a:lnTo>
                  <a:lnTo>
                    <a:pt x="1356" y="13898"/>
                  </a:lnTo>
                  <a:lnTo>
                    <a:pt x="1307" y="13830"/>
                  </a:lnTo>
                  <a:lnTo>
                    <a:pt x="1260" y="13758"/>
                  </a:lnTo>
                  <a:lnTo>
                    <a:pt x="1218" y="13684"/>
                  </a:lnTo>
                  <a:lnTo>
                    <a:pt x="1180" y="13608"/>
                  </a:lnTo>
                  <a:lnTo>
                    <a:pt x="1145" y="13530"/>
                  </a:lnTo>
                  <a:lnTo>
                    <a:pt x="1113" y="13450"/>
                  </a:lnTo>
                  <a:lnTo>
                    <a:pt x="1085" y="13368"/>
                  </a:lnTo>
                  <a:lnTo>
                    <a:pt x="1061" y="13284"/>
                  </a:lnTo>
                  <a:lnTo>
                    <a:pt x="1041" y="13199"/>
                  </a:lnTo>
                  <a:lnTo>
                    <a:pt x="1026" y="13113"/>
                  </a:lnTo>
                  <a:lnTo>
                    <a:pt x="1015" y="13024"/>
                  </a:lnTo>
                  <a:lnTo>
                    <a:pt x="1008" y="12934"/>
                  </a:lnTo>
                  <a:lnTo>
                    <a:pt x="1006" y="12844"/>
                  </a:lnTo>
                  <a:lnTo>
                    <a:pt x="1006" y="4905"/>
                  </a:lnTo>
                  <a:lnTo>
                    <a:pt x="1051" y="4942"/>
                  </a:lnTo>
                  <a:lnTo>
                    <a:pt x="1097" y="4977"/>
                  </a:lnTo>
                  <a:lnTo>
                    <a:pt x="1144" y="5013"/>
                  </a:lnTo>
                  <a:lnTo>
                    <a:pt x="1191" y="5046"/>
                  </a:lnTo>
                  <a:lnTo>
                    <a:pt x="1239" y="5079"/>
                  </a:lnTo>
                  <a:lnTo>
                    <a:pt x="1289" y="5111"/>
                  </a:lnTo>
                  <a:lnTo>
                    <a:pt x="1338" y="5142"/>
                  </a:lnTo>
                  <a:lnTo>
                    <a:pt x="1389" y="5172"/>
                  </a:lnTo>
                  <a:lnTo>
                    <a:pt x="1439" y="5201"/>
                  </a:lnTo>
                  <a:lnTo>
                    <a:pt x="1492" y="5228"/>
                  </a:lnTo>
                  <a:lnTo>
                    <a:pt x="1544" y="5255"/>
                  </a:lnTo>
                  <a:lnTo>
                    <a:pt x="1596" y="5281"/>
                  </a:lnTo>
                  <a:lnTo>
                    <a:pt x="1651" y="5305"/>
                  </a:lnTo>
                  <a:lnTo>
                    <a:pt x="1705" y="5328"/>
                  </a:lnTo>
                  <a:lnTo>
                    <a:pt x="1759" y="5350"/>
                  </a:lnTo>
                  <a:lnTo>
                    <a:pt x="1815" y="5371"/>
                  </a:lnTo>
                  <a:lnTo>
                    <a:pt x="1871" y="5391"/>
                  </a:lnTo>
                  <a:lnTo>
                    <a:pt x="1927" y="5411"/>
                  </a:lnTo>
                  <a:lnTo>
                    <a:pt x="1984" y="5428"/>
                  </a:lnTo>
                  <a:lnTo>
                    <a:pt x="2042" y="5444"/>
                  </a:lnTo>
                  <a:lnTo>
                    <a:pt x="2099" y="5459"/>
                  </a:lnTo>
                  <a:lnTo>
                    <a:pt x="2158" y="5473"/>
                  </a:lnTo>
                  <a:lnTo>
                    <a:pt x="2217" y="5486"/>
                  </a:lnTo>
                  <a:lnTo>
                    <a:pt x="2276" y="5497"/>
                  </a:lnTo>
                  <a:lnTo>
                    <a:pt x="2337" y="5507"/>
                  </a:lnTo>
                  <a:lnTo>
                    <a:pt x="2396" y="5516"/>
                  </a:lnTo>
                  <a:lnTo>
                    <a:pt x="2458" y="5523"/>
                  </a:lnTo>
                  <a:lnTo>
                    <a:pt x="2518" y="5529"/>
                  </a:lnTo>
                  <a:lnTo>
                    <a:pt x="2580" y="5534"/>
                  </a:lnTo>
                  <a:lnTo>
                    <a:pt x="2642" y="5537"/>
                  </a:lnTo>
                  <a:lnTo>
                    <a:pt x="2704" y="5539"/>
                  </a:lnTo>
                  <a:lnTo>
                    <a:pt x="2766" y="5540"/>
                  </a:lnTo>
                  <a:lnTo>
                    <a:pt x="11065" y="5540"/>
                  </a:lnTo>
                  <a:lnTo>
                    <a:pt x="13077" y="5540"/>
                  </a:lnTo>
                  <a:lnTo>
                    <a:pt x="13103" y="5541"/>
                  </a:lnTo>
                  <a:lnTo>
                    <a:pt x="13128" y="5543"/>
                  </a:lnTo>
                  <a:lnTo>
                    <a:pt x="13154" y="5546"/>
                  </a:lnTo>
                  <a:lnTo>
                    <a:pt x="13179" y="5551"/>
                  </a:lnTo>
                  <a:lnTo>
                    <a:pt x="13203" y="5557"/>
                  </a:lnTo>
                  <a:lnTo>
                    <a:pt x="13227" y="5564"/>
                  </a:lnTo>
                  <a:lnTo>
                    <a:pt x="13250" y="5571"/>
                  </a:lnTo>
                  <a:lnTo>
                    <a:pt x="13273" y="5580"/>
                  </a:lnTo>
                  <a:lnTo>
                    <a:pt x="13295" y="5590"/>
                  </a:lnTo>
                  <a:lnTo>
                    <a:pt x="13317" y="5601"/>
                  </a:lnTo>
                  <a:lnTo>
                    <a:pt x="13338" y="5613"/>
                  </a:lnTo>
                  <a:lnTo>
                    <a:pt x="13358" y="5626"/>
                  </a:lnTo>
                  <a:lnTo>
                    <a:pt x="13378" y="5640"/>
                  </a:lnTo>
                  <a:lnTo>
                    <a:pt x="13397" y="5655"/>
                  </a:lnTo>
                  <a:lnTo>
                    <a:pt x="13415" y="5671"/>
                  </a:lnTo>
                  <a:lnTo>
                    <a:pt x="13433" y="5688"/>
                  </a:lnTo>
                  <a:lnTo>
                    <a:pt x="13449" y="5706"/>
                  </a:lnTo>
                  <a:lnTo>
                    <a:pt x="13465" y="5724"/>
                  </a:lnTo>
                  <a:lnTo>
                    <a:pt x="13481" y="5743"/>
                  </a:lnTo>
                  <a:lnTo>
                    <a:pt x="13495" y="5762"/>
                  </a:lnTo>
                  <a:lnTo>
                    <a:pt x="13508" y="5783"/>
                  </a:lnTo>
                  <a:lnTo>
                    <a:pt x="13520" y="5804"/>
                  </a:lnTo>
                  <a:lnTo>
                    <a:pt x="13531" y="5826"/>
                  </a:lnTo>
                  <a:lnTo>
                    <a:pt x="13541" y="5848"/>
                  </a:lnTo>
                  <a:lnTo>
                    <a:pt x="13550" y="5871"/>
                  </a:lnTo>
                  <a:lnTo>
                    <a:pt x="13558" y="5894"/>
                  </a:lnTo>
                  <a:lnTo>
                    <a:pt x="13564" y="5918"/>
                  </a:lnTo>
                  <a:lnTo>
                    <a:pt x="13570" y="5942"/>
                  </a:lnTo>
                  <a:lnTo>
                    <a:pt x="13574" y="5968"/>
                  </a:lnTo>
                  <a:lnTo>
                    <a:pt x="13578" y="5993"/>
                  </a:lnTo>
                  <a:lnTo>
                    <a:pt x="13580" y="6018"/>
                  </a:lnTo>
                  <a:lnTo>
                    <a:pt x="13580" y="6044"/>
                  </a:lnTo>
                  <a:lnTo>
                    <a:pt x="13580" y="7051"/>
                  </a:lnTo>
                  <a:lnTo>
                    <a:pt x="9053" y="7051"/>
                  </a:lnTo>
                  <a:lnTo>
                    <a:pt x="8924" y="7055"/>
                  </a:lnTo>
                  <a:lnTo>
                    <a:pt x="8796" y="7065"/>
                  </a:lnTo>
                  <a:lnTo>
                    <a:pt x="8670" y="7081"/>
                  </a:lnTo>
                  <a:lnTo>
                    <a:pt x="8546" y="7103"/>
                  </a:lnTo>
                  <a:lnTo>
                    <a:pt x="8425" y="7131"/>
                  </a:lnTo>
                  <a:lnTo>
                    <a:pt x="8306" y="7164"/>
                  </a:lnTo>
                  <a:lnTo>
                    <a:pt x="8188" y="7205"/>
                  </a:lnTo>
                  <a:lnTo>
                    <a:pt x="8075" y="7249"/>
                  </a:lnTo>
                  <a:lnTo>
                    <a:pt x="7963" y="7299"/>
                  </a:lnTo>
                  <a:lnTo>
                    <a:pt x="7854" y="7356"/>
                  </a:lnTo>
                  <a:lnTo>
                    <a:pt x="7750" y="7416"/>
                  </a:lnTo>
                  <a:lnTo>
                    <a:pt x="7647" y="7482"/>
                  </a:lnTo>
                  <a:lnTo>
                    <a:pt x="7549" y="7552"/>
                  </a:lnTo>
                  <a:lnTo>
                    <a:pt x="7454" y="7627"/>
                  </a:lnTo>
                  <a:lnTo>
                    <a:pt x="7362" y="7705"/>
                  </a:lnTo>
                  <a:lnTo>
                    <a:pt x="7275" y="7789"/>
                  </a:lnTo>
                  <a:lnTo>
                    <a:pt x="7191" y="7877"/>
                  </a:lnTo>
                  <a:lnTo>
                    <a:pt x="7113" y="7968"/>
                  </a:lnTo>
                  <a:lnTo>
                    <a:pt x="7039" y="8063"/>
                  </a:lnTo>
                  <a:lnTo>
                    <a:pt x="6968" y="8162"/>
                  </a:lnTo>
                  <a:lnTo>
                    <a:pt x="6903" y="8264"/>
                  </a:lnTo>
                  <a:lnTo>
                    <a:pt x="6842" y="8369"/>
                  </a:lnTo>
                  <a:lnTo>
                    <a:pt x="6787" y="8478"/>
                  </a:lnTo>
                  <a:lnTo>
                    <a:pt x="6737" y="8590"/>
                  </a:lnTo>
                  <a:lnTo>
                    <a:pt x="6691" y="8704"/>
                  </a:lnTo>
                  <a:lnTo>
                    <a:pt x="6651" y="8820"/>
                  </a:lnTo>
                  <a:lnTo>
                    <a:pt x="6618" y="8940"/>
                  </a:lnTo>
                  <a:lnTo>
                    <a:pt x="6590" y="9062"/>
                  </a:lnTo>
                  <a:lnTo>
                    <a:pt x="6568" y="9186"/>
                  </a:lnTo>
                  <a:lnTo>
                    <a:pt x="6552" y="9312"/>
                  </a:lnTo>
                  <a:lnTo>
                    <a:pt x="6542" y="9440"/>
                  </a:lnTo>
                  <a:lnTo>
                    <a:pt x="6539" y="9570"/>
                  </a:lnTo>
                  <a:lnTo>
                    <a:pt x="6542" y="9700"/>
                  </a:lnTo>
                  <a:lnTo>
                    <a:pt x="6552" y="9828"/>
                  </a:lnTo>
                  <a:lnTo>
                    <a:pt x="6568" y="9954"/>
                  </a:lnTo>
                  <a:lnTo>
                    <a:pt x="6590" y="10078"/>
                  </a:lnTo>
                  <a:lnTo>
                    <a:pt x="6618" y="10199"/>
                  </a:lnTo>
                  <a:lnTo>
                    <a:pt x="6651" y="10319"/>
                  </a:lnTo>
                  <a:lnTo>
                    <a:pt x="6691" y="10436"/>
                  </a:lnTo>
                  <a:lnTo>
                    <a:pt x="6737" y="10550"/>
                  </a:lnTo>
                  <a:lnTo>
                    <a:pt x="6787" y="10662"/>
                  </a:lnTo>
                  <a:lnTo>
                    <a:pt x="6842" y="10771"/>
                  </a:lnTo>
                  <a:lnTo>
                    <a:pt x="6903" y="10876"/>
                  </a:lnTo>
                  <a:lnTo>
                    <a:pt x="6968" y="10978"/>
                  </a:lnTo>
                  <a:lnTo>
                    <a:pt x="7039" y="11077"/>
                  </a:lnTo>
                  <a:lnTo>
                    <a:pt x="7113" y="11172"/>
                  </a:lnTo>
                  <a:lnTo>
                    <a:pt x="7191" y="11263"/>
                  </a:lnTo>
                  <a:lnTo>
                    <a:pt x="7275" y="11351"/>
                  </a:lnTo>
                  <a:lnTo>
                    <a:pt x="7362" y="11434"/>
                  </a:lnTo>
                  <a:lnTo>
                    <a:pt x="7454" y="11513"/>
                  </a:lnTo>
                  <a:lnTo>
                    <a:pt x="7549" y="11588"/>
                  </a:lnTo>
                  <a:lnTo>
                    <a:pt x="7647" y="11658"/>
                  </a:lnTo>
                  <a:lnTo>
                    <a:pt x="7750" y="11724"/>
                  </a:lnTo>
                  <a:lnTo>
                    <a:pt x="7854" y="11784"/>
                  </a:lnTo>
                  <a:lnTo>
                    <a:pt x="7963" y="11839"/>
                  </a:lnTo>
                  <a:lnTo>
                    <a:pt x="8075" y="11891"/>
                  </a:lnTo>
                  <a:lnTo>
                    <a:pt x="8188" y="11935"/>
                  </a:lnTo>
                  <a:lnTo>
                    <a:pt x="8306" y="11975"/>
                  </a:lnTo>
                  <a:lnTo>
                    <a:pt x="8425" y="12009"/>
                  </a:lnTo>
                  <a:lnTo>
                    <a:pt x="8546" y="12037"/>
                  </a:lnTo>
                  <a:lnTo>
                    <a:pt x="8670" y="12059"/>
                  </a:lnTo>
                  <a:lnTo>
                    <a:pt x="8796" y="12075"/>
                  </a:lnTo>
                  <a:lnTo>
                    <a:pt x="8924" y="12085"/>
                  </a:lnTo>
                  <a:lnTo>
                    <a:pt x="9053" y="12088"/>
                  </a:lnTo>
                  <a:lnTo>
                    <a:pt x="13580" y="12088"/>
                  </a:lnTo>
                  <a:lnTo>
                    <a:pt x="13580" y="12844"/>
                  </a:lnTo>
                  <a:close/>
                  <a:moveTo>
                    <a:pt x="12574" y="4029"/>
                  </a:moveTo>
                  <a:lnTo>
                    <a:pt x="12574" y="4533"/>
                  </a:lnTo>
                  <a:lnTo>
                    <a:pt x="11065" y="4533"/>
                  </a:lnTo>
                  <a:lnTo>
                    <a:pt x="2766" y="4533"/>
                  </a:lnTo>
                  <a:lnTo>
                    <a:pt x="2716" y="4532"/>
                  </a:lnTo>
                  <a:lnTo>
                    <a:pt x="2666" y="4530"/>
                  </a:lnTo>
                  <a:lnTo>
                    <a:pt x="2615" y="4526"/>
                  </a:lnTo>
                  <a:lnTo>
                    <a:pt x="2566" y="4521"/>
                  </a:lnTo>
                  <a:lnTo>
                    <a:pt x="2517" y="4514"/>
                  </a:lnTo>
                  <a:lnTo>
                    <a:pt x="2469" y="4506"/>
                  </a:lnTo>
                  <a:lnTo>
                    <a:pt x="2420" y="4497"/>
                  </a:lnTo>
                  <a:lnTo>
                    <a:pt x="2373" y="4486"/>
                  </a:lnTo>
                  <a:lnTo>
                    <a:pt x="2326" y="4474"/>
                  </a:lnTo>
                  <a:lnTo>
                    <a:pt x="2279" y="4461"/>
                  </a:lnTo>
                  <a:lnTo>
                    <a:pt x="2233" y="4446"/>
                  </a:lnTo>
                  <a:lnTo>
                    <a:pt x="2188" y="4430"/>
                  </a:lnTo>
                  <a:lnTo>
                    <a:pt x="2143" y="4413"/>
                  </a:lnTo>
                  <a:lnTo>
                    <a:pt x="2098" y="4396"/>
                  </a:lnTo>
                  <a:lnTo>
                    <a:pt x="2055" y="4377"/>
                  </a:lnTo>
                  <a:lnTo>
                    <a:pt x="2011" y="4357"/>
                  </a:lnTo>
                  <a:lnTo>
                    <a:pt x="2011" y="4029"/>
                  </a:lnTo>
                  <a:lnTo>
                    <a:pt x="12574" y="4029"/>
                  </a:lnTo>
                  <a:close/>
                  <a:moveTo>
                    <a:pt x="12574" y="3526"/>
                  </a:moveTo>
                  <a:lnTo>
                    <a:pt x="2011" y="3526"/>
                  </a:lnTo>
                  <a:lnTo>
                    <a:pt x="2011" y="3022"/>
                  </a:lnTo>
                  <a:lnTo>
                    <a:pt x="12574" y="3022"/>
                  </a:lnTo>
                  <a:lnTo>
                    <a:pt x="12574" y="3526"/>
                  </a:lnTo>
                  <a:close/>
                  <a:moveTo>
                    <a:pt x="12574" y="2518"/>
                  </a:moveTo>
                  <a:lnTo>
                    <a:pt x="2011" y="2518"/>
                  </a:lnTo>
                  <a:lnTo>
                    <a:pt x="2011" y="2015"/>
                  </a:lnTo>
                  <a:lnTo>
                    <a:pt x="12574" y="2015"/>
                  </a:lnTo>
                  <a:lnTo>
                    <a:pt x="12574" y="2518"/>
                  </a:lnTo>
                  <a:close/>
                  <a:moveTo>
                    <a:pt x="2766" y="1007"/>
                  </a:moveTo>
                  <a:lnTo>
                    <a:pt x="11065" y="1007"/>
                  </a:lnTo>
                  <a:lnTo>
                    <a:pt x="13077" y="1007"/>
                  </a:lnTo>
                  <a:lnTo>
                    <a:pt x="13103" y="1008"/>
                  </a:lnTo>
                  <a:lnTo>
                    <a:pt x="13128" y="1010"/>
                  </a:lnTo>
                  <a:lnTo>
                    <a:pt x="13154" y="1013"/>
                  </a:lnTo>
                  <a:lnTo>
                    <a:pt x="13179" y="1017"/>
                  </a:lnTo>
                  <a:lnTo>
                    <a:pt x="13203" y="1023"/>
                  </a:lnTo>
                  <a:lnTo>
                    <a:pt x="13227" y="1031"/>
                  </a:lnTo>
                  <a:lnTo>
                    <a:pt x="13250" y="1038"/>
                  </a:lnTo>
                  <a:lnTo>
                    <a:pt x="13273" y="1047"/>
                  </a:lnTo>
                  <a:lnTo>
                    <a:pt x="13295" y="1057"/>
                  </a:lnTo>
                  <a:lnTo>
                    <a:pt x="13317" y="1068"/>
                  </a:lnTo>
                  <a:lnTo>
                    <a:pt x="13338" y="1080"/>
                  </a:lnTo>
                  <a:lnTo>
                    <a:pt x="13358" y="1093"/>
                  </a:lnTo>
                  <a:lnTo>
                    <a:pt x="13378" y="1107"/>
                  </a:lnTo>
                  <a:lnTo>
                    <a:pt x="13397" y="1122"/>
                  </a:lnTo>
                  <a:lnTo>
                    <a:pt x="13415" y="1138"/>
                  </a:lnTo>
                  <a:lnTo>
                    <a:pt x="13433" y="1155"/>
                  </a:lnTo>
                  <a:lnTo>
                    <a:pt x="13449" y="1173"/>
                  </a:lnTo>
                  <a:lnTo>
                    <a:pt x="13465" y="1191"/>
                  </a:lnTo>
                  <a:lnTo>
                    <a:pt x="13481" y="1210"/>
                  </a:lnTo>
                  <a:lnTo>
                    <a:pt x="13495" y="1230"/>
                  </a:lnTo>
                  <a:lnTo>
                    <a:pt x="13508" y="1250"/>
                  </a:lnTo>
                  <a:lnTo>
                    <a:pt x="13520" y="1271"/>
                  </a:lnTo>
                  <a:lnTo>
                    <a:pt x="13531" y="1292"/>
                  </a:lnTo>
                  <a:lnTo>
                    <a:pt x="13541" y="1316"/>
                  </a:lnTo>
                  <a:lnTo>
                    <a:pt x="13550" y="1338"/>
                  </a:lnTo>
                  <a:lnTo>
                    <a:pt x="13558" y="1361"/>
                  </a:lnTo>
                  <a:lnTo>
                    <a:pt x="13564" y="1385"/>
                  </a:lnTo>
                  <a:lnTo>
                    <a:pt x="13570" y="1409"/>
                  </a:lnTo>
                  <a:lnTo>
                    <a:pt x="13574" y="1434"/>
                  </a:lnTo>
                  <a:lnTo>
                    <a:pt x="13578" y="1460"/>
                  </a:lnTo>
                  <a:lnTo>
                    <a:pt x="13580" y="1485"/>
                  </a:lnTo>
                  <a:lnTo>
                    <a:pt x="13580" y="1511"/>
                  </a:lnTo>
                  <a:lnTo>
                    <a:pt x="13580" y="2770"/>
                  </a:lnTo>
                  <a:lnTo>
                    <a:pt x="13580" y="3022"/>
                  </a:lnTo>
                  <a:lnTo>
                    <a:pt x="13580" y="4626"/>
                  </a:lnTo>
                  <a:lnTo>
                    <a:pt x="13551" y="4616"/>
                  </a:lnTo>
                  <a:lnTo>
                    <a:pt x="13521" y="4606"/>
                  </a:lnTo>
                  <a:lnTo>
                    <a:pt x="13491" y="4597"/>
                  </a:lnTo>
                  <a:lnTo>
                    <a:pt x="13459" y="4587"/>
                  </a:lnTo>
                  <a:lnTo>
                    <a:pt x="13429" y="4579"/>
                  </a:lnTo>
                  <a:lnTo>
                    <a:pt x="13398" y="4571"/>
                  </a:lnTo>
                  <a:lnTo>
                    <a:pt x="13367" y="4564"/>
                  </a:lnTo>
                  <a:lnTo>
                    <a:pt x="13336" y="4558"/>
                  </a:lnTo>
                  <a:lnTo>
                    <a:pt x="13305" y="4552"/>
                  </a:lnTo>
                  <a:lnTo>
                    <a:pt x="13272" y="4547"/>
                  </a:lnTo>
                  <a:lnTo>
                    <a:pt x="13240" y="4543"/>
                  </a:lnTo>
                  <a:lnTo>
                    <a:pt x="13208" y="4539"/>
                  </a:lnTo>
                  <a:lnTo>
                    <a:pt x="13176" y="4537"/>
                  </a:lnTo>
                  <a:lnTo>
                    <a:pt x="13144" y="4535"/>
                  </a:lnTo>
                  <a:lnTo>
                    <a:pt x="13110" y="4533"/>
                  </a:lnTo>
                  <a:lnTo>
                    <a:pt x="13077" y="4533"/>
                  </a:lnTo>
                  <a:lnTo>
                    <a:pt x="13077" y="4533"/>
                  </a:lnTo>
                  <a:lnTo>
                    <a:pt x="13077" y="4029"/>
                  </a:lnTo>
                  <a:lnTo>
                    <a:pt x="13077" y="3022"/>
                  </a:lnTo>
                  <a:lnTo>
                    <a:pt x="13077" y="2015"/>
                  </a:lnTo>
                  <a:lnTo>
                    <a:pt x="13076" y="1989"/>
                  </a:lnTo>
                  <a:lnTo>
                    <a:pt x="13074" y="1963"/>
                  </a:lnTo>
                  <a:lnTo>
                    <a:pt x="13071" y="1938"/>
                  </a:lnTo>
                  <a:lnTo>
                    <a:pt x="13066" y="1913"/>
                  </a:lnTo>
                  <a:lnTo>
                    <a:pt x="13061" y="1889"/>
                  </a:lnTo>
                  <a:lnTo>
                    <a:pt x="13054" y="1865"/>
                  </a:lnTo>
                  <a:lnTo>
                    <a:pt x="13046" y="1841"/>
                  </a:lnTo>
                  <a:lnTo>
                    <a:pt x="13037" y="1818"/>
                  </a:lnTo>
                  <a:lnTo>
                    <a:pt x="13027" y="1796"/>
                  </a:lnTo>
                  <a:lnTo>
                    <a:pt x="13016" y="1774"/>
                  </a:lnTo>
                  <a:lnTo>
                    <a:pt x="13004" y="1754"/>
                  </a:lnTo>
                  <a:lnTo>
                    <a:pt x="12991" y="1733"/>
                  </a:lnTo>
                  <a:lnTo>
                    <a:pt x="12977" y="1714"/>
                  </a:lnTo>
                  <a:lnTo>
                    <a:pt x="12962" y="1694"/>
                  </a:lnTo>
                  <a:lnTo>
                    <a:pt x="12946" y="1676"/>
                  </a:lnTo>
                  <a:lnTo>
                    <a:pt x="12929" y="1658"/>
                  </a:lnTo>
                  <a:lnTo>
                    <a:pt x="12912" y="1642"/>
                  </a:lnTo>
                  <a:lnTo>
                    <a:pt x="12894" y="1626"/>
                  </a:lnTo>
                  <a:lnTo>
                    <a:pt x="12875" y="1611"/>
                  </a:lnTo>
                  <a:lnTo>
                    <a:pt x="12855" y="1597"/>
                  </a:lnTo>
                  <a:lnTo>
                    <a:pt x="12835" y="1584"/>
                  </a:lnTo>
                  <a:lnTo>
                    <a:pt x="12814" y="1571"/>
                  </a:lnTo>
                  <a:lnTo>
                    <a:pt x="12792" y="1560"/>
                  </a:lnTo>
                  <a:lnTo>
                    <a:pt x="12769" y="1550"/>
                  </a:lnTo>
                  <a:lnTo>
                    <a:pt x="12746" y="1541"/>
                  </a:lnTo>
                  <a:lnTo>
                    <a:pt x="12723" y="1534"/>
                  </a:lnTo>
                  <a:lnTo>
                    <a:pt x="12700" y="1527"/>
                  </a:lnTo>
                  <a:lnTo>
                    <a:pt x="12675" y="1521"/>
                  </a:lnTo>
                  <a:lnTo>
                    <a:pt x="12651" y="1517"/>
                  </a:lnTo>
                  <a:lnTo>
                    <a:pt x="12626" y="1514"/>
                  </a:lnTo>
                  <a:lnTo>
                    <a:pt x="12599" y="1512"/>
                  </a:lnTo>
                  <a:lnTo>
                    <a:pt x="12574" y="1511"/>
                  </a:lnTo>
                  <a:lnTo>
                    <a:pt x="2011" y="1511"/>
                  </a:lnTo>
                  <a:lnTo>
                    <a:pt x="1986" y="1512"/>
                  </a:lnTo>
                  <a:lnTo>
                    <a:pt x="1960" y="1514"/>
                  </a:lnTo>
                  <a:lnTo>
                    <a:pt x="1934" y="1517"/>
                  </a:lnTo>
                  <a:lnTo>
                    <a:pt x="1910" y="1521"/>
                  </a:lnTo>
                  <a:lnTo>
                    <a:pt x="1886" y="1527"/>
                  </a:lnTo>
                  <a:lnTo>
                    <a:pt x="1862" y="1534"/>
                  </a:lnTo>
                  <a:lnTo>
                    <a:pt x="1839" y="1541"/>
                  </a:lnTo>
                  <a:lnTo>
                    <a:pt x="1816" y="1550"/>
                  </a:lnTo>
                  <a:lnTo>
                    <a:pt x="1794" y="1560"/>
                  </a:lnTo>
                  <a:lnTo>
                    <a:pt x="1771" y="1571"/>
                  </a:lnTo>
                  <a:lnTo>
                    <a:pt x="1750" y="1584"/>
                  </a:lnTo>
                  <a:lnTo>
                    <a:pt x="1730" y="1597"/>
                  </a:lnTo>
                  <a:lnTo>
                    <a:pt x="1710" y="1611"/>
                  </a:lnTo>
                  <a:lnTo>
                    <a:pt x="1691" y="1626"/>
                  </a:lnTo>
                  <a:lnTo>
                    <a:pt x="1673" y="1642"/>
                  </a:lnTo>
                  <a:lnTo>
                    <a:pt x="1656" y="1658"/>
                  </a:lnTo>
                  <a:lnTo>
                    <a:pt x="1639" y="1676"/>
                  </a:lnTo>
                  <a:lnTo>
                    <a:pt x="1624" y="1694"/>
                  </a:lnTo>
                  <a:lnTo>
                    <a:pt x="1608" y="1714"/>
                  </a:lnTo>
                  <a:lnTo>
                    <a:pt x="1594" y="1733"/>
                  </a:lnTo>
                  <a:lnTo>
                    <a:pt x="1581" y="1754"/>
                  </a:lnTo>
                  <a:lnTo>
                    <a:pt x="1569" y="1774"/>
                  </a:lnTo>
                  <a:lnTo>
                    <a:pt x="1558" y="1796"/>
                  </a:lnTo>
                  <a:lnTo>
                    <a:pt x="1548" y="1818"/>
                  </a:lnTo>
                  <a:lnTo>
                    <a:pt x="1539" y="1841"/>
                  </a:lnTo>
                  <a:lnTo>
                    <a:pt x="1531" y="1865"/>
                  </a:lnTo>
                  <a:lnTo>
                    <a:pt x="1524" y="1889"/>
                  </a:lnTo>
                  <a:lnTo>
                    <a:pt x="1519" y="1913"/>
                  </a:lnTo>
                  <a:lnTo>
                    <a:pt x="1514" y="1938"/>
                  </a:lnTo>
                  <a:lnTo>
                    <a:pt x="1511" y="1963"/>
                  </a:lnTo>
                  <a:lnTo>
                    <a:pt x="1509" y="1989"/>
                  </a:lnTo>
                  <a:lnTo>
                    <a:pt x="1508" y="2015"/>
                  </a:lnTo>
                  <a:lnTo>
                    <a:pt x="1508" y="3022"/>
                  </a:lnTo>
                  <a:lnTo>
                    <a:pt x="1508" y="4000"/>
                  </a:lnTo>
                  <a:lnTo>
                    <a:pt x="1480" y="3970"/>
                  </a:lnTo>
                  <a:lnTo>
                    <a:pt x="1452" y="3940"/>
                  </a:lnTo>
                  <a:lnTo>
                    <a:pt x="1424" y="3909"/>
                  </a:lnTo>
                  <a:lnTo>
                    <a:pt x="1397" y="3876"/>
                  </a:lnTo>
                  <a:lnTo>
                    <a:pt x="1372" y="3843"/>
                  </a:lnTo>
                  <a:lnTo>
                    <a:pt x="1347" y="3810"/>
                  </a:lnTo>
                  <a:lnTo>
                    <a:pt x="1323" y="3777"/>
                  </a:lnTo>
                  <a:lnTo>
                    <a:pt x="1299" y="3741"/>
                  </a:lnTo>
                  <a:lnTo>
                    <a:pt x="1277" y="3706"/>
                  </a:lnTo>
                  <a:lnTo>
                    <a:pt x="1254" y="3671"/>
                  </a:lnTo>
                  <a:lnTo>
                    <a:pt x="1233" y="3635"/>
                  </a:lnTo>
                  <a:lnTo>
                    <a:pt x="1213" y="3598"/>
                  </a:lnTo>
                  <a:lnTo>
                    <a:pt x="1194" y="3561"/>
                  </a:lnTo>
                  <a:lnTo>
                    <a:pt x="1175" y="3523"/>
                  </a:lnTo>
                  <a:lnTo>
                    <a:pt x="1158" y="3484"/>
                  </a:lnTo>
                  <a:lnTo>
                    <a:pt x="1141" y="3446"/>
                  </a:lnTo>
                  <a:lnTo>
                    <a:pt x="1125" y="3407"/>
                  </a:lnTo>
                  <a:lnTo>
                    <a:pt x="1110" y="3367"/>
                  </a:lnTo>
                  <a:lnTo>
                    <a:pt x="1096" y="3327"/>
                  </a:lnTo>
                  <a:lnTo>
                    <a:pt x="1083" y="3286"/>
                  </a:lnTo>
                  <a:lnTo>
                    <a:pt x="1071" y="3246"/>
                  </a:lnTo>
                  <a:lnTo>
                    <a:pt x="1060" y="3204"/>
                  </a:lnTo>
                  <a:lnTo>
                    <a:pt x="1050" y="3162"/>
                  </a:lnTo>
                  <a:lnTo>
                    <a:pt x="1041" y="3120"/>
                  </a:lnTo>
                  <a:lnTo>
                    <a:pt x="1033" y="3077"/>
                  </a:lnTo>
                  <a:lnTo>
                    <a:pt x="1026" y="3034"/>
                  </a:lnTo>
                  <a:lnTo>
                    <a:pt x="1020" y="2991"/>
                  </a:lnTo>
                  <a:lnTo>
                    <a:pt x="1015" y="2948"/>
                  </a:lnTo>
                  <a:lnTo>
                    <a:pt x="1011" y="2903"/>
                  </a:lnTo>
                  <a:lnTo>
                    <a:pt x="1008" y="2860"/>
                  </a:lnTo>
                  <a:lnTo>
                    <a:pt x="1007" y="2815"/>
                  </a:lnTo>
                  <a:lnTo>
                    <a:pt x="1006" y="2770"/>
                  </a:lnTo>
                  <a:lnTo>
                    <a:pt x="1008" y="2680"/>
                  </a:lnTo>
                  <a:lnTo>
                    <a:pt x="1015" y="2590"/>
                  </a:lnTo>
                  <a:lnTo>
                    <a:pt x="1026" y="2501"/>
                  </a:lnTo>
                  <a:lnTo>
                    <a:pt x="1041" y="2415"/>
                  </a:lnTo>
                  <a:lnTo>
                    <a:pt x="1061" y="2330"/>
                  </a:lnTo>
                  <a:lnTo>
                    <a:pt x="1085" y="2246"/>
                  </a:lnTo>
                  <a:lnTo>
                    <a:pt x="1113" y="2164"/>
                  </a:lnTo>
                  <a:lnTo>
                    <a:pt x="1145" y="2084"/>
                  </a:lnTo>
                  <a:lnTo>
                    <a:pt x="1180" y="2006"/>
                  </a:lnTo>
                  <a:lnTo>
                    <a:pt x="1218" y="1930"/>
                  </a:lnTo>
                  <a:lnTo>
                    <a:pt x="1260" y="1857"/>
                  </a:lnTo>
                  <a:lnTo>
                    <a:pt x="1307" y="1785"/>
                  </a:lnTo>
                  <a:lnTo>
                    <a:pt x="1356" y="1716"/>
                  </a:lnTo>
                  <a:lnTo>
                    <a:pt x="1408" y="1649"/>
                  </a:lnTo>
                  <a:lnTo>
                    <a:pt x="1464" y="1585"/>
                  </a:lnTo>
                  <a:lnTo>
                    <a:pt x="1521" y="1524"/>
                  </a:lnTo>
                  <a:lnTo>
                    <a:pt x="1582" y="1466"/>
                  </a:lnTo>
                  <a:lnTo>
                    <a:pt x="1647" y="1410"/>
                  </a:lnTo>
                  <a:lnTo>
                    <a:pt x="1713" y="1358"/>
                  </a:lnTo>
                  <a:lnTo>
                    <a:pt x="1782" y="1309"/>
                  </a:lnTo>
                  <a:lnTo>
                    <a:pt x="1853" y="1262"/>
                  </a:lnTo>
                  <a:lnTo>
                    <a:pt x="1927" y="1220"/>
                  </a:lnTo>
                  <a:lnTo>
                    <a:pt x="2003" y="1182"/>
                  </a:lnTo>
                  <a:lnTo>
                    <a:pt x="2081" y="1146"/>
                  </a:lnTo>
                  <a:lnTo>
                    <a:pt x="2161" y="1114"/>
                  </a:lnTo>
                  <a:lnTo>
                    <a:pt x="2243" y="1087"/>
                  </a:lnTo>
                  <a:lnTo>
                    <a:pt x="2327" y="1063"/>
                  </a:lnTo>
                  <a:lnTo>
                    <a:pt x="2411" y="1044"/>
                  </a:lnTo>
                  <a:lnTo>
                    <a:pt x="2498" y="1028"/>
                  </a:lnTo>
                  <a:lnTo>
                    <a:pt x="2586" y="1016"/>
                  </a:lnTo>
                  <a:lnTo>
                    <a:pt x="2676" y="1009"/>
                  </a:lnTo>
                  <a:lnTo>
                    <a:pt x="2766" y="1007"/>
                  </a:lnTo>
                  <a:close/>
                  <a:moveTo>
                    <a:pt x="14587" y="6044"/>
                  </a:moveTo>
                  <a:lnTo>
                    <a:pt x="14586" y="6044"/>
                  </a:lnTo>
                  <a:lnTo>
                    <a:pt x="14586" y="3022"/>
                  </a:lnTo>
                  <a:lnTo>
                    <a:pt x="14586" y="2770"/>
                  </a:lnTo>
                  <a:lnTo>
                    <a:pt x="14586" y="1511"/>
                  </a:lnTo>
                  <a:lnTo>
                    <a:pt x="14584" y="1433"/>
                  </a:lnTo>
                  <a:lnTo>
                    <a:pt x="14578" y="1357"/>
                  </a:lnTo>
                  <a:lnTo>
                    <a:pt x="14569" y="1281"/>
                  </a:lnTo>
                  <a:lnTo>
                    <a:pt x="14556" y="1207"/>
                  </a:lnTo>
                  <a:lnTo>
                    <a:pt x="14539" y="1133"/>
                  </a:lnTo>
                  <a:lnTo>
                    <a:pt x="14519" y="1062"/>
                  </a:lnTo>
                  <a:lnTo>
                    <a:pt x="14495" y="991"/>
                  </a:lnTo>
                  <a:lnTo>
                    <a:pt x="14467" y="923"/>
                  </a:lnTo>
                  <a:lnTo>
                    <a:pt x="14437" y="856"/>
                  </a:lnTo>
                  <a:lnTo>
                    <a:pt x="14404" y="791"/>
                  </a:lnTo>
                  <a:lnTo>
                    <a:pt x="14368" y="727"/>
                  </a:lnTo>
                  <a:lnTo>
                    <a:pt x="14329" y="666"/>
                  </a:lnTo>
                  <a:lnTo>
                    <a:pt x="14286" y="607"/>
                  </a:lnTo>
                  <a:lnTo>
                    <a:pt x="14242" y="550"/>
                  </a:lnTo>
                  <a:lnTo>
                    <a:pt x="14194" y="495"/>
                  </a:lnTo>
                  <a:lnTo>
                    <a:pt x="14144" y="442"/>
                  </a:lnTo>
                  <a:lnTo>
                    <a:pt x="14092" y="393"/>
                  </a:lnTo>
                  <a:lnTo>
                    <a:pt x="14037" y="346"/>
                  </a:lnTo>
                  <a:lnTo>
                    <a:pt x="13980" y="300"/>
                  </a:lnTo>
                  <a:lnTo>
                    <a:pt x="13921" y="258"/>
                  </a:lnTo>
                  <a:lnTo>
                    <a:pt x="13860" y="219"/>
                  </a:lnTo>
                  <a:lnTo>
                    <a:pt x="13796" y="182"/>
                  </a:lnTo>
                  <a:lnTo>
                    <a:pt x="13731" y="149"/>
                  </a:lnTo>
                  <a:lnTo>
                    <a:pt x="13665" y="119"/>
                  </a:lnTo>
                  <a:lnTo>
                    <a:pt x="13596" y="92"/>
                  </a:lnTo>
                  <a:lnTo>
                    <a:pt x="13526" y="67"/>
                  </a:lnTo>
                  <a:lnTo>
                    <a:pt x="13454" y="47"/>
                  </a:lnTo>
                  <a:lnTo>
                    <a:pt x="13381" y="30"/>
                  </a:lnTo>
                  <a:lnTo>
                    <a:pt x="13307" y="17"/>
                  </a:lnTo>
                  <a:lnTo>
                    <a:pt x="13231" y="8"/>
                  </a:lnTo>
                  <a:lnTo>
                    <a:pt x="13155" y="2"/>
                  </a:lnTo>
                  <a:lnTo>
                    <a:pt x="13077" y="0"/>
                  </a:lnTo>
                  <a:lnTo>
                    <a:pt x="11065" y="0"/>
                  </a:lnTo>
                  <a:lnTo>
                    <a:pt x="2766" y="0"/>
                  </a:lnTo>
                  <a:lnTo>
                    <a:pt x="2624" y="4"/>
                  </a:lnTo>
                  <a:lnTo>
                    <a:pt x="2484" y="14"/>
                  </a:lnTo>
                  <a:lnTo>
                    <a:pt x="2346" y="32"/>
                  </a:lnTo>
                  <a:lnTo>
                    <a:pt x="2209" y="56"/>
                  </a:lnTo>
                  <a:lnTo>
                    <a:pt x="2075" y="88"/>
                  </a:lnTo>
                  <a:lnTo>
                    <a:pt x="1944" y="125"/>
                  </a:lnTo>
                  <a:lnTo>
                    <a:pt x="1816" y="168"/>
                  </a:lnTo>
                  <a:lnTo>
                    <a:pt x="1690" y="218"/>
                  </a:lnTo>
                  <a:lnTo>
                    <a:pt x="1568" y="274"/>
                  </a:lnTo>
                  <a:lnTo>
                    <a:pt x="1449" y="335"/>
                  </a:lnTo>
                  <a:lnTo>
                    <a:pt x="1333" y="402"/>
                  </a:lnTo>
                  <a:lnTo>
                    <a:pt x="1220" y="473"/>
                  </a:lnTo>
                  <a:lnTo>
                    <a:pt x="1113" y="551"/>
                  </a:lnTo>
                  <a:lnTo>
                    <a:pt x="1008" y="634"/>
                  </a:lnTo>
                  <a:lnTo>
                    <a:pt x="907" y="720"/>
                  </a:lnTo>
                  <a:lnTo>
                    <a:pt x="811" y="812"/>
                  </a:lnTo>
                  <a:lnTo>
                    <a:pt x="719" y="909"/>
                  </a:lnTo>
                  <a:lnTo>
                    <a:pt x="633" y="1009"/>
                  </a:lnTo>
                  <a:lnTo>
                    <a:pt x="550" y="1114"/>
                  </a:lnTo>
                  <a:lnTo>
                    <a:pt x="473" y="1223"/>
                  </a:lnTo>
                  <a:lnTo>
                    <a:pt x="401" y="1335"/>
                  </a:lnTo>
                  <a:lnTo>
                    <a:pt x="334" y="1451"/>
                  </a:lnTo>
                  <a:lnTo>
                    <a:pt x="274" y="1570"/>
                  </a:lnTo>
                  <a:lnTo>
                    <a:pt x="217" y="1693"/>
                  </a:lnTo>
                  <a:lnTo>
                    <a:pt x="168" y="1819"/>
                  </a:lnTo>
                  <a:lnTo>
                    <a:pt x="125" y="1947"/>
                  </a:lnTo>
                  <a:lnTo>
                    <a:pt x="88" y="2079"/>
                  </a:lnTo>
                  <a:lnTo>
                    <a:pt x="56" y="2213"/>
                  </a:lnTo>
                  <a:lnTo>
                    <a:pt x="32" y="2349"/>
                  </a:lnTo>
                  <a:lnTo>
                    <a:pt x="14" y="2487"/>
                  </a:lnTo>
                  <a:lnTo>
                    <a:pt x="4" y="2628"/>
                  </a:lnTo>
                  <a:lnTo>
                    <a:pt x="0" y="2770"/>
                  </a:lnTo>
                  <a:lnTo>
                    <a:pt x="0" y="12844"/>
                  </a:lnTo>
                  <a:lnTo>
                    <a:pt x="4" y="12986"/>
                  </a:lnTo>
                  <a:lnTo>
                    <a:pt x="14" y="13127"/>
                  </a:lnTo>
                  <a:lnTo>
                    <a:pt x="32" y="13265"/>
                  </a:lnTo>
                  <a:lnTo>
                    <a:pt x="56" y="13401"/>
                  </a:lnTo>
                  <a:lnTo>
                    <a:pt x="88" y="13535"/>
                  </a:lnTo>
                  <a:lnTo>
                    <a:pt x="125" y="13667"/>
                  </a:lnTo>
                  <a:lnTo>
                    <a:pt x="168" y="13795"/>
                  </a:lnTo>
                  <a:lnTo>
                    <a:pt x="217" y="13921"/>
                  </a:lnTo>
                  <a:lnTo>
                    <a:pt x="274" y="14044"/>
                  </a:lnTo>
                  <a:lnTo>
                    <a:pt x="334" y="14163"/>
                  </a:lnTo>
                  <a:lnTo>
                    <a:pt x="401" y="14279"/>
                  </a:lnTo>
                  <a:lnTo>
                    <a:pt x="473" y="14391"/>
                  </a:lnTo>
                  <a:lnTo>
                    <a:pt x="550" y="14500"/>
                  </a:lnTo>
                  <a:lnTo>
                    <a:pt x="633" y="14605"/>
                  </a:lnTo>
                  <a:lnTo>
                    <a:pt x="719" y="14705"/>
                  </a:lnTo>
                  <a:lnTo>
                    <a:pt x="811" y="14802"/>
                  </a:lnTo>
                  <a:lnTo>
                    <a:pt x="907" y="14894"/>
                  </a:lnTo>
                  <a:lnTo>
                    <a:pt x="1008" y="14980"/>
                  </a:lnTo>
                  <a:lnTo>
                    <a:pt x="1113" y="15063"/>
                  </a:lnTo>
                  <a:lnTo>
                    <a:pt x="1220" y="15141"/>
                  </a:lnTo>
                  <a:lnTo>
                    <a:pt x="1333" y="15212"/>
                  </a:lnTo>
                  <a:lnTo>
                    <a:pt x="1449" y="15280"/>
                  </a:lnTo>
                  <a:lnTo>
                    <a:pt x="1568" y="15340"/>
                  </a:lnTo>
                  <a:lnTo>
                    <a:pt x="1690" y="15396"/>
                  </a:lnTo>
                  <a:lnTo>
                    <a:pt x="1816" y="15446"/>
                  </a:lnTo>
                  <a:lnTo>
                    <a:pt x="1944" y="15489"/>
                  </a:lnTo>
                  <a:lnTo>
                    <a:pt x="2075" y="15526"/>
                  </a:lnTo>
                  <a:lnTo>
                    <a:pt x="2209" y="15558"/>
                  </a:lnTo>
                  <a:lnTo>
                    <a:pt x="2346" y="15582"/>
                  </a:lnTo>
                  <a:lnTo>
                    <a:pt x="2484" y="15600"/>
                  </a:lnTo>
                  <a:lnTo>
                    <a:pt x="2624" y="15610"/>
                  </a:lnTo>
                  <a:lnTo>
                    <a:pt x="2766" y="15614"/>
                  </a:lnTo>
                  <a:lnTo>
                    <a:pt x="11820" y="15614"/>
                  </a:lnTo>
                  <a:lnTo>
                    <a:pt x="11962" y="15610"/>
                  </a:lnTo>
                  <a:lnTo>
                    <a:pt x="12102" y="15600"/>
                  </a:lnTo>
                  <a:lnTo>
                    <a:pt x="12240" y="15582"/>
                  </a:lnTo>
                  <a:lnTo>
                    <a:pt x="12377" y="15558"/>
                  </a:lnTo>
                  <a:lnTo>
                    <a:pt x="12510" y="15526"/>
                  </a:lnTo>
                  <a:lnTo>
                    <a:pt x="12642" y="15489"/>
                  </a:lnTo>
                  <a:lnTo>
                    <a:pt x="12770" y="15446"/>
                  </a:lnTo>
                  <a:lnTo>
                    <a:pt x="12895" y="15396"/>
                  </a:lnTo>
                  <a:lnTo>
                    <a:pt x="13018" y="15340"/>
                  </a:lnTo>
                  <a:lnTo>
                    <a:pt x="13138" y="15280"/>
                  </a:lnTo>
                  <a:lnTo>
                    <a:pt x="13253" y="15212"/>
                  </a:lnTo>
                  <a:lnTo>
                    <a:pt x="13366" y="15141"/>
                  </a:lnTo>
                  <a:lnTo>
                    <a:pt x="13474" y="15063"/>
                  </a:lnTo>
                  <a:lnTo>
                    <a:pt x="13578" y="14980"/>
                  </a:lnTo>
                  <a:lnTo>
                    <a:pt x="13679" y="14894"/>
                  </a:lnTo>
                  <a:lnTo>
                    <a:pt x="13775" y="14802"/>
                  </a:lnTo>
                  <a:lnTo>
                    <a:pt x="13867" y="14705"/>
                  </a:lnTo>
                  <a:lnTo>
                    <a:pt x="13953" y="14605"/>
                  </a:lnTo>
                  <a:lnTo>
                    <a:pt x="14036" y="14500"/>
                  </a:lnTo>
                  <a:lnTo>
                    <a:pt x="14113" y="14391"/>
                  </a:lnTo>
                  <a:lnTo>
                    <a:pt x="14185" y="14279"/>
                  </a:lnTo>
                  <a:lnTo>
                    <a:pt x="14252" y="14163"/>
                  </a:lnTo>
                  <a:lnTo>
                    <a:pt x="14313" y="14044"/>
                  </a:lnTo>
                  <a:lnTo>
                    <a:pt x="14369" y="13921"/>
                  </a:lnTo>
                  <a:lnTo>
                    <a:pt x="14418" y="13795"/>
                  </a:lnTo>
                  <a:lnTo>
                    <a:pt x="14461" y="13667"/>
                  </a:lnTo>
                  <a:lnTo>
                    <a:pt x="14499" y="13535"/>
                  </a:lnTo>
                  <a:lnTo>
                    <a:pt x="14530" y="13401"/>
                  </a:lnTo>
                  <a:lnTo>
                    <a:pt x="14554" y="13265"/>
                  </a:lnTo>
                  <a:lnTo>
                    <a:pt x="14572" y="13127"/>
                  </a:lnTo>
                  <a:lnTo>
                    <a:pt x="14583" y="12986"/>
                  </a:lnTo>
                  <a:lnTo>
                    <a:pt x="14586" y="12844"/>
                  </a:lnTo>
                  <a:lnTo>
                    <a:pt x="14586" y="12088"/>
                  </a:lnTo>
                  <a:lnTo>
                    <a:pt x="14587" y="12088"/>
                  </a:lnTo>
                  <a:lnTo>
                    <a:pt x="14769" y="11942"/>
                  </a:lnTo>
                  <a:lnTo>
                    <a:pt x="14940" y="11788"/>
                  </a:lnTo>
                  <a:lnTo>
                    <a:pt x="15099" y="11626"/>
                  </a:lnTo>
                  <a:lnTo>
                    <a:pt x="15247" y="11457"/>
                  </a:lnTo>
                  <a:lnTo>
                    <a:pt x="15382" y="11280"/>
                  </a:lnTo>
                  <a:lnTo>
                    <a:pt x="15506" y="11099"/>
                  </a:lnTo>
                  <a:lnTo>
                    <a:pt x="15618" y="10912"/>
                  </a:lnTo>
                  <a:lnTo>
                    <a:pt x="15718" y="10718"/>
                  </a:lnTo>
                  <a:lnTo>
                    <a:pt x="15806" y="10522"/>
                  </a:lnTo>
                  <a:lnTo>
                    <a:pt x="15883" y="10321"/>
                  </a:lnTo>
                  <a:lnTo>
                    <a:pt x="15948" y="10117"/>
                  </a:lnTo>
                  <a:lnTo>
                    <a:pt x="16000" y="9910"/>
                  </a:lnTo>
                  <a:lnTo>
                    <a:pt x="16042" y="9701"/>
                  </a:lnTo>
                  <a:lnTo>
                    <a:pt x="16072" y="9490"/>
                  </a:lnTo>
                  <a:lnTo>
                    <a:pt x="16089" y="9279"/>
                  </a:lnTo>
                  <a:lnTo>
                    <a:pt x="16095" y="9066"/>
                  </a:lnTo>
                  <a:lnTo>
                    <a:pt x="16089" y="8854"/>
                  </a:lnTo>
                  <a:lnTo>
                    <a:pt x="16072" y="8642"/>
                  </a:lnTo>
                  <a:lnTo>
                    <a:pt x="16042" y="8432"/>
                  </a:lnTo>
                  <a:lnTo>
                    <a:pt x="16000" y="8222"/>
                  </a:lnTo>
                  <a:lnTo>
                    <a:pt x="15948" y="8016"/>
                  </a:lnTo>
                  <a:lnTo>
                    <a:pt x="15883" y="7811"/>
                  </a:lnTo>
                  <a:lnTo>
                    <a:pt x="15806" y="7611"/>
                  </a:lnTo>
                  <a:lnTo>
                    <a:pt x="15718" y="7413"/>
                  </a:lnTo>
                  <a:lnTo>
                    <a:pt x="15618" y="7221"/>
                  </a:lnTo>
                  <a:lnTo>
                    <a:pt x="15506" y="7033"/>
                  </a:lnTo>
                  <a:lnTo>
                    <a:pt x="15382" y="6852"/>
                  </a:lnTo>
                  <a:lnTo>
                    <a:pt x="15247" y="6676"/>
                  </a:lnTo>
                  <a:lnTo>
                    <a:pt x="15099" y="6507"/>
                  </a:lnTo>
                  <a:lnTo>
                    <a:pt x="14940" y="6344"/>
                  </a:lnTo>
                  <a:lnTo>
                    <a:pt x="14769" y="6190"/>
                  </a:lnTo>
                  <a:lnTo>
                    <a:pt x="14587" y="60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4" name="ïṩ1îḍe">
              <a:extLst>
                <a:ext uri="{FF2B5EF4-FFF2-40B4-BE49-F238E27FC236}">
                  <a16:creationId xmlns:a16="http://schemas.microsoft.com/office/drawing/2014/main" id="{CE660B93-4B74-4C8B-BF50-64999A756169}"/>
                </a:ext>
              </a:extLst>
            </p:cNvPr>
            <p:cNvSpPr/>
            <p:nvPr/>
          </p:nvSpPr>
          <p:spPr bwMode="auto">
            <a:xfrm>
              <a:off x="4143833" y="2524105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5" name="ïṧľidè">
              <a:extLst>
                <a:ext uri="{FF2B5EF4-FFF2-40B4-BE49-F238E27FC236}">
                  <a16:creationId xmlns:a16="http://schemas.microsoft.com/office/drawing/2014/main" id="{CCCCBC8F-9B5C-42E1-93E1-1885A69FA2E8}"/>
                </a:ext>
              </a:extLst>
            </p:cNvPr>
            <p:cNvSpPr/>
            <p:nvPr/>
          </p:nvSpPr>
          <p:spPr bwMode="auto">
            <a:xfrm>
              <a:off x="4232177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6" name="ïṥḻîḍè">
              <a:extLst>
                <a:ext uri="{FF2B5EF4-FFF2-40B4-BE49-F238E27FC236}">
                  <a16:creationId xmlns:a16="http://schemas.microsoft.com/office/drawing/2014/main" id="{30BED60A-FEC9-4666-96AD-A3B859EF4F49}"/>
                </a:ext>
              </a:extLst>
            </p:cNvPr>
            <p:cNvSpPr/>
            <p:nvPr/>
          </p:nvSpPr>
          <p:spPr bwMode="auto">
            <a:xfrm>
              <a:off x="4232177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7" name="îṣḻïďe">
              <a:extLst>
                <a:ext uri="{FF2B5EF4-FFF2-40B4-BE49-F238E27FC236}">
                  <a16:creationId xmlns:a16="http://schemas.microsoft.com/office/drawing/2014/main" id="{CB393EC2-2613-4567-B708-777DF3FABA9A}"/>
                </a:ext>
              </a:extLst>
            </p:cNvPr>
            <p:cNvSpPr/>
            <p:nvPr/>
          </p:nvSpPr>
          <p:spPr bwMode="auto">
            <a:xfrm>
              <a:off x="4232177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8" name="ïṧ1iḋê">
              <a:extLst>
                <a:ext uri="{FF2B5EF4-FFF2-40B4-BE49-F238E27FC236}">
                  <a16:creationId xmlns:a16="http://schemas.microsoft.com/office/drawing/2014/main" id="{088944BE-AACA-4093-A32C-F518EAEABF99}"/>
                </a:ext>
              </a:extLst>
            </p:cNvPr>
            <p:cNvSpPr/>
            <p:nvPr/>
          </p:nvSpPr>
          <p:spPr bwMode="auto">
            <a:xfrm>
              <a:off x="4320521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9" name="išḻîďe">
              <a:extLst>
                <a:ext uri="{FF2B5EF4-FFF2-40B4-BE49-F238E27FC236}">
                  <a16:creationId xmlns:a16="http://schemas.microsoft.com/office/drawing/2014/main" id="{F9AF2DE2-36E2-420E-8171-DE7646FC1975}"/>
                </a:ext>
              </a:extLst>
            </p:cNvPr>
            <p:cNvSpPr/>
            <p:nvPr/>
          </p:nvSpPr>
          <p:spPr bwMode="auto">
            <a:xfrm>
              <a:off x="4320521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0" name="îSḷïḑé">
              <a:extLst>
                <a:ext uri="{FF2B5EF4-FFF2-40B4-BE49-F238E27FC236}">
                  <a16:creationId xmlns:a16="http://schemas.microsoft.com/office/drawing/2014/main" id="{8600E0BF-1F89-4EEB-9550-2D515DBCFED1}"/>
                </a:ext>
              </a:extLst>
            </p:cNvPr>
            <p:cNvSpPr/>
            <p:nvPr/>
          </p:nvSpPr>
          <p:spPr bwMode="auto">
            <a:xfrm>
              <a:off x="4320521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1" name="î$ḻíḑé">
              <a:extLst>
                <a:ext uri="{FF2B5EF4-FFF2-40B4-BE49-F238E27FC236}">
                  <a16:creationId xmlns:a16="http://schemas.microsoft.com/office/drawing/2014/main" id="{E9FB316E-E4F8-4F2F-B89A-741034633A0F}"/>
                </a:ext>
              </a:extLst>
            </p:cNvPr>
            <p:cNvSpPr/>
            <p:nvPr/>
          </p:nvSpPr>
          <p:spPr bwMode="auto">
            <a:xfrm>
              <a:off x="4408866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2" name="ïṧľiḓé">
              <a:extLst>
                <a:ext uri="{FF2B5EF4-FFF2-40B4-BE49-F238E27FC236}">
                  <a16:creationId xmlns:a16="http://schemas.microsoft.com/office/drawing/2014/main" id="{789C1E39-3C26-4DF7-95B2-5576D995EC30}"/>
                </a:ext>
              </a:extLst>
            </p:cNvPr>
            <p:cNvSpPr/>
            <p:nvPr/>
          </p:nvSpPr>
          <p:spPr bwMode="auto">
            <a:xfrm>
              <a:off x="4408866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3" name="ïsľïḓé">
              <a:extLst>
                <a:ext uri="{FF2B5EF4-FFF2-40B4-BE49-F238E27FC236}">
                  <a16:creationId xmlns:a16="http://schemas.microsoft.com/office/drawing/2014/main" id="{6EBC17E0-E9D5-47CA-B2B5-3B5DADCF2FBE}"/>
                </a:ext>
              </a:extLst>
            </p:cNvPr>
            <p:cNvSpPr/>
            <p:nvPr/>
          </p:nvSpPr>
          <p:spPr bwMode="auto">
            <a:xfrm>
              <a:off x="4408866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4" name="iṣļîdè">
              <a:extLst>
                <a:ext uri="{FF2B5EF4-FFF2-40B4-BE49-F238E27FC236}">
                  <a16:creationId xmlns:a16="http://schemas.microsoft.com/office/drawing/2014/main" id="{B562FF29-4566-4142-AB05-98229AAF5E70}"/>
                </a:ext>
              </a:extLst>
            </p:cNvPr>
            <p:cNvSpPr/>
            <p:nvPr/>
          </p:nvSpPr>
          <p:spPr bwMode="auto">
            <a:xfrm>
              <a:off x="2621874" y="2019340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5" name="îśļîďè">
              <a:extLst>
                <a:ext uri="{FF2B5EF4-FFF2-40B4-BE49-F238E27FC236}">
                  <a16:creationId xmlns:a16="http://schemas.microsoft.com/office/drawing/2014/main" id="{8F9BEEF4-0DB9-4FA8-8857-261692874752}"/>
                </a:ext>
              </a:extLst>
            </p:cNvPr>
            <p:cNvSpPr/>
            <p:nvPr/>
          </p:nvSpPr>
          <p:spPr bwMode="auto">
            <a:xfrm>
              <a:off x="3700087" y="1717618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6" name="îṧ1íḋé">
              <a:extLst>
                <a:ext uri="{FF2B5EF4-FFF2-40B4-BE49-F238E27FC236}">
                  <a16:creationId xmlns:a16="http://schemas.microsoft.com/office/drawing/2014/main" id="{1317EC6C-9A67-4C6B-AD43-C2D1283CDB53}"/>
                </a:ext>
              </a:extLst>
            </p:cNvPr>
            <p:cNvSpPr/>
            <p:nvPr/>
          </p:nvSpPr>
          <p:spPr bwMode="auto">
            <a:xfrm>
              <a:off x="3719883" y="2452159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7" name="iṥlíḍè">
              <a:extLst>
                <a:ext uri="{FF2B5EF4-FFF2-40B4-BE49-F238E27FC236}">
                  <a16:creationId xmlns:a16="http://schemas.microsoft.com/office/drawing/2014/main" id="{A3453C31-2519-4AE0-82D0-C6B5EFA72AA7}"/>
                </a:ext>
              </a:extLst>
            </p:cNvPr>
            <p:cNvSpPr/>
            <p:nvPr/>
          </p:nvSpPr>
          <p:spPr bwMode="auto">
            <a:xfrm>
              <a:off x="3879902" y="2612178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8" name="îşlíḓê">
              <a:extLst>
                <a:ext uri="{FF2B5EF4-FFF2-40B4-BE49-F238E27FC236}">
                  <a16:creationId xmlns:a16="http://schemas.microsoft.com/office/drawing/2014/main" id="{2FBCC352-C9B5-4DD1-AC05-68A8627A55EB}"/>
                </a:ext>
              </a:extLst>
            </p:cNvPr>
            <p:cNvSpPr/>
            <p:nvPr/>
          </p:nvSpPr>
          <p:spPr bwMode="auto">
            <a:xfrm>
              <a:off x="3834423" y="2566699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9" name="îṣliḓê">
              <a:extLst>
                <a:ext uri="{FF2B5EF4-FFF2-40B4-BE49-F238E27FC236}">
                  <a16:creationId xmlns:a16="http://schemas.microsoft.com/office/drawing/2014/main" id="{847E8CB2-2254-4A31-AC9C-BAB359CE6703}"/>
                </a:ext>
              </a:extLst>
            </p:cNvPr>
            <p:cNvSpPr/>
            <p:nvPr/>
          </p:nvSpPr>
          <p:spPr bwMode="auto">
            <a:xfrm>
              <a:off x="3931276" y="2661867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0" name="ïş1îḑè">
              <a:extLst>
                <a:ext uri="{FF2B5EF4-FFF2-40B4-BE49-F238E27FC236}">
                  <a16:creationId xmlns:a16="http://schemas.microsoft.com/office/drawing/2014/main" id="{9708B58D-EFC6-48E4-86F6-03D83F76A46C}"/>
                </a:ext>
              </a:extLst>
            </p:cNvPr>
            <p:cNvSpPr/>
            <p:nvPr/>
          </p:nvSpPr>
          <p:spPr bwMode="auto">
            <a:xfrm>
              <a:off x="3948962" y="2678711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1" name="isḻiḑê">
              <a:extLst>
                <a:ext uri="{FF2B5EF4-FFF2-40B4-BE49-F238E27FC236}">
                  <a16:creationId xmlns:a16="http://schemas.microsoft.com/office/drawing/2014/main" id="{816F83D9-6F72-40D0-92CA-AF21264CAA2E}"/>
                </a:ext>
              </a:extLst>
            </p:cNvPr>
            <p:cNvSpPr/>
            <p:nvPr/>
          </p:nvSpPr>
          <p:spPr bwMode="auto">
            <a:xfrm>
              <a:off x="3940540" y="2670289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2" name="îṩḻîḓe">
              <a:extLst>
                <a:ext uri="{FF2B5EF4-FFF2-40B4-BE49-F238E27FC236}">
                  <a16:creationId xmlns:a16="http://schemas.microsoft.com/office/drawing/2014/main" id="{67A3DB24-7982-461F-82FB-CF3ED41372FA}"/>
                </a:ext>
              </a:extLst>
            </p:cNvPr>
            <p:cNvSpPr/>
            <p:nvPr/>
          </p:nvSpPr>
          <p:spPr bwMode="auto">
            <a:xfrm>
              <a:off x="3817579" y="2550696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3" name="íṧlide">
              <a:extLst>
                <a:ext uri="{FF2B5EF4-FFF2-40B4-BE49-F238E27FC236}">
                  <a16:creationId xmlns:a16="http://schemas.microsoft.com/office/drawing/2014/main" id="{D6F95D62-7EF6-4DB5-A699-861930CB6F42}"/>
                </a:ext>
              </a:extLst>
            </p:cNvPr>
            <p:cNvSpPr/>
            <p:nvPr/>
          </p:nvSpPr>
          <p:spPr bwMode="auto">
            <a:xfrm>
              <a:off x="3775468" y="2508586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4" name="iṡľïdè">
              <a:extLst>
                <a:ext uri="{FF2B5EF4-FFF2-40B4-BE49-F238E27FC236}">
                  <a16:creationId xmlns:a16="http://schemas.microsoft.com/office/drawing/2014/main" id="{3F4640E1-B4A3-4CC4-8C0B-102ACDC78D7E}"/>
                </a:ext>
              </a:extLst>
            </p:cNvPr>
            <p:cNvSpPr/>
            <p:nvPr/>
          </p:nvSpPr>
          <p:spPr bwMode="auto">
            <a:xfrm>
              <a:off x="3796523" y="2529642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5" name="iṩ1iḑè">
              <a:extLst>
                <a:ext uri="{FF2B5EF4-FFF2-40B4-BE49-F238E27FC236}">
                  <a16:creationId xmlns:a16="http://schemas.microsoft.com/office/drawing/2014/main" id="{0235680F-E42B-4109-A659-40E02A56327C}"/>
                </a:ext>
              </a:extLst>
            </p:cNvPr>
            <p:cNvSpPr/>
            <p:nvPr/>
          </p:nvSpPr>
          <p:spPr bwMode="auto">
            <a:xfrm>
              <a:off x="5421300" y="920137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6" name="îṥḻïḋè">
              <a:extLst>
                <a:ext uri="{FF2B5EF4-FFF2-40B4-BE49-F238E27FC236}">
                  <a16:creationId xmlns:a16="http://schemas.microsoft.com/office/drawing/2014/main" id="{08E940C5-DD6C-450E-9831-331763297165}"/>
                </a:ext>
              </a:extLst>
            </p:cNvPr>
            <p:cNvSpPr/>
            <p:nvPr/>
          </p:nvSpPr>
          <p:spPr bwMode="auto">
            <a:xfrm>
              <a:off x="4491279" y="170566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7" name="îṩľíḓè">
              <a:extLst>
                <a:ext uri="{FF2B5EF4-FFF2-40B4-BE49-F238E27FC236}">
                  <a16:creationId xmlns:a16="http://schemas.microsoft.com/office/drawing/2014/main" id="{5C606415-8DCF-4A12-A502-AC66B3DC83C4}"/>
                </a:ext>
              </a:extLst>
            </p:cNvPr>
            <p:cNvSpPr/>
            <p:nvPr/>
          </p:nvSpPr>
          <p:spPr bwMode="auto">
            <a:xfrm>
              <a:off x="4264207" y="162288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8" name="ïşḻiḓê">
              <a:extLst>
                <a:ext uri="{FF2B5EF4-FFF2-40B4-BE49-F238E27FC236}">
                  <a16:creationId xmlns:a16="http://schemas.microsoft.com/office/drawing/2014/main" id="{6D5921E8-5134-438F-9169-0269A00F23BA}"/>
                </a:ext>
              </a:extLst>
            </p:cNvPr>
            <p:cNvSpPr/>
            <p:nvPr/>
          </p:nvSpPr>
          <p:spPr bwMode="auto">
            <a:xfrm>
              <a:off x="4097976" y="538416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9" name="îšḻïḑè">
              <a:extLst>
                <a:ext uri="{FF2B5EF4-FFF2-40B4-BE49-F238E27FC236}">
                  <a16:creationId xmlns:a16="http://schemas.microsoft.com/office/drawing/2014/main" id="{55D881C8-03A9-4CDD-8D8A-529DBBA2B0E6}"/>
                </a:ext>
              </a:extLst>
            </p:cNvPr>
            <p:cNvSpPr/>
            <p:nvPr/>
          </p:nvSpPr>
          <p:spPr bwMode="auto">
            <a:xfrm>
              <a:off x="4365871" y="787981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0" name="ïṡ1íďe">
              <a:extLst>
                <a:ext uri="{FF2B5EF4-FFF2-40B4-BE49-F238E27FC236}">
                  <a16:creationId xmlns:a16="http://schemas.microsoft.com/office/drawing/2014/main" id="{AAE310D4-267B-4F67-A970-C4A09A8D1AFC}"/>
                </a:ext>
              </a:extLst>
            </p:cNvPr>
            <p:cNvSpPr/>
            <p:nvPr/>
          </p:nvSpPr>
          <p:spPr bwMode="auto">
            <a:xfrm>
              <a:off x="4615437" y="480607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1" name="ïśḻîde">
              <a:extLst>
                <a:ext uri="{FF2B5EF4-FFF2-40B4-BE49-F238E27FC236}">
                  <a16:creationId xmlns:a16="http://schemas.microsoft.com/office/drawing/2014/main" id="{2E313231-9FA8-4658-8F0F-67ECFAAEBE71}"/>
                </a:ext>
              </a:extLst>
            </p:cNvPr>
            <p:cNvSpPr/>
            <p:nvPr/>
          </p:nvSpPr>
          <p:spPr bwMode="auto">
            <a:xfrm>
              <a:off x="4251664" y="768241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2" name="íṥļiḍé">
              <a:extLst>
                <a:ext uri="{FF2B5EF4-FFF2-40B4-BE49-F238E27FC236}">
                  <a16:creationId xmlns:a16="http://schemas.microsoft.com/office/drawing/2014/main" id="{51B307E8-A992-4EBE-AFCC-93B57929C394}"/>
                </a:ext>
              </a:extLst>
            </p:cNvPr>
            <p:cNvSpPr/>
            <p:nvPr/>
          </p:nvSpPr>
          <p:spPr bwMode="auto">
            <a:xfrm>
              <a:off x="4327802" y="903599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3" name="ïŝļiďe">
              <a:extLst>
                <a:ext uri="{FF2B5EF4-FFF2-40B4-BE49-F238E27FC236}">
                  <a16:creationId xmlns:a16="http://schemas.microsoft.com/office/drawing/2014/main" id="{087B3740-D44C-4155-96E8-651F3E22CAA3}"/>
                </a:ext>
              </a:extLst>
            </p:cNvPr>
            <p:cNvSpPr/>
            <p:nvPr/>
          </p:nvSpPr>
          <p:spPr bwMode="auto">
            <a:xfrm>
              <a:off x="4635176" y="614555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4" name="íşḷiḑé">
              <a:extLst>
                <a:ext uri="{FF2B5EF4-FFF2-40B4-BE49-F238E27FC236}">
                  <a16:creationId xmlns:a16="http://schemas.microsoft.com/office/drawing/2014/main" id="{F483B394-90B8-40E9-AF75-548D4AE0AC00}"/>
                </a:ext>
              </a:extLst>
            </p:cNvPr>
            <p:cNvSpPr/>
            <p:nvPr/>
          </p:nvSpPr>
          <p:spPr bwMode="auto">
            <a:xfrm>
              <a:off x="1717176" y="11642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5" name="íṣḻîdê">
              <a:extLst>
                <a:ext uri="{FF2B5EF4-FFF2-40B4-BE49-F238E27FC236}">
                  <a16:creationId xmlns:a16="http://schemas.microsoft.com/office/drawing/2014/main" id="{5F337193-5E7A-4971-A33B-4F2E496F9461}"/>
                </a:ext>
              </a:extLst>
            </p:cNvPr>
            <p:cNvSpPr/>
            <p:nvPr/>
          </p:nvSpPr>
          <p:spPr bwMode="auto">
            <a:xfrm>
              <a:off x="1395669" y="1400908"/>
              <a:ext cx="195352" cy="158005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6" name="isľíḑè">
              <a:extLst>
                <a:ext uri="{FF2B5EF4-FFF2-40B4-BE49-F238E27FC236}">
                  <a16:creationId xmlns:a16="http://schemas.microsoft.com/office/drawing/2014/main" id="{6FA2817A-4670-44FC-BA26-03A2225004A6}"/>
                </a:ext>
              </a:extLst>
            </p:cNvPr>
            <p:cNvSpPr/>
            <p:nvPr/>
          </p:nvSpPr>
          <p:spPr bwMode="auto">
            <a:xfrm>
              <a:off x="1356886" y="1363561"/>
              <a:ext cx="312419" cy="244190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7" name="íśḻîḓe">
              <a:extLst>
                <a:ext uri="{FF2B5EF4-FFF2-40B4-BE49-F238E27FC236}">
                  <a16:creationId xmlns:a16="http://schemas.microsoft.com/office/drawing/2014/main" id="{59412C0A-BA32-45F9-A74A-48D57361D9EA}"/>
                </a:ext>
              </a:extLst>
            </p:cNvPr>
            <p:cNvSpPr/>
            <p:nvPr/>
          </p:nvSpPr>
          <p:spPr bwMode="auto">
            <a:xfrm>
              <a:off x="1601076" y="1412399"/>
              <a:ext cx="29446" cy="2944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8" name="íṥľíḋê">
              <a:extLst>
                <a:ext uri="{FF2B5EF4-FFF2-40B4-BE49-F238E27FC236}">
                  <a16:creationId xmlns:a16="http://schemas.microsoft.com/office/drawing/2014/main" id="{A9353315-C764-415D-A83D-1D8A1B0D98C6}"/>
                </a:ext>
              </a:extLst>
            </p:cNvPr>
            <p:cNvSpPr/>
            <p:nvPr/>
          </p:nvSpPr>
          <p:spPr bwMode="auto">
            <a:xfrm>
              <a:off x="1591021" y="1539522"/>
              <a:ext cx="39501" cy="9337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9" name="îŝľide">
              <a:extLst>
                <a:ext uri="{FF2B5EF4-FFF2-40B4-BE49-F238E27FC236}">
                  <a16:creationId xmlns:a16="http://schemas.microsoft.com/office/drawing/2014/main" id="{D9E64DB2-3844-4CE2-8D97-C3A8E4DDBA90}"/>
                </a:ext>
              </a:extLst>
            </p:cNvPr>
            <p:cNvSpPr/>
            <p:nvPr/>
          </p:nvSpPr>
          <p:spPr bwMode="auto">
            <a:xfrm>
              <a:off x="1601076" y="1510075"/>
              <a:ext cx="38783" cy="10055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0" name="íṥļíḋè">
              <a:extLst>
                <a:ext uri="{FF2B5EF4-FFF2-40B4-BE49-F238E27FC236}">
                  <a16:creationId xmlns:a16="http://schemas.microsoft.com/office/drawing/2014/main" id="{AE94B1AC-B250-4FD9-8EB1-4489A51DA852}"/>
                </a:ext>
              </a:extLst>
            </p:cNvPr>
            <p:cNvSpPr/>
            <p:nvPr/>
          </p:nvSpPr>
          <p:spPr bwMode="auto">
            <a:xfrm>
              <a:off x="1601076" y="1480629"/>
              <a:ext cx="38783" cy="10055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1" name="íŝľîḓè">
              <a:extLst>
                <a:ext uri="{FF2B5EF4-FFF2-40B4-BE49-F238E27FC236}">
                  <a16:creationId xmlns:a16="http://schemas.microsoft.com/office/drawing/2014/main" id="{7444978E-2EE7-4D42-A2D1-F7C2CCAFF2B2}"/>
                </a:ext>
              </a:extLst>
            </p:cNvPr>
            <p:cNvSpPr/>
            <p:nvPr/>
          </p:nvSpPr>
          <p:spPr bwMode="auto">
            <a:xfrm>
              <a:off x="1435170" y="1439691"/>
              <a:ext cx="58174" cy="40938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2" name="iṩ1iḓé">
              <a:extLst>
                <a:ext uri="{FF2B5EF4-FFF2-40B4-BE49-F238E27FC236}">
                  <a16:creationId xmlns:a16="http://schemas.microsoft.com/office/drawing/2014/main" id="{07AC56FA-7BA9-4D9A-8633-9FCA411D243F}"/>
                </a:ext>
              </a:extLst>
            </p:cNvPr>
            <p:cNvSpPr/>
            <p:nvPr/>
          </p:nvSpPr>
          <p:spPr bwMode="auto">
            <a:xfrm>
              <a:off x="1650029" y="1484568"/>
              <a:ext cx="287159" cy="287159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3" name="iš1îďe">
              <a:extLst>
                <a:ext uri="{FF2B5EF4-FFF2-40B4-BE49-F238E27FC236}">
                  <a16:creationId xmlns:a16="http://schemas.microsoft.com/office/drawing/2014/main" id="{CCF6A313-4860-4C98-B69C-C1CB1BDE4111}"/>
                </a:ext>
              </a:extLst>
            </p:cNvPr>
            <p:cNvSpPr/>
            <p:nvPr/>
          </p:nvSpPr>
          <p:spPr bwMode="auto">
            <a:xfrm>
              <a:off x="1766481" y="1529561"/>
              <a:ext cx="67489" cy="67489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4" name="íSľiďè">
              <a:extLst>
                <a:ext uri="{FF2B5EF4-FFF2-40B4-BE49-F238E27FC236}">
                  <a16:creationId xmlns:a16="http://schemas.microsoft.com/office/drawing/2014/main" id="{3783BE8F-4799-4E77-B921-BB1452826E47}"/>
                </a:ext>
              </a:extLst>
            </p:cNvPr>
            <p:cNvSpPr/>
            <p:nvPr/>
          </p:nvSpPr>
          <p:spPr bwMode="auto">
            <a:xfrm>
              <a:off x="1813649" y="1712024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5" name="í$1íďe">
              <a:extLst>
                <a:ext uri="{FF2B5EF4-FFF2-40B4-BE49-F238E27FC236}">
                  <a16:creationId xmlns:a16="http://schemas.microsoft.com/office/drawing/2014/main" id="{F0A423F4-2814-4585-8758-9F950B536115}"/>
                </a:ext>
              </a:extLst>
            </p:cNvPr>
            <p:cNvSpPr/>
            <p:nvPr/>
          </p:nvSpPr>
          <p:spPr bwMode="auto">
            <a:xfrm>
              <a:off x="1876812" y="1776455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6" name="ï$1íḋe">
              <a:extLst>
                <a:ext uri="{FF2B5EF4-FFF2-40B4-BE49-F238E27FC236}">
                  <a16:creationId xmlns:a16="http://schemas.microsoft.com/office/drawing/2014/main" id="{682E43D4-53E0-4F89-9A58-C6463E343F4B}"/>
                </a:ext>
              </a:extLst>
            </p:cNvPr>
            <p:cNvSpPr/>
            <p:nvPr/>
          </p:nvSpPr>
          <p:spPr bwMode="auto">
            <a:xfrm>
              <a:off x="2022460" y="1515372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7" name="îŝḷïḋé">
              <a:extLst>
                <a:ext uri="{FF2B5EF4-FFF2-40B4-BE49-F238E27FC236}">
                  <a16:creationId xmlns:a16="http://schemas.microsoft.com/office/drawing/2014/main" id="{61491CAA-8B0A-498E-A6FD-5501DFF9BF0D}"/>
                </a:ext>
              </a:extLst>
            </p:cNvPr>
            <p:cNvSpPr/>
            <p:nvPr/>
          </p:nvSpPr>
          <p:spPr bwMode="auto">
            <a:xfrm>
              <a:off x="1988346" y="1481258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8" name="îṥ1ïďe">
              <a:extLst>
                <a:ext uri="{FF2B5EF4-FFF2-40B4-BE49-F238E27FC236}">
                  <a16:creationId xmlns:a16="http://schemas.microsoft.com/office/drawing/2014/main" id="{7781461B-24F9-45B6-9C9D-D8FF62A3E42C}"/>
                </a:ext>
              </a:extLst>
            </p:cNvPr>
            <p:cNvSpPr/>
            <p:nvPr/>
          </p:nvSpPr>
          <p:spPr bwMode="auto">
            <a:xfrm>
              <a:off x="5893447" y="138117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9" name="ïṧḷîďe">
              <a:extLst>
                <a:ext uri="{FF2B5EF4-FFF2-40B4-BE49-F238E27FC236}">
                  <a16:creationId xmlns:a16="http://schemas.microsoft.com/office/drawing/2014/main" id="{15F5CE8B-EB39-42AD-8D97-51BA2FB17B0E}"/>
                </a:ext>
              </a:extLst>
            </p:cNvPr>
            <p:cNvSpPr/>
            <p:nvPr/>
          </p:nvSpPr>
          <p:spPr bwMode="auto">
            <a:xfrm>
              <a:off x="5791178" y="35848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0" name="i$ḷiḋé">
              <a:extLst>
                <a:ext uri="{FF2B5EF4-FFF2-40B4-BE49-F238E27FC236}">
                  <a16:creationId xmlns:a16="http://schemas.microsoft.com/office/drawing/2014/main" id="{8ED71717-84FB-4153-BAB7-A1C82211AC68}"/>
                </a:ext>
              </a:extLst>
            </p:cNvPr>
            <p:cNvSpPr/>
            <p:nvPr/>
          </p:nvSpPr>
          <p:spPr bwMode="auto">
            <a:xfrm>
              <a:off x="5665456" y="574997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1" name="íṣļiḋè">
              <a:extLst>
                <a:ext uri="{FF2B5EF4-FFF2-40B4-BE49-F238E27FC236}">
                  <a16:creationId xmlns:a16="http://schemas.microsoft.com/office/drawing/2014/main" id="{193C58D7-E04A-4668-A319-53645314DEFC}"/>
                </a:ext>
              </a:extLst>
            </p:cNvPr>
            <p:cNvSpPr/>
            <p:nvPr/>
          </p:nvSpPr>
          <p:spPr bwMode="auto">
            <a:xfrm>
              <a:off x="5599422" y="512185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2" name="íṧļiďe">
              <a:extLst>
                <a:ext uri="{FF2B5EF4-FFF2-40B4-BE49-F238E27FC236}">
                  <a16:creationId xmlns:a16="http://schemas.microsoft.com/office/drawing/2014/main" id="{DACAE904-AFF3-41FA-AA12-785AA84DDD50}"/>
                </a:ext>
              </a:extLst>
            </p:cNvPr>
            <p:cNvSpPr/>
            <p:nvPr/>
          </p:nvSpPr>
          <p:spPr bwMode="auto">
            <a:xfrm>
              <a:off x="3877745" y="1882567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3" name="íṡḷîḍè">
              <a:extLst>
                <a:ext uri="{FF2B5EF4-FFF2-40B4-BE49-F238E27FC236}">
                  <a16:creationId xmlns:a16="http://schemas.microsoft.com/office/drawing/2014/main" id="{37DCBB88-C2C0-4B8B-BC8D-BC22BA3E5792}"/>
                </a:ext>
              </a:extLst>
            </p:cNvPr>
            <p:cNvSpPr/>
            <p:nvPr/>
          </p:nvSpPr>
          <p:spPr bwMode="auto">
            <a:xfrm>
              <a:off x="5272463" y="1428986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4" name="íṩlïḑe">
              <a:extLst>
                <a:ext uri="{FF2B5EF4-FFF2-40B4-BE49-F238E27FC236}">
                  <a16:creationId xmlns:a16="http://schemas.microsoft.com/office/drawing/2014/main" id="{B7095DE3-BB55-442B-B42D-BEA9966191EA}"/>
                </a:ext>
              </a:extLst>
            </p:cNvPr>
            <p:cNvSpPr/>
            <p:nvPr/>
          </p:nvSpPr>
          <p:spPr bwMode="auto">
            <a:xfrm>
              <a:off x="5321910" y="1478433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5" name="íślïḋe">
              <a:extLst>
                <a:ext uri="{FF2B5EF4-FFF2-40B4-BE49-F238E27FC236}">
                  <a16:creationId xmlns:a16="http://schemas.microsoft.com/office/drawing/2014/main" id="{8E12994E-7D74-498D-8DB3-3B358BE64FF2}"/>
                </a:ext>
              </a:extLst>
            </p:cNvPr>
            <p:cNvSpPr/>
            <p:nvPr/>
          </p:nvSpPr>
          <p:spPr bwMode="auto">
            <a:xfrm>
              <a:off x="5472083" y="1515976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6" name="íṣľiḓé">
              <a:extLst>
                <a:ext uri="{FF2B5EF4-FFF2-40B4-BE49-F238E27FC236}">
                  <a16:creationId xmlns:a16="http://schemas.microsoft.com/office/drawing/2014/main" id="{947582E0-142C-4C11-B062-44C5CA1052CA}"/>
                </a:ext>
              </a:extLst>
            </p:cNvPr>
            <p:cNvSpPr/>
            <p:nvPr/>
          </p:nvSpPr>
          <p:spPr bwMode="auto">
            <a:xfrm>
              <a:off x="5087248" y="1899537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7" name="iṥlîḍe">
              <a:extLst>
                <a:ext uri="{FF2B5EF4-FFF2-40B4-BE49-F238E27FC236}">
                  <a16:creationId xmlns:a16="http://schemas.microsoft.com/office/drawing/2014/main" id="{980DE9B9-9D52-4BFF-84F6-CC2B3F0F87D2}"/>
                </a:ext>
              </a:extLst>
            </p:cNvPr>
            <p:cNvSpPr/>
            <p:nvPr/>
          </p:nvSpPr>
          <p:spPr bwMode="auto">
            <a:xfrm>
              <a:off x="5355143" y="2149102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8" name="îšḻíḋé">
              <a:extLst>
                <a:ext uri="{FF2B5EF4-FFF2-40B4-BE49-F238E27FC236}">
                  <a16:creationId xmlns:a16="http://schemas.microsoft.com/office/drawing/2014/main" id="{4BADB044-8DD8-4681-BC38-D7B45B0CC3F1}"/>
                </a:ext>
              </a:extLst>
            </p:cNvPr>
            <p:cNvSpPr/>
            <p:nvPr/>
          </p:nvSpPr>
          <p:spPr bwMode="auto">
            <a:xfrm>
              <a:off x="5604709" y="1841728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9" name="íṡḷiḓê">
              <a:extLst>
                <a:ext uri="{FF2B5EF4-FFF2-40B4-BE49-F238E27FC236}">
                  <a16:creationId xmlns:a16="http://schemas.microsoft.com/office/drawing/2014/main" id="{A5C220B6-191E-4237-BB78-D74BAFECC9ED}"/>
                </a:ext>
              </a:extLst>
            </p:cNvPr>
            <p:cNvSpPr/>
            <p:nvPr/>
          </p:nvSpPr>
          <p:spPr bwMode="auto">
            <a:xfrm>
              <a:off x="5240936" y="2129362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0" name="íṡ1íḓê">
              <a:extLst>
                <a:ext uri="{FF2B5EF4-FFF2-40B4-BE49-F238E27FC236}">
                  <a16:creationId xmlns:a16="http://schemas.microsoft.com/office/drawing/2014/main" id="{3E6F822D-CBAB-4FC1-83A0-DD889D624F9E}"/>
                </a:ext>
              </a:extLst>
            </p:cNvPr>
            <p:cNvSpPr/>
            <p:nvPr/>
          </p:nvSpPr>
          <p:spPr bwMode="auto">
            <a:xfrm>
              <a:off x="5317074" y="2264720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1" name="íṣľíḓe">
              <a:extLst>
                <a:ext uri="{FF2B5EF4-FFF2-40B4-BE49-F238E27FC236}">
                  <a16:creationId xmlns:a16="http://schemas.microsoft.com/office/drawing/2014/main" id="{04E79501-45FE-421A-A2A4-73F45CF5F443}"/>
                </a:ext>
              </a:extLst>
            </p:cNvPr>
            <p:cNvSpPr/>
            <p:nvPr/>
          </p:nvSpPr>
          <p:spPr bwMode="auto">
            <a:xfrm>
              <a:off x="5624448" y="1975676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2" name="ï$ļiḑê">
              <a:extLst>
                <a:ext uri="{FF2B5EF4-FFF2-40B4-BE49-F238E27FC236}">
                  <a16:creationId xmlns:a16="http://schemas.microsoft.com/office/drawing/2014/main" id="{9991AD0F-3DBE-4939-B6A4-A99214E3F7BA}"/>
                </a:ext>
              </a:extLst>
            </p:cNvPr>
            <p:cNvSpPr/>
            <p:nvPr/>
          </p:nvSpPr>
          <p:spPr bwMode="auto">
            <a:xfrm>
              <a:off x="6810091" y="89716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3" name="íṧ1iḋé">
              <a:extLst>
                <a:ext uri="{FF2B5EF4-FFF2-40B4-BE49-F238E27FC236}">
                  <a16:creationId xmlns:a16="http://schemas.microsoft.com/office/drawing/2014/main" id="{F045F73F-C7CF-49F5-92FF-7865204B620D}"/>
                </a:ext>
              </a:extLst>
            </p:cNvPr>
            <p:cNvSpPr/>
            <p:nvPr/>
          </p:nvSpPr>
          <p:spPr bwMode="auto">
            <a:xfrm>
              <a:off x="6631361" y="48993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4" name="iš1îḍê">
              <a:extLst>
                <a:ext uri="{FF2B5EF4-FFF2-40B4-BE49-F238E27FC236}">
                  <a16:creationId xmlns:a16="http://schemas.microsoft.com/office/drawing/2014/main" id="{61DDB54F-C4A8-438A-8519-96090B6F02A8}"/>
                </a:ext>
              </a:extLst>
            </p:cNvPr>
            <p:cNvSpPr/>
            <p:nvPr/>
          </p:nvSpPr>
          <p:spPr bwMode="auto">
            <a:xfrm>
              <a:off x="6805566" y="48993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5" name="ísḻîḓè">
              <a:extLst>
                <a:ext uri="{FF2B5EF4-FFF2-40B4-BE49-F238E27FC236}">
                  <a16:creationId xmlns:a16="http://schemas.microsoft.com/office/drawing/2014/main" id="{36330551-30DD-4B84-A21B-E92EBA4B90D1}"/>
                </a:ext>
              </a:extLst>
            </p:cNvPr>
            <p:cNvSpPr/>
            <p:nvPr/>
          </p:nvSpPr>
          <p:spPr bwMode="auto">
            <a:xfrm>
              <a:off x="6926271" y="1010027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6" name="îŝḷíḋê">
              <a:extLst>
                <a:ext uri="{FF2B5EF4-FFF2-40B4-BE49-F238E27FC236}">
                  <a16:creationId xmlns:a16="http://schemas.microsoft.com/office/drawing/2014/main" id="{EA32E7B1-6A4D-4D84-B1B5-D266117CFED8}"/>
                </a:ext>
              </a:extLst>
            </p:cNvPr>
            <p:cNvSpPr/>
            <p:nvPr/>
          </p:nvSpPr>
          <p:spPr bwMode="auto">
            <a:xfrm>
              <a:off x="8795931" y="50286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7" name="îs1ïḓê">
              <a:extLst>
                <a:ext uri="{FF2B5EF4-FFF2-40B4-BE49-F238E27FC236}">
                  <a16:creationId xmlns:a16="http://schemas.microsoft.com/office/drawing/2014/main" id="{F44304F2-6DBC-4CD2-BFBB-0C6B3BC49E43}"/>
                </a:ext>
              </a:extLst>
            </p:cNvPr>
            <p:cNvSpPr/>
            <p:nvPr/>
          </p:nvSpPr>
          <p:spPr bwMode="auto">
            <a:xfrm>
              <a:off x="6725319" y="360183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8" name="ï$ḻïďê">
              <a:extLst>
                <a:ext uri="{FF2B5EF4-FFF2-40B4-BE49-F238E27FC236}">
                  <a16:creationId xmlns:a16="http://schemas.microsoft.com/office/drawing/2014/main" id="{71A27C20-B981-4CD3-9522-5275ABF3B747}"/>
                </a:ext>
              </a:extLst>
            </p:cNvPr>
            <p:cNvSpPr/>
            <p:nvPr/>
          </p:nvSpPr>
          <p:spPr bwMode="auto">
            <a:xfrm>
              <a:off x="6955145" y="475801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9" name="ïs1íḋê">
              <a:extLst>
                <a:ext uri="{FF2B5EF4-FFF2-40B4-BE49-F238E27FC236}">
                  <a16:creationId xmlns:a16="http://schemas.microsoft.com/office/drawing/2014/main" id="{FCBAB853-3775-4CCB-AD1D-927BCDD9DEF2}"/>
                </a:ext>
              </a:extLst>
            </p:cNvPr>
            <p:cNvSpPr/>
            <p:nvPr/>
          </p:nvSpPr>
          <p:spPr bwMode="auto">
            <a:xfrm>
              <a:off x="6897336" y="417992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0" name="ïṣ1îḋé">
              <a:extLst>
                <a:ext uri="{FF2B5EF4-FFF2-40B4-BE49-F238E27FC236}">
                  <a16:creationId xmlns:a16="http://schemas.microsoft.com/office/drawing/2014/main" id="{CEB45053-4478-4AF3-806D-B9805B69D66D}"/>
                </a:ext>
              </a:extLst>
            </p:cNvPr>
            <p:cNvSpPr/>
            <p:nvPr/>
          </p:nvSpPr>
          <p:spPr bwMode="auto">
            <a:xfrm>
              <a:off x="6817553" y="835601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1" name="í$ľíḓê">
              <a:extLst>
                <a:ext uri="{FF2B5EF4-FFF2-40B4-BE49-F238E27FC236}">
                  <a16:creationId xmlns:a16="http://schemas.microsoft.com/office/drawing/2014/main" id="{8CE14C00-5C50-44C5-9360-46D7D71352C7}"/>
                </a:ext>
              </a:extLst>
            </p:cNvPr>
            <p:cNvSpPr/>
            <p:nvPr/>
          </p:nvSpPr>
          <p:spPr bwMode="auto">
            <a:xfrm>
              <a:off x="6751519" y="772789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2" name="işľiḑe">
              <a:extLst>
                <a:ext uri="{FF2B5EF4-FFF2-40B4-BE49-F238E27FC236}">
                  <a16:creationId xmlns:a16="http://schemas.microsoft.com/office/drawing/2014/main" id="{40220C21-0221-4780-8A4F-938226F40627}"/>
                </a:ext>
              </a:extLst>
            </p:cNvPr>
            <p:cNvSpPr/>
            <p:nvPr/>
          </p:nvSpPr>
          <p:spPr bwMode="auto">
            <a:xfrm>
              <a:off x="8347248" y="732952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3" name="îṡliḓè">
              <a:extLst>
                <a:ext uri="{FF2B5EF4-FFF2-40B4-BE49-F238E27FC236}">
                  <a16:creationId xmlns:a16="http://schemas.microsoft.com/office/drawing/2014/main" id="{1908A908-73C2-4F4C-9F2B-B1AAB24D4827}"/>
                </a:ext>
              </a:extLst>
            </p:cNvPr>
            <p:cNvSpPr/>
            <p:nvPr/>
          </p:nvSpPr>
          <p:spPr bwMode="auto">
            <a:xfrm>
              <a:off x="9117135" y="54219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4" name="iś1ïḓé">
              <a:extLst>
                <a:ext uri="{FF2B5EF4-FFF2-40B4-BE49-F238E27FC236}">
                  <a16:creationId xmlns:a16="http://schemas.microsoft.com/office/drawing/2014/main" id="{EF520969-BC3E-433E-AA6C-55E217795917}"/>
                </a:ext>
              </a:extLst>
            </p:cNvPr>
            <p:cNvSpPr/>
            <p:nvPr/>
          </p:nvSpPr>
          <p:spPr bwMode="auto">
            <a:xfrm>
              <a:off x="9177544" y="114628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5" name="ísľïḍé">
              <a:extLst>
                <a:ext uri="{FF2B5EF4-FFF2-40B4-BE49-F238E27FC236}">
                  <a16:creationId xmlns:a16="http://schemas.microsoft.com/office/drawing/2014/main" id="{DCAB98E0-1D4B-4FEA-B493-D589E227D901}"/>
                </a:ext>
              </a:extLst>
            </p:cNvPr>
            <p:cNvSpPr/>
            <p:nvPr/>
          </p:nvSpPr>
          <p:spPr bwMode="auto">
            <a:xfrm>
              <a:off x="8743115" y="289307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6" name="îSḻîḍè">
              <a:extLst>
                <a:ext uri="{FF2B5EF4-FFF2-40B4-BE49-F238E27FC236}">
                  <a16:creationId xmlns:a16="http://schemas.microsoft.com/office/drawing/2014/main" id="{E1489EE1-268D-4FA2-B4E3-795290052747}"/>
                </a:ext>
              </a:extLst>
            </p:cNvPr>
            <p:cNvSpPr/>
            <p:nvPr/>
          </p:nvSpPr>
          <p:spPr bwMode="auto">
            <a:xfrm>
              <a:off x="8934872" y="653080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7" name="íṣļiďê">
              <a:extLst>
                <a:ext uri="{FF2B5EF4-FFF2-40B4-BE49-F238E27FC236}">
                  <a16:creationId xmlns:a16="http://schemas.microsoft.com/office/drawing/2014/main" id="{33581BC7-00E1-4047-BB01-4045E18BC7DE}"/>
                </a:ext>
              </a:extLst>
            </p:cNvPr>
            <p:cNvSpPr/>
            <p:nvPr/>
          </p:nvSpPr>
          <p:spPr bwMode="auto">
            <a:xfrm>
              <a:off x="8676037" y="1371719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8" name="íṥľïďê">
              <a:extLst>
                <a:ext uri="{FF2B5EF4-FFF2-40B4-BE49-F238E27FC236}">
                  <a16:creationId xmlns:a16="http://schemas.microsoft.com/office/drawing/2014/main" id="{B0DA0330-DA0E-4E31-B79C-A71937F7DD60}"/>
                </a:ext>
              </a:extLst>
            </p:cNvPr>
            <p:cNvSpPr/>
            <p:nvPr/>
          </p:nvSpPr>
          <p:spPr bwMode="auto">
            <a:xfrm>
              <a:off x="8746210" y="1395302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9" name="îŝḻïḍê">
              <a:extLst>
                <a:ext uri="{FF2B5EF4-FFF2-40B4-BE49-F238E27FC236}">
                  <a16:creationId xmlns:a16="http://schemas.microsoft.com/office/drawing/2014/main" id="{A1AACE87-1148-4C46-8300-48B8C22777F7}"/>
                </a:ext>
              </a:extLst>
            </p:cNvPr>
            <p:cNvSpPr/>
            <p:nvPr/>
          </p:nvSpPr>
          <p:spPr bwMode="auto">
            <a:xfrm>
              <a:off x="8754263" y="1590293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0" name="íṩľïdé">
              <a:extLst>
                <a:ext uri="{FF2B5EF4-FFF2-40B4-BE49-F238E27FC236}">
                  <a16:creationId xmlns:a16="http://schemas.microsoft.com/office/drawing/2014/main" id="{EEDA9D39-E623-4F43-BCF9-CEC7BCD5503C}"/>
                </a:ext>
              </a:extLst>
            </p:cNvPr>
            <p:cNvSpPr/>
            <p:nvPr/>
          </p:nvSpPr>
          <p:spPr bwMode="auto">
            <a:xfrm>
              <a:off x="8621930" y="931816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1" name="ísļïḑé">
              <a:extLst>
                <a:ext uri="{FF2B5EF4-FFF2-40B4-BE49-F238E27FC236}">
                  <a16:creationId xmlns:a16="http://schemas.microsoft.com/office/drawing/2014/main" id="{1CE96EEC-12F9-4F4E-BF0F-2D303A22BADD}"/>
                </a:ext>
              </a:extLst>
            </p:cNvPr>
            <p:cNvSpPr/>
            <p:nvPr/>
          </p:nvSpPr>
          <p:spPr bwMode="auto">
            <a:xfrm>
              <a:off x="8465445" y="44764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2" name="işḻîḑe">
              <a:extLst>
                <a:ext uri="{FF2B5EF4-FFF2-40B4-BE49-F238E27FC236}">
                  <a16:creationId xmlns:a16="http://schemas.microsoft.com/office/drawing/2014/main" id="{79984BA3-E7BA-4AB5-8CBD-56782CBD2B8F}"/>
                </a:ext>
              </a:extLst>
            </p:cNvPr>
            <p:cNvSpPr/>
            <p:nvPr/>
          </p:nvSpPr>
          <p:spPr bwMode="auto">
            <a:xfrm>
              <a:off x="8602489" y="53422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3" name="ïSľiḍe">
              <a:extLst>
                <a:ext uri="{FF2B5EF4-FFF2-40B4-BE49-F238E27FC236}">
                  <a16:creationId xmlns:a16="http://schemas.microsoft.com/office/drawing/2014/main" id="{04F4F3C9-9B5B-449A-8F87-4DE569876989}"/>
                </a:ext>
              </a:extLst>
            </p:cNvPr>
            <p:cNvSpPr/>
            <p:nvPr/>
          </p:nvSpPr>
          <p:spPr bwMode="auto">
            <a:xfrm>
              <a:off x="8602489" y="51245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4" name="iṡlíḋé">
              <a:extLst>
                <a:ext uri="{FF2B5EF4-FFF2-40B4-BE49-F238E27FC236}">
                  <a16:creationId xmlns:a16="http://schemas.microsoft.com/office/drawing/2014/main" id="{B56DDDD8-552D-4776-9CB9-E0AC0B195FE9}"/>
                </a:ext>
              </a:extLst>
            </p:cNvPr>
            <p:cNvSpPr/>
            <p:nvPr/>
          </p:nvSpPr>
          <p:spPr bwMode="auto">
            <a:xfrm>
              <a:off x="8602489" y="49120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5" name="îṧḷïdê">
              <a:extLst>
                <a:ext uri="{FF2B5EF4-FFF2-40B4-BE49-F238E27FC236}">
                  <a16:creationId xmlns:a16="http://schemas.microsoft.com/office/drawing/2014/main" id="{02C9821D-5E9A-49D0-A8F2-9FAC826F26DA}"/>
                </a:ext>
              </a:extLst>
            </p:cNvPr>
            <p:cNvSpPr/>
            <p:nvPr/>
          </p:nvSpPr>
          <p:spPr bwMode="auto">
            <a:xfrm>
              <a:off x="8523343" y="64258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6" name="iṣļïḓé">
              <a:extLst>
                <a:ext uri="{FF2B5EF4-FFF2-40B4-BE49-F238E27FC236}">
                  <a16:creationId xmlns:a16="http://schemas.microsoft.com/office/drawing/2014/main" id="{61CB01BB-A847-411D-938F-8442A7A587E5}"/>
                </a:ext>
              </a:extLst>
            </p:cNvPr>
            <p:cNvSpPr/>
            <p:nvPr/>
          </p:nvSpPr>
          <p:spPr bwMode="auto">
            <a:xfrm>
              <a:off x="8523343" y="62081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7" name="íŝ1ïḑê">
              <a:extLst>
                <a:ext uri="{FF2B5EF4-FFF2-40B4-BE49-F238E27FC236}">
                  <a16:creationId xmlns:a16="http://schemas.microsoft.com/office/drawing/2014/main" id="{73EC36CD-F5B9-4632-AF51-4B6C8476FE7A}"/>
                </a:ext>
              </a:extLst>
            </p:cNvPr>
            <p:cNvSpPr/>
            <p:nvPr/>
          </p:nvSpPr>
          <p:spPr bwMode="auto">
            <a:xfrm>
              <a:off x="8523343" y="59956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8" name="ïş1ïdè">
              <a:extLst>
                <a:ext uri="{FF2B5EF4-FFF2-40B4-BE49-F238E27FC236}">
                  <a16:creationId xmlns:a16="http://schemas.microsoft.com/office/drawing/2014/main" id="{83F34FCD-A7A7-49F0-B8B4-38ADB93AF437}"/>
                </a:ext>
              </a:extLst>
            </p:cNvPr>
            <p:cNvSpPr/>
            <p:nvPr/>
          </p:nvSpPr>
          <p:spPr bwMode="auto">
            <a:xfrm>
              <a:off x="8602489" y="64258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9" name="îś1iḓé">
              <a:extLst>
                <a:ext uri="{FF2B5EF4-FFF2-40B4-BE49-F238E27FC236}">
                  <a16:creationId xmlns:a16="http://schemas.microsoft.com/office/drawing/2014/main" id="{7123F099-5019-4A70-AFD4-40AA26E69CCA}"/>
                </a:ext>
              </a:extLst>
            </p:cNvPr>
            <p:cNvSpPr/>
            <p:nvPr/>
          </p:nvSpPr>
          <p:spPr bwMode="auto">
            <a:xfrm>
              <a:off x="8602489" y="62081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0" name="íšḻïdé">
              <a:extLst>
                <a:ext uri="{FF2B5EF4-FFF2-40B4-BE49-F238E27FC236}">
                  <a16:creationId xmlns:a16="http://schemas.microsoft.com/office/drawing/2014/main" id="{BCB533E0-91FF-46A9-88E3-D11CF42D5966}"/>
                </a:ext>
              </a:extLst>
            </p:cNvPr>
            <p:cNvSpPr/>
            <p:nvPr/>
          </p:nvSpPr>
          <p:spPr bwMode="auto">
            <a:xfrm>
              <a:off x="8602489" y="59956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1" name="ïśḻiḓe">
              <a:extLst>
                <a:ext uri="{FF2B5EF4-FFF2-40B4-BE49-F238E27FC236}">
                  <a16:creationId xmlns:a16="http://schemas.microsoft.com/office/drawing/2014/main" id="{2B100234-E43B-4853-9C47-9CE612E5E891}"/>
                </a:ext>
              </a:extLst>
            </p:cNvPr>
            <p:cNvSpPr/>
            <p:nvPr/>
          </p:nvSpPr>
          <p:spPr bwMode="auto">
            <a:xfrm>
              <a:off x="8523343" y="55600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2" name="íṧlîḓé">
              <a:extLst>
                <a:ext uri="{FF2B5EF4-FFF2-40B4-BE49-F238E27FC236}">
                  <a16:creationId xmlns:a16="http://schemas.microsoft.com/office/drawing/2014/main" id="{85F1F9E3-CAF6-4674-A2EE-AFAB9828A82C}"/>
                </a:ext>
              </a:extLst>
            </p:cNvPr>
            <p:cNvSpPr/>
            <p:nvPr/>
          </p:nvSpPr>
          <p:spPr bwMode="auto">
            <a:xfrm>
              <a:off x="8523343" y="57778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3" name="i$ḷíḍè">
              <a:extLst>
                <a:ext uri="{FF2B5EF4-FFF2-40B4-BE49-F238E27FC236}">
                  <a16:creationId xmlns:a16="http://schemas.microsoft.com/office/drawing/2014/main" id="{3364D549-5641-441B-8D1B-89FEAD7712C6}"/>
                </a:ext>
              </a:extLst>
            </p:cNvPr>
            <p:cNvSpPr/>
            <p:nvPr/>
          </p:nvSpPr>
          <p:spPr bwMode="auto">
            <a:xfrm>
              <a:off x="8523343" y="47633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4" name="îšḷíḍê">
              <a:extLst>
                <a:ext uri="{FF2B5EF4-FFF2-40B4-BE49-F238E27FC236}">
                  <a16:creationId xmlns:a16="http://schemas.microsoft.com/office/drawing/2014/main" id="{2D53E16C-81B4-4D8E-8E34-1D0385D65DDD}"/>
                </a:ext>
              </a:extLst>
            </p:cNvPr>
            <p:cNvSpPr/>
            <p:nvPr/>
          </p:nvSpPr>
          <p:spPr bwMode="auto">
            <a:xfrm>
              <a:off x="8019354" y="117145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5" name="ïşḻïḑê">
              <a:extLst>
                <a:ext uri="{FF2B5EF4-FFF2-40B4-BE49-F238E27FC236}">
                  <a16:creationId xmlns:a16="http://schemas.microsoft.com/office/drawing/2014/main" id="{6D52CAB6-964F-4656-A4E8-B7F8B9D8BB8B}"/>
                </a:ext>
              </a:extLst>
            </p:cNvPr>
            <p:cNvSpPr/>
            <p:nvPr/>
          </p:nvSpPr>
          <p:spPr bwMode="auto">
            <a:xfrm>
              <a:off x="7397054" y="36320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6" name="ïṩļídè">
              <a:extLst>
                <a:ext uri="{FF2B5EF4-FFF2-40B4-BE49-F238E27FC236}">
                  <a16:creationId xmlns:a16="http://schemas.microsoft.com/office/drawing/2014/main" id="{00D50E18-5D09-4E14-9761-D86EA94AE16B}"/>
                </a:ext>
              </a:extLst>
            </p:cNvPr>
            <p:cNvSpPr/>
            <p:nvPr/>
          </p:nvSpPr>
          <p:spPr bwMode="auto">
            <a:xfrm>
              <a:off x="7454863" y="534039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7" name="işliḍè">
              <a:extLst>
                <a:ext uri="{FF2B5EF4-FFF2-40B4-BE49-F238E27FC236}">
                  <a16:creationId xmlns:a16="http://schemas.microsoft.com/office/drawing/2014/main" id="{F912BDEA-269F-4C15-9EC0-E26472404726}"/>
                </a:ext>
              </a:extLst>
            </p:cNvPr>
            <p:cNvSpPr/>
            <p:nvPr/>
          </p:nvSpPr>
          <p:spPr bwMode="auto">
            <a:xfrm>
              <a:off x="7289667" y="698953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8" name="išļíďé">
              <a:extLst>
                <a:ext uri="{FF2B5EF4-FFF2-40B4-BE49-F238E27FC236}">
                  <a16:creationId xmlns:a16="http://schemas.microsoft.com/office/drawing/2014/main" id="{77A493EA-8635-4CEB-9A91-BDA31E42B676}"/>
                </a:ext>
              </a:extLst>
            </p:cNvPr>
            <p:cNvSpPr/>
            <p:nvPr/>
          </p:nvSpPr>
          <p:spPr bwMode="auto">
            <a:xfrm>
              <a:off x="7339114" y="748400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9" name="ïşľîḍe">
              <a:extLst>
                <a:ext uri="{FF2B5EF4-FFF2-40B4-BE49-F238E27FC236}">
                  <a16:creationId xmlns:a16="http://schemas.microsoft.com/office/drawing/2014/main" id="{B10A5255-A4DE-41B8-A1B5-A7E4DA3441D0}"/>
                </a:ext>
              </a:extLst>
            </p:cNvPr>
            <p:cNvSpPr/>
            <p:nvPr/>
          </p:nvSpPr>
          <p:spPr bwMode="auto">
            <a:xfrm>
              <a:off x="7489287" y="785943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0" name="ïṥḻidé">
              <a:extLst>
                <a:ext uri="{FF2B5EF4-FFF2-40B4-BE49-F238E27FC236}">
                  <a16:creationId xmlns:a16="http://schemas.microsoft.com/office/drawing/2014/main" id="{896CC727-72CD-4DE7-92CD-0845291A3E3E}"/>
                </a:ext>
              </a:extLst>
            </p:cNvPr>
            <p:cNvSpPr/>
            <p:nvPr/>
          </p:nvSpPr>
          <p:spPr bwMode="auto">
            <a:xfrm>
              <a:off x="7032024" y="43452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1" name="iṥlíḓe">
              <a:extLst>
                <a:ext uri="{FF2B5EF4-FFF2-40B4-BE49-F238E27FC236}">
                  <a16:creationId xmlns:a16="http://schemas.microsoft.com/office/drawing/2014/main" id="{85327D35-8F41-4AEF-B2FB-4EBED46C7A10}"/>
                </a:ext>
              </a:extLst>
            </p:cNvPr>
            <p:cNvSpPr/>
            <p:nvPr/>
          </p:nvSpPr>
          <p:spPr bwMode="auto">
            <a:xfrm>
              <a:off x="7175163" y="100988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2" name="iš1íḍè">
              <a:extLst>
                <a:ext uri="{FF2B5EF4-FFF2-40B4-BE49-F238E27FC236}">
                  <a16:creationId xmlns:a16="http://schemas.microsoft.com/office/drawing/2014/main" id="{6A63FA47-A274-423D-AFE4-56D4FD8F1856}"/>
                </a:ext>
              </a:extLst>
            </p:cNvPr>
            <p:cNvSpPr/>
            <p:nvPr/>
          </p:nvSpPr>
          <p:spPr bwMode="auto">
            <a:xfrm>
              <a:off x="7175163" y="129055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3" name="iṩľíḍé">
              <a:extLst>
                <a:ext uri="{FF2B5EF4-FFF2-40B4-BE49-F238E27FC236}">
                  <a16:creationId xmlns:a16="http://schemas.microsoft.com/office/drawing/2014/main" id="{B2B9E018-21C3-4B49-A909-8DA59D2FF849}"/>
                </a:ext>
              </a:extLst>
            </p:cNvPr>
            <p:cNvSpPr/>
            <p:nvPr/>
          </p:nvSpPr>
          <p:spPr bwMode="auto">
            <a:xfrm>
              <a:off x="7175163" y="157823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4" name="íṣḻídé">
              <a:extLst>
                <a:ext uri="{FF2B5EF4-FFF2-40B4-BE49-F238E27FC236}">
                  <a16:creationId xmlns:a16="http://schemas.microsoft.com/office/drawing/2014/main" id="{3662828A-CAA3-4402-972F-7B044F218036}"/>
                </a:ext>
              </a:extLst>
            </p:cNvPr>
            <p:cNvSpPr/>
            <p:nvPr/>
          </p:nvSpPr>
          <p:spPr bwMode="auto">
            <a:xfrm>
              <a:off x="7069914" y="215360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5" name="í$1íḍé">
              <a:extLst>
                <a:ext uri="{FF2B5EF4-FFF2-40B4-BE49-F238E27FC236}">
                  <a16:creationId xmlns:a16="http://schemas.microsoft.com/office/drawing/2014/main" id="{672E8426-CF7B-4B02-A4EA-7A7D502C8924}"/>
                </a:ext>
              </a:extLst>
            </p:cNvPr>
            <p:cNvSpPr/>
            <p:nvPr/>
          </p:nvSpPr>
          <p:spPr bwMode="auto">
            <a:xfrm>
              <a:off x="7069914" y="24412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6" name="îşḻîdê">
              <a:extLst>
                <a:ext uri="{FF2B5EF4-FFF2-40B4-BE49-F238E27FC236}">
                  <a16:creationId xmlns:a16="http://schemas.microsoft.com/office/drawing/2014/main" id="{CFEB6E55-D025-4496-A302-4FD35FAB1825}"/>
                </a:ext>
              </a:extLst>
            </p:cNvPr>
            <p:cNvSpPr/>
            <p:nvPr/>
          </p:nvSpPr>
          <p:spPr bwMode="auto">
            <a:xfrm>
              <a:off x="7069914" y="272195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7" name="iṥ1íde">
              <a:extLst>
                <a:ext uri="{FF2B5EF4-FFF2-40B4-BE49-F238E27FC236}">
                  <a16:creationId xmlns:a16="http://schemas.microsoft.com/office/drawing/2014/main" id="{CAF96C7B-1B13-42B7-B638-3124C533CBC9}"/>
                </a:ext>
              </a:extLst>
            </p:cNvPr>
            <p:cNvSpPr/>
            <p:nvPr/>
          </p:nvSpPr>
          <p:spPr bwMode="auto">
            <a:xfrm>
              <a:off x="7069914" y="186591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8" name="íṩļïḑê">
              <a:extLst>
                <a:ext uri="{FF2B5EF4-FFF2-40B4-BE49-F238E27FC236}">
                  <a16:creationId xmlns:a16="http://schemas.microsoft.com/office/drawing/2014/main" id="{551470DA-ECAF-452B-A445-1115B7DC582A}"/>
                </a:ext>
              </a:extLst>
            </p:cNvPr>
            <p:cNvSpPr/>
            <p:nvPr/>
          </p:nvSpPr>
          <p:spPr bwMode="auto">
            <a:xfrm>
              <a:off x="7069914" y="91165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9" name="ïṥ1íḓè">
              <a:extLst>
                <a:ext uri="{FF2B5EF4-FFF2-40B4-BE49-F238E27FC236}">
                  <a16:creationId xmlns:a16="http://schemas.microsoft.com/office/drawing/2014/main" id="{761196F8-E5E9-4CD6-9385-31A3B743AF8C}"/>
                </a:ext>
              </a:extLst>
            </p:cNvPr>
            <p:cNvSpPr/>
            <p:nvPr/>
          </p:nvSpPr>
          <p:spPr bwMode="auto">
            <a:xfrm>
              <a:off x="6344690" y="676784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0" name="ïŝľîďé">
              <a:extLst>
                <a:ext uri="{FF2B5EF4-FFF2-40B4-BE49-F238E27FC236}">
                  <a16:creationId xmlns:a16="http://schemas.microsoft.com/office/drawing/2014/main" id="{A1DE24F6-2374-43D3-ADEC-0D04AA6C4829}"/>
                </a:ext>
              </a:extLst>
            </p:cNvPr>
            <p:cNvSpPr/>
            <p:nvPr/>
          </p:nvSpPr>
          <p:spPr bwMode="auto">
            <a:xfrm>
              <a:off x="6275621" y="607715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1" name="iṧľîďè">
              <a:extLst>
                <a:ext uri="{FF2B5EF4-FFF2-40B4-BE49-F238E27FC236}">
                  <a16:creationId xmlns:a16="http://schemas.microsoft.com/office/drawing/2014/main" id="{67EE6823-CF0F-49D4-AD23-72CFCC5D0BAB}"/>
                </a:ext>
              </a:extLst>
            </p:cNvPr>
            <p:cNvSpPr/>
            <p:nvPr/>
          </p:nvSpPr>
          <p:spPr bwMode="auto">
            <a:xfrm>
              <a:off x="6295593" y="1041166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2" name="îṥľíḍê">
              <a:extLst>
                <a:ext uri="{FF2B5EF4-FFF2-40B4-BE49-F238E27FC236}">
                  <a16:creationId xmlns:a16="http://schemas.microsoft.com/office/drawing/2014/main" id="{B1C43186-AB2F-4E3F-AA67-416BC5D0E73D}"/>
                </a:ext>
              </a:extLst>
            </p:cNvPr>
            <p:cNvSpPr/>
            <p:nvPr/>
          </p:nvSpPr>
          <p:spPr bwMode="auto">
            <a:xfrm>
              <a:off x="6717176" y="1520556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3" name="íSļïďé">
              <a:extLst>
                <a:ext uri="{FF2B5EF4-FFF2-40B4-BE49-F238E27FC236}">
                  <a16:creationId xmlns:a16="http://schemas.microsoft.com/office/drawing/2014/main" id="{A093C248-FEE3-453A-89EC-17AF43CD61CF}"/>
                </a:ext>
              </a:extLst>
            </p:cNvPr>
            <p:cNvSpPr/>
            <p:nvPr/>
          </p:nvSpPr>
          <p:spPr bwMode="auto">
            <a:xfrm>
              <a:off x="6717176" y="140493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4" name="iṣḷiḑê">
              <a:extLst>
                <a:ext uri="{FF2B5EF4-FFF2-40B4-BE49-F238E27FC236}">
                  <a16:creationId xmlns:a16="http://schemas.microsoft.com/office/drawing/2014/main" id="{A1B54F90-677C-4C63-8218-7495E4626ACB}"/>
                </a:ext>
              </a:extLst>
            </p:cNvPr>
            <p:cNvSpPr/>
            <p:nvPr/>
          </p:nvSpPr>
          <p:spPr bwMode="auto">
            <a:xfrm>
              <a:off x="6717176" y="1290731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5" name="í$líḓè">
              <a:extLst>
                <a:ext uri="{FF2B5EF4-FFF2-40B4-BE49-F238E27FC236}">
                  <a16:creationId xmlns:a16="http://schemas.microsoft.com/office/drawing/2014/main" id="{B5E82685-1C16-407D-9CD9-8BBC2382D327}"/>
                </a:ext>
              </a:extLst>
            </p:cNvPr>
            <p:cNvSpPr/>
            <p:nvPr/>
          </p:nvSpPr>
          <p:spPr bwMode="auto">
            <a:xfrm>
              <a:off x="7343797" y="1162347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6" name="îṩļîḋè">
              <a:extLst>
                <a:ext uri="{FF2B5EF4-FFF2-40B4-BE49-F238E27FC236}">
                  <a16:creationId xmlns:a16="http://schemas.microsoft.com/office/drawing/2014/main" id="{BD40D062-BAF3-4EBC-9425-6494044D8B03}"/>
                </a:ext>
              </a:extLst>
            </p:cNvPr>
            <p:cNvSpPr/>
            <p:nvPr/>
          </p:nvSpPr>
          <p:spPr bwMode="auto">
            <a:xfrm>
              <a:off x="8065458" y="169433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7" name="îṧļiḋê">
              <a:extLst>
                <a:ext uri="{FF2B5EF4-FFF2-40B4-BE49-F238E27FC236}">
                  <a16:creationId xmlns:a16="http://schemas.microsoft.com/office/drawing/2014/main" id="{0493A8AF-798E-4E71-828B-87606132AE88}"/>
                </a:ext>
              </a:extLst>
            </p:cNvPr>
            <p:cNvSpPr/>
            <p:nvPr/>
          </p:nvSpPr>
          <p:spPr bwMode="auto">
            <a:xfrm>
              <a:off x="8148684" y="8858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8" name="íṡlíďé">
              <a:extLst>
                <a:ext uri="{FF2B5EF4-FFF2-40B4-BE49-F238E27FC236}">
                  <a16:creationId xmlns:a16="http://schemas.microsoft.com/office/drawing/2014/main" id="{EB0E4155-2328-4C5F-A12E-06EC65AC54D3}"/>
                </a:ext>
              </a:extLst>
            </p:cNvPr>
            <p:cNvSpPr/>
            <p:nvPr/>
          </p:nvSpPr>
          <p:spPr bwMode="auto">
            <a:xfrm>
              <a:off x="8280260" y="87000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9" name="ïšḷïḑè">
              <a:extLst>
                <a:ext uri="{FF2B5EF4-FFF2-40B4-BE49-F238E27FC236}">
                  <a16:creationId xmlns:a16="http://schemas.microsoft.com/office/drawing/2014/main" id="{5F52BE24-E245-4841-AC4F-B70D5B872E36}"/>
                </a:ext>
              </a:extLst>
            </p:cNvPr>
            <p:cNvSpPr/>
            <p:nvPr/>
          </p:nvSpPr>
          <p:spPr bwMode="auto">
            <a:xfrm>
              <a:off x="8224776" y="4023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0" name="ïšlîḋé">
              <a:extLst>
                <a:ext uri="{FF2B5EF4-FFF2-40B4-BE49-F238E27FC236}">
                  <a16:creationId xmlns:a16="http://schemas.microsoft.com/office/drawing/2014/main" id="{7E8ABF19-EC58-4E4D-B79C-9C54FB150EDB}"/>
                </a:ext>
              </a:extLst>
            </p:cNvPr>
            <p:cNvSpPr/>
            <p:nvPr/>
          </p:nvSpPr>
          <p:spPr bwMode="auto">
            <a:xfrm>
              <a:off x="8503694" y="4503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1" name="isḻiďê">
              <a:extLst>
                <a:ext uri="{FF2B5EF4-FFF2-40B4-BE49-F238E27FC236}">
                  <a16:creationId xmlns:a16="http://schemas.microsoft.com/office/drawing/2014/main" id="{5B266F42-2657-4752-A098-D2ECF8994C28}"/>
                </a:ext>
              </a:extLst>
            </p:cNvPr>
            <p:cNvSpPr/>
            <p:nvPr/>
          </p:nvSpPr>
          <p:spPr bwMode="auto">
            <a:xfrm>
              <a:off x="8542762" y="19333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2" name="íšḷiḋe">
              <a:extLst>
                <a:ext uri="{FF2B5EF4-FFF2-40B4-BE49-F238E27FC236}">
                  <a16:creationId xmlns:a16="http://schemas.microsoft.com/office/drawing/2014/main" id="{063297C1-ADE4-4F8F-B9CC-EA2FF32D4AF5}"/>
                </a:ext>
              </a:extLst>
            </p:cNvPr>
            <p:cNvSpPr/>
            <p:nvPr/>
          </p:nvSpPr>
          <p:spPr bwMode="auto">
            <a:xfrm>
              <a:off x="9065011" y="929319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3" name="išľîḓe">
              <a:extLst>
                <a:ext uri="{FF2B5EF4-FFF2-40B4-BE49-F238E27FC236}">
                  <a16:creationId xmlns:a16="http://schemas.microsoft.com/office/drawing/2014/main" id="{0ED91D39-E30C-4BD3-92B5-9D8518E52C2E}"/>
                </a:ext>
              </a:extLst>
            </p:cNvPr>
            <p:cNvSpPr/>
            <p:nvPr/>
          </p:nvSpPr>
          <p:spPr bwMode="auto">
            <a:xfrm>
              <a:off x="7741686" y="547598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4" name="îSlîḍê">
              <a:extLst>
                <a:ext uri="{FF2B5EF4-FFF2-40B4-BE49-F238E27FC236}">
                  <a16:creationId xmlns:a16="http://schemas.microsoft.com/office/drawing/2014/main" id="{1C323E3B-424F-4B5C-9CAB-2458B57D640E}"/>
                </a:ext>
              </a:extLst>
            </p:cNvPr>
            <p:cNvSpPr/>
            <p:nvPr/>
          </p:nvSpPr>
          <p:spPr bwMode="auto">
            <a:xfrm>
              <a:off x="8009581" y="797163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5" name="íŝḻiḓè">
              <a:extLst>
                <a:ext uri="{FF2B5EF4-FFF2-40B4-BE49-F238E27FC236}">
                  <a16:creationId xmlns:a16="http://schemas.microsoft.com/office/drawing/2014/main" id="{058A492F-7097-45F9-98C7-8A6FAB389A0D}"/>
                </a:ext>
              </a:extLst>
            </p:cNvPr>
            <p:cNvSpPr/>
            <p:nvPr/>
          </p:nvSpPr>
          <p:spPr bwMode="auto">
            <a:xfrm>
              <a:off x="8259147" y="489789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6" name="işļïde">
              <a:extLst>
                <a:ext uri="{FF2B5EF4-FFF2-40B4-BE49-F238E27FC236}">
                  <a16:creationId xmlns:a16="http://schemas.microsoft.com/office/drawing/2014/main" id="{AEB8FE2A-2309-41B6-8AD7-401F47624958}"/>
                </a:ext>
              </a:extLst>
            </p:cNvPr>
            <p:cNvSpPr/>
            <p:nvPr/>
          </p:nvSpPr>
          <p:spPr bwMode="auto">
            <a:xfrm>
              <a:off x="7895374" y="777423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7" name="iśľíde">
              <a:extLst>
                <a:ext uri="{FF2B5EF4-FFF2-40B4-BE49-F238E27FC236}">
                  <a16:creationId xmlns:a16="http://schemas.microsoft.com/office/drawing/2014/main" id="{2D5B88AF-B9C9-443F-89FF-F19D32A61845}"/>
                </a:ext>
              </a:extLst>
            </p:cNvPr>
            <p:cNvSpPr/>
            <p:nvPr/>
          </p:nvSpPr>
          <p:spPr bwMode="auto">
            <a:xfrm>
              <a:off x="7971512" y="912781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8" name="ïṧḷîḓé">
              <a:extLst>
                <a:ext uri="{FF2B5EF4-FFF2-40B4-BE49-F238E27FC236}">
                  <a16:creationId xmlns:a16="http://schemas.microsoft.com/office/drawing/2014/main" id="{BC9EE6CC-9DCC-43A4-BC24-2032CD70191A}"/>
                </a:ext>
              </a:extLst>
            </p:cNvPr>
            <p:cNvSpPr/>
            <p:nvPr/>
          </p:nvSpPr>
          <p:spPr bwMode="auto">
            <a:xfrm>
              <a:off x="8278886" y="623737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9" name="islide">
              <a:extLst>
                <a:ext uri="{FF2B5EF4-FFF2-40B4-BE49-F238E27FC236}">
                  <a16:creationId xmlns:a16="http://schemas.microsoft.com/office/drawing/2014/main" id="{AC5A71F9-64A7-409B-927D-F232E55B8D1E}"/>
                </a:ext>
              </a:extLst>
            </p:cNvPr>
            <p:cNvSpPr/>
            <p:nvPr/>
          </p:nvSpPr>
          <p:spPr bwMode="auto">
            <a:xfrm>
              <a:off x="9537158" y="147300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0" name="íṥļiḓè">
              <a:extLst>
                <a:ext uri="{FF2B5EF4-FFF2-40B4-BE49-F238E27FC236}">
                  <a16:creationId xmlns:a16="http://schemas.microsoft.com/office/drawing/2014/main" id="{67FCA1BB-BCD9-411E-BAD6-DACD45170D01}"/>
                </a:ext>
              </a:extLst>
            </p:cNvPr>
            <p:cNvSpPr/>
            <p:nvPr/>
          </p:nvSpPr>
          <p:spPr bwMode="auto">
            <a:xfrm>
              <a:off x="9434889" y="45031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1" name="ïSlîdè">
              <a:extLst>
                <a:ext uri="{FF2B5EF4-FFF2-40B4-BE49-F238E27FC236}">
                  <a16:creationId xmlns:a16="http://schemas.microsoft.com/office/drawing/2014/main" id="{87B40133-077E-4631-8290-5732328ADFB2}"/>
                </a:ext>
              </a:extLst>
            </p:cNvPr>
            <p:cNvSpPr/>
            <p:nvPr/>
          </p:nvSpPr>
          <p:spPr bwMode="auto">
            <a:xfrm>
              <a:off x="9309166" y="584180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2" name="í$ḷiḑè">
              <a:extLst>
                <a:ext uri="{FF2B5EF4-FFF2-40B4-BE49-F238E27FC236}">
                  <a16:creationId xmlns:a16="http://schemas.microsoft.com/office/drawing/2014/main" id="{1914652B-86BF-446C-ACBD-540E7537B473}"/>
                </a:ext>
              </a:extLst>
            </p:cNvPr>
            <p:cNvSpPr/>
            <p:nvPr/>
          </p:nvSpPr>
          <p:spPr bwMode="auto">
            <a:xfrm>
              <a:off x="9243132" y="521368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3" name="ï$ḻiḓé">
              <a:extLst>
                <a:ext uri="{FF2B5EF4-FFF2-40B4-BE49-F238E27FC236}">
                  <a16:creationId xmlns:a16="http://schemas.microsoft.com/office/drawing/2014/main" id="{5D77F4FC-FD4B-46BD-863F-819480DB1C5E}"/>
                </a:ext>
              </a:extLst>
            </p:cNvPr>
            <p:cNvSpPr/>
            <p:nvPr/>
          </p:nvSpPr>
          <p:spPr bwMode="auto">
            <a:xfrm>
              <a:off x="5381470" y="2978323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4" name="iš1íḋé">
              <a:extLst>
                <a:ext uri="{FF2B5EF4-FFF2-40B4-BE49-F238E27FC236}">
                  <a16:creationId xmlns:a16="http://schemas.microsoft.com/office/drawing/2014/main" id="{175458FE-1523-467B-921D-7874F6BB8674}"/>
                </a:ext>
              </a:extLst>
            </p:cNvPr>
            <p:cNvSpPr/>
            <p:nvPr/>
          </p:nvSpPr>
          <p:spPr bwMode="auto">
            <a:xfrm>
              <a:off x="5305332" y="2902185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5" name="işḻîḍé">
              <a:extLst>
                <a:ext uri="{FF2B5EF4-FFF2-40B4-BE49-F238E27FC236}">
                  <a16:creationId xmlns:a16="http://schemas.microsoft.com/office/drawing/2014/main" id="{172B2BF1-5B63-4E58-8346-1FD456246D2C}"/>
                </a:ext>
              </a:extLst>
            </p:cNvPr>
            <p:cNvSpPr/>
            <p:nvPr/>
          </p:nvSpPr>
          <p:spPr bwMode="auto">
            <a:xfrm>
              <a:off x="5476739" y="2411481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6" name="ísļiḍe">
              <a:extLst>
                <a:ext uri="{FF2B5EF4-FFF2-40B4-BE49-F238E27FC236}">
                  <a16:creationId xmlns:a16="http://schemas.microsoft.com/office/drawing/2014/main" id="{FFF1A60C-B71C-4188-B343-0530857EDC0A}"/>
                </a:ext>
              </a:extLst>
            </p:cNvPr>
            <p:cNvSpPr/>
            <p:nvPr/>
          </p:nvSpPr>
          <p:spPr bwMode="auto">
            <a:xfrm>
              <a:off x="5756519" y="2411481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7" name="ïṡļídè">
              <a:extLst>
                <a:ext uri="{FF2B5EF4-FFF2-40B4-BE49-F238E27FC236}">
                  <a16:creationId xmlns:a16="http://schemas.microsoft.com/office/drawing/2014/main" id="{5A4451F9-4F4E-4827-93E2-961051E9C21E}"/>
                </a:ext>
              </a:extLst>
            </p:cNvPr>
            <p:cNvSpPr/>
            <p:nvPr/>
          </p:nvSpPr>
          <p:spPr bwMode="auto">
            <a:xfrm>
              <a:off x="5617096" y="2411481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8" name="ïṧļîḋê">
              <a:extLst>
                <a:ext uri="{FF2B5EF4-FFF2-40B4-BE49-F238E27FC236}">
                  <a16:creationId xmlns:a16="http://schemas.microsoft.com/office/drawing/2014/main" id="{1EBF3386-0CE9-4448-85DC-2CCC431AF193}"/>
                </a:ext>
              </a:extLst>
            </p:cNvPr>
            <p:cNvSpPr/>
            <p:nvPr/>
          </p:nvSpPr>
          <p:spPr bwMode="auto">
            <a:xfrm>
              <a:off x="5083698" y="2576482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9" name="iśḷïďê">
              <a:extLst>
                <a:ext uri="{FF2B5EF4-FFF2-40B4-BE49-F238E27FC236}">
                  <a16:creationId xmlns:a16="http://schemas.microsoft.com/office/drawing/2014/main" id="{844D932A-1071-42BC-B8B2-C8F5F33B508A}"/>
                </a:ext>
              </a:extLst>
            </p:cNvPr>
            <p:cNvSpPr/>
            <p:nvPr/>
          </p:nvSpPr>
          <p:spPr bwMode="auto">
            <a:xfrm>
              <a:off x="5703737" y="1529561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0" name="iṣḻîḍe">
              <a:extLst>
                <a:ext uri="{FF2B5EF4-FFF2-40B4-BE49-F238E27FC236}">
                  <a16:creationId xmlns:a16="http://schemas.microsoft.com/office/drawing/2014/main" id="{D04483CA-48AE-43BB-88F4-01AD9FBDCAB3}"/>
                </a:ext>
              </a:extLst>
            </p:cNvPr>
            <p:cNvSpPr/>
            <p:nvPr/>
          </p:nvSpPr>
          <p:spPr bwMode="auto">
            <a:xfrm>
              <a:off x="6339510" y="2356836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1" name="íşḻiḓé">
              <a:extLst>
                <a:ext uri="{FF2B5EF4-FFF2-40B4-BE49-F238E27FC236}">
                  <a16:creationId xmlns:a16="http://schemas.microsoft.com/office/drawing/2014/main" id="{582E1893-6540-4067-A103-3681132221C9}"/>
                </a:ext>
              </a:extLst>
            </p:cNvPr>
            <p:cNvSpPr/>
            <p:nvPr/>
          </p:nvSpPr>
          <p:spPr bwMode="auto">
            <a:xfrm>
              <a:off x="6427854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2" name="ïṧḻïḋè">
              <a:extLst>
                <a:ext uri="{FF2B5EF4-FFF2-40B4-BE49-F238E27FC236}">
                  <a16:creationId xmlns:a16="http://schemas.microsoft.com/office/drawing/2014/main" id="{FBE88E1D-8F2B-493A-A4B4-510F06B15019}"/>
                </a:ext>
              </a:extLst>
            </p:cNvPr>
            <p:cNvSpPr/>
            <p:nvPr/>
          </p:nvSpPr>
          <p:spPr bwMode="auto">
            <a:xfrm>
              <a:off x="6427854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3" name="iŝḷîḍè">
              <a:extLst>
                <a:ext uri="{FF2B5EF4-FFF2-40B4-BE49-F238E27FC236}">
                  <a16:creationId xmlns:a16="http://schemas.microsoft.com/office/drawing/2014/main" id="{5A57852C-7482-408E-AE34-152547CED1A7}"/>
                </a:ext>
              </a:extLst>
            </p:cNvPr>
            <p:cNvSpPr/>
            <p:nvPr/>
          </p:nvSpPr>
          <p:spPr bwMode="auto">
            <a:xfrm>
              <a:off x="6427854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4" name="iṡḷïḍe">
              <a:extLst>
                <a:ext uri="{FF2B5EF4-FFF2-40B4-BE49-F238E27FC236}">
                  <a16:creationId xmlns:a16="http://schemas.microsoft.com/office/drawing/2014/main" id="{9B7C4814-ADB7-4B56-A63F-417CA756A184}"/>
                </a:ext>
              </a:extLst>
            </p:cNvPr>
            <p:cNvSpPr/>
            <p:nvPr/>
          </p:nvSpPr>
          <p:spPr bwMode="auto">
            <a:xfrm>
              <a:off x="6516198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5" name="ïṥlïḓé">
              <a:extLst>
                <a:ext uri="{FF2B5EF4-FFF2-40B4-BE49-F238E27FC236}">
                  <a16:creationId xmlns:a16="http://schemas.microsoft.com/office/drawing/2014/main" id="{99D95F09-E5F5-4742-BC03-6BCFF9C268D7}"/>
                </a:ext>
              </a:extLst>
            </p:cNvPr>
            <p:cNvSpPr/>
            <p:nvPr/>
          </p:nvSpPr>
          <p:spPr bwMode="auto">
            <a:xfrm>
              <a:off x="6516198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6" name="i$ḻíde">
              <a:extLst>
                <a:ext uri="{FF2B5EF4-FFF2-40B4-BE49-F238E27FC236}">
                  <a16:creationId xmlns:a16="http://schemas.microsoft.com/office/drawing/2014/main" id="{130C7355-EE35-4374-970F-C581D0E01031}"/>
                </a:ext>
              </a:extLst>
            </p:cNvPr>
            <p:cNvSpPr/>
            <p:nvPr/>
          </p:nvSpPr>
          <p:spPr bwMode="auto">
            <a:xfrm>
              <a:off x="6516198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7" name="îṥ1iďè">
              <a:extLst>
                <a:ext uri="{FF2B5EF4-FFF2-40B4-BE49-F238E27FC236}">
                  <a16:creationId xmlns:a16="http://schemas.microsoft.com/office/drawing/2014/main" id="{98010718-6CEA-470F-AAB2-3BBA519B0473}"/>
                </a:ext>
              </a:extLst>
            </p:cNvPr>
            <p:cNvSpPr/>
            <p:nvPr/>
          </p:nvSpPr>
          <p:spPr bwMode="auto">
            <a:xfrm>
              <a:off x="6604543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8" name="iśḻíďe">
              <a:extLst>
                <a:ext uri="{FF2B5EF4-FFF2-40B4-BE49-F238E27FC236}">
                  <a16:creationId xmlns:a16="http://schemas.microsoft.com/office/drawing/2014/main" id="{C3847D33-BD92-4AFF-B3ED-BDBB31ED9D87}"/>
                </a:ext>
              </a:extLst>
            </p:cNvPr>
            <p:cNvSpPr/>
            <p:nvPr/>
          </p:nvSpPr>
          <p:spPr bwMode="auto">
            <a:xfrm>
              <a:off x="6604543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9" name="iŝ1íḑe">
              <a:extLst>
                <a:ext uri="{FF2B5EF4-FFF2-40B4-BE49-F238E27FC236}">
                  <a16:creationId xmlns:a16="http://schemas.microsoft.com/office/drawing/2014/main" id="{E3167E00-8DD5-4E64-A28F-EDD15E483880}"/>
                </a:ext>
              </a:extLst>
            </p:cNvPr>
            <p:cNvSpPr/>
            <p:nvPr/>
          </p:nvSpPr>
          <p:spPr bwMode="auto">
            <a:xfrm>
              <a:off x="6604543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0" name="íṩļïḍe">
              <a:extLst>
                <a:ext uri="{FF2B5EF4-FFF2-40B4-BE49-F238E27FC236}">
                  <a16:creationId xmlns:a16="http://schemas.microsoft.com/office/drawing/2014/main" id="{0C459602-F17F-4F5A-8D45-FDF5BCCBB2AE}"/>
                </a:ext>
              </a:extLst>
            </p:cNvPr>
            <p:cNvSpPr/>
            <p:nvPr/>
          </p:nvSpPr>
          <p:spPr bwMode="auto">
            <a:xfrm>
              <a:off x="5987095" y="2263864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1" name="íSḻiḓe">
              <a:extLst>
                <a:ext uri="{FF2B5EF4-FFF2-40B4-BE49-F238E27FC236}">
                  <a16:creationId xmlns:a16="http://schemas.microsoft.com/office/drawing/2014/main" id="{99FDD8A2-6822-4A23-8BB2-4649515E9D9E}"/>
                </a:ext>
              </a:extLst>
            </p:cNvPr>
            <p:cNvSpPr/>
            <p:nvPr/>
          </p:nvSpPr>
          <p:spPr bwMode="auto">
            <a:xfrm>
              <a:off x="5935863" y="2587513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2" name="íṣļîďê">
              <a:extLst>
                <a:ext uri="{FF2B5EF4-FFF2-40B4-BE49-F238E27FC236}">
                  <a16:creationId xmlns:a16="http://schemas.microsoft.com/office/drawing/2014/main" id="{7F4960E2-6190-4221-BCC8-65609103F1E2}"/>
                </a:ext>
              </a:extLst>
            </p:cNvPr>
            <p:cNvSpPr/>
            <p:nvPr/>
          </p:nvSpPr>
          <p:spPr bwMode="auto">
            <a:xfrm>
              <a:off x="6095882" y="2747532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3" name="íSľiďe">
              <a:extLst>
                <a:ext uri="{FF2B5EF4-FFF2-40B4-BE49-F238E27FC236}">
                  <a16:creationId xmlns:a16="http://schemas.microsoft.com/office/drawing/2014/main" id="{9C9CA307-7DEE-4265-96D7-4C21E55353E7}"/>
                </a:ext>
              </a:extLst>
            </p:cNvPr>
            <p:cNvSpPr/>
            <p:nvPr/>
          </p:nvSpPr>
          <p:spPr bwMode="auto">
            <a:xfrm>
              <a:off x="6050403" y="2702053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4" name="iśḷïḓe">
              <a:extLst>
                <a:ext uri="{FF2B5EF4-FFF2-40B4-BE49-F238E27FC236}">
                  <a16:creationId xmlns:a16="http://schemas.microsoft.com/office/drawing/2014/main" id="{0356D575-C068-45E7-94F8-812DB2679C6B}"/>
                </a:ext>
              </a:extLst>
            </p:cNvPr>
            <p:cNvSpPr/>
            <p:nvPr/>
          </p:nvSpPr>
          <p:spPr bwMode="auto">
            <a:xfrm>
              <a:off x="6147256" y="2797221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5" name="îŝļïdé">
              <a:extLst>
                <a:ext uri="{FF2B5EF4-FFF2-40B4-BE49-F238E27FC236}">
                  <a16:creationId xmlns:a16="http://schemas.microsoft.com/office/drawing/2014/main" id="{823EFFAE-16D4-4E63-A513-228F2FCF30B6}"/>
                </a:ext>
              </a:extLst>
            </p:cNvPr>
            <p:cNvSpPr/>
            <p:nvPr/>
          </p:nvSpPr>
          <p:spPr bwMode="auto">
            <a:xfrm>
              <a:off x="6164942" y="2814065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6" name="îš1ïḓê">
              <a:extLst>
                <a:ext uri="{FF2B5EF4-FFF2-40B4-BE49-F238E27FC236}">
                  <a16:creationId xmlns:a16="http://schemas.microsoft.com/office/drawing/2014/main" id="{DD03AACC-1168-46EE-B7F9-12EF8CCB4856}"/>
                </a:ext>
              </a:extLst>
            </p:cNvPr>
            <p:cNvSpPr/>
            <p:nvPr/>
          </p:nvSpPr>
          <p:spPr bwMode="auto">
            <a:xfrm>
              <a:off x="6156520" y="2805643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7" name="îšļïdè">
              <a:extLst>
                <a:ext uri="{FF2B5EF4-FFF2-40B4-BE49-F238E27FC236}">
                  <a16:creationId xmlns:a16="http://schemas.microsoft.com/office/drawing/2014/main" id="{74E78CFB-C822-4080-A397-7992D2D1406F}"/>
                </a:ext>
              </a:extLst>
            </p:cNvPr>
            <p:cNvSpPr/>
            <p:nvPr/>
          </p:nvSpPr>
          <p:spPr bwMode="auto">
            <a:xfrm>
              <a:off x="6033559" y="2686050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8" name="îṥḷidé">
              <a:extLst>
                <a:ext uri="{FF2B5EF4-FFF2-40B4-BE49-F238E27FC236}">
                  <a16:creationId xmlns:a16="http://schemas.microsoft.com/office/drawing/2014/main" id="{E62CDDB7-567B-48E2-9B44-9754B2F5B373}"/>
                </a:ext>
              </a:extLst>
            </p:cNvPr>
            <p:cNvSpPr/>
            <p:nvPr/>
          </p:nvSpPr>
          <p:spPr bwMode="auto">
            <a:xfrm>
              <a:off x="5991448" y="2643940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9" name="î$ļîḓe">
              <a:extLst>
                <a:ext uri="{FF2B5EF4-FFF2-40B4-BE49-F238E27FC236}">
                  <a16:creationId xmlns:a16="http://schemas.microsoft.com/office/drawing/2014/main" id="{35E4F862-E748-42E5-80B8-65F6622FC1B9}"/>
                </a:ext>
              </a:extLst>
            </p:cNvPr>
            <p:cNvSpPr/>
            <p:nvPr/>
          </p:nvSpPr>
          <p:spPr bwMode="auto">
            <a:xfrm>
              <a:off x="6012503" y="2664996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0" name="îṡľïḑê">
              <a:extLst>
                <a:ext uri="{FF2B5EF4-FFF2-40B4-BE49-F238E27FC236}">
                  <a16:creationId xmlns:a16="http://schemas.microsoft.com/office/drawing/2014/main" id="{74480474-E2D9-4862-8A90-E372DEC04A06}"/>
                </a:ext>
              </a:extLst>
            </p:cNvPr>
            <p:cNvSpPr/>
            <p:nvPr/>
          </p:nvSpPr>
          <p:spPr bwMode="auto">
            <a:xfrm>
              <a:off x="5936882" y="2186890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1" name="îṩļide">
              <a:extLst>
                <a:ext uri="{FF2B5EF4-FFF2-40B4-BE49-F238E27FC236}">
                  <a16:creationId xmlns:a16="http://schemas.microsoft.com/office/drawing/2014/main" id="{D312913F-FEA3-4524-B311-7B589F0F77E0}"/>
                </a:ext>
              </a:extLst>
            </p:cNvPr>
            <p:cNvSpPr/>
            <p:nvPr/>
          </p:nvSpPr>
          <p:spPr bwMode="auto">
            <a:xfrm>
              <a:off x="5709810" y="2104111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2" name="ïṩlîḓê">
              <a:extLst>
                <a:ext uri="{FF2B5EF4-FFF2-40B4-BE49-F238E27FC236}">
                  <a16:creationId xmlns:a16="http://schemas.microsoft.com/office/drawing/2014/main" id="{A39B1FC8-7E30-4DE0-9AA3-B748C5E550C7}"/>
                </a:ext>
              </a:extLst>
            </p:cNvPr>
            <p:cNvSpPr/>
            <p:nvPr/>
          </p:nvSpPr>
          <p:spPr bwMode="auto">
            <a:xfrm>
              <a:off x="6270422" y="1722710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3" name="í$1íḍe">
              <a:extLst>
                <a:ext uri="{FF2B5EF4-FFF2-40B4-BE49-F238E27FC236}">
                  <a16:creationId xmlns:a16="http://schemas.microsoft.com/office/drawing/2014/main" id="{9FF962A5-1071-4DB1-98FA-D8AA1A2083E4}"/>
                </a:ext>
              </a:extLst>
            </p:cNvPr>
            <p:cNvSpPr/>
            <p:nvPr/>
          </p:nvSpPr>
          <p:spPr bwMode="auto">
            <a:xfrm>
              <a:off x="5839327" y="663455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4" name="íśļïḋê">
              <a:extLst>
                <a:ext uri="{FF2B5EF4-FFF2-40B4-BE49-F238E27FC236}">
                  <a16:creationId xmlns:a16="http://schemas.microsoft.com/office/drawing/2014/main" id="{32778090-E016-45CD-90DD-2ADF4457DBA0}"/>
                </a:ext>
              </a:extLst>
            </p:cNvPr>
            <p:cNvSpPr/>
            <p:nvPr/>
          </p:nvSpPr>
          <p:spPr bwMode="auto">
            <a:xfrm>
              <a:off x="5889880" y="1111763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5" name="ïş1ïḋè">
              <a:extLst>
                <a:ext uri="{FF2B5EF4-FFF2-40B4-BE49-F238E27FC236}">
                  <a16:creationId xmlns:a16="http://schemas.microsoft.com/office/drawing/2014/main" id="{B5ACF620-3DC8-4643-AA6A-FAEF5D3BA8F7}"/>
                </a:ext>
              </a:extLst>
            </p:cNvPr>
            <p:cNvSpPr/>
            <p:nvPr/>
          </p:nvSpPr>
          <p:spPr bwMode="auto">
            <a:xfrm>
              <a:off x="6441312" y="2900034"/>
              <a:ext cx="300105" cy="199152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6" name="îŝlîḍé">
              <a:extLst>
                <a:ext uri="{FF2B5EF4-FFF2-40B4-BE49-F238E27FC236}">
                  <a16:creationId xmlns:a16="http://schemas.microsoft.com/office/drawing/2014/main" id="{CBC8ED41-0454-4753-A332-EE83DF2B9C0E}"/>
                </a:ext>
              </a:extLst>
            </p:cNvPr>
            <p:cNvSpPr/>
            <p:nvPr/>
          </p:nvSpPr>
          <p:spPr bwMode="auto">
            <a:xfrm>
              <a:off x="6391753" y="2850475"/>
              <a:ext cx="399222" cy="373525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7" name="îṩļîḍé">
              <a:extLst>
                <a:ext uri="{FF2B5EF4-FFF2-40B4-BE49-F238E27FC236}">
                  <a16:creationId xmlns:a16="http://schemas.microsoft.com/office/drawing/2014/main" id="{44BF3302-83D9-4588-BD39-ECEF06AAA6DE}"/>
                </a:ext>
              </a:extLst>
            </p:cNvPr>
            <p:cNvSpPr/>
            <p:nvPr/>
          </p:nvSpPr>
          <p:spPr bwMode="auto">
            <a:xfrm>
              <a:off x="9509830" y="594703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8" name="íSļîdé">
              <a:extLst>
                <a:ext uri="{FF2B5EF4-FFF2-40B4-BE49-F238E27FC236}">
                  <a16:creationId xmlns:a16="http://schemas.microsoft.com/office/drawing/2014/main" id="{66523FAA-CFE1-4E83-B2BA-0AB32E1EAA31}"/>
                </a:ext>
              </a:extLst>
            </p:cNvPr>
            <p:cNvSpPr/>
            <p:nvPr/>
          </p:nvSpPr>
          <p:spPr bwMode="auto">
            <a:xfrm>
              <a:off x="7299357" y="250878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9" name="isḻiḍè">
              <a:extLst>
                <a:ext uri="{FF2B5EF4-FFF2-40B4-BE49-F238E27FC236}">
                  <a16:creationId xmlns:a16="http://schemas.microsoft.com/office/drawing/2014/main" id="{4E1DA72B-853A-49DB-9F6A-E6B28C3FE84F}"/>
                </a:ext>
              </a:extLst>
            </p:cNvPr>
            <p:cNvSpPr/>
            <p:nvPr/>
          </p:nvSpPr>
          <p:spPr bwMode="auto">
            <a:xfrm>
              <a:off x="6803911" y="1970278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0" name="íṥlîḋe">
              <a:extLst>
                <a:ext uri="{FF2B5EF4-FFF2-40B4-BE49-F238E27FC236}">
                  <a16:creationId xmlns:a16="http://schemas.microsoft.com/office/drawing/2014/main" id="{890B63B9-624E-4A6D-B3B5-C0DD237204F4}"/>
                </a:ext>
              </a:extLst>
            </p:cNvPr>
            <p:cNvSpPr/>
            <p:nvPr/>
          </p:nvSpPr>
          <p:spPr bwMode="auto">
            <a:xfrm>
              <a:off x="7028097" y="2187414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1" name="ïS1ïdê">
              <a:extLst>
                <a:ext uri="{FF2B5EF4-FFF2-40B4-BE49-F238E27FC236}">
                  <a16:creationId xmlns:a16="http://schemas.microsoft.com/office/drawing/2014/main" id="{11285A33-1C60-43F5-B13D-962CDA03397D}"/>
                </a:ext>
              </a:extLst>
            </p:cNvPr>
            <p:cNvSpPr/>
            <p:nvPr/>
          </p:nvSpPr>
          <p:spPr bwMode="auto">
            <a:xfrm>
              <a:off x="7009767" y="2393269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2" name="îṧḷîḓê">
              <a:extLst>
                <a:ext uri="{FF2B5EF4-FFF2-40B4-BE49-F238E27FC236}">
                  <a16:creationId xmlns:a16="http://schemas.microsoft.com/office/drawing/2014/main" id="{E6C40850-9D4B-44A6-A629-2FFE9EE51951}"/>
                </a:ext>
              </a:extLst>
            </p:cNvPr>
            <p:cNvSpPr/>
            <p:nvPr/>
          </p:nvSpPr>
          <p:spPr bwMode="auto">
            <a:xfrm>
              <a:off x="7119745" y="2064747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3" name="îŝḻïḑe">
              <a:extLst>
                <a:ext uri="{FF2B5EF4-FFF2-40B4-BE49-F238E27FC236}">
                  <a16:creationId xmlns:a16="http://schemas.microsoft.com/office/drawing/2014/main" id="{C11A4DFA-0C04-49CF-8517-0892F1B2D042}"/>
                </a:ext>
              </a:extLst>
            </p:cNvPr>
            <p:cNvSpPr/>
            <p:nvPr/>
          </p:nvSpPr>
          <p:spPr bwMode="auto">
            <a:xfrm>
              <a:off x="5577284" y="3491653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4" name="íśḷîḓe">
              <a:extLst>
                <a:ext uri="{FF2B5EF4-FFF2-40B4-BE49-F238E27FC236}">
                  <a16:creationId xmlns:a16="http://schemas.microsoft.com/office/drawing/2014/main" id="{547172FF-96FC-4C82-88FC-D1D559C41E5D}"/>
                </a:ext>
              </a:extLst>
            </p:cNvPr>
            <p:cNvSpPr/>
            <p:nvPr/>
          </p:nvSpPr>
          <p:spPr bwMode="auto">
            <a:xfrm>
              <a:off x="6806691" y="2613095"/>
              <a:ext cx="455767" cy="398140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5" name="íśliḍê">
              <a:extLst>
                <a:ext uri="{FF2B5EF4-FFF2-40B4-BE49-F238E27FC236}">
                  <a16:creationId xmlns:a16="http://schemas.microsoft.com/office/drawing/2014/main" id="{698BE461-04A1-40C2-8D3B-A7A7FB80ABD6}"/>
                </a:ext>
              </a:extLst>
            </p:cNvPr>
            <p:cNvSpPr/>
            <p:nvPr/>
          </p:nvSpPr>
          <p:spPr bwMode="auto">
            <a:xfrm>
              <a:off x="8308470" y="1612170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6" name="íşlíḓè">
              <a:extLst>
                <a:ext uri="{FF2B5EF4-FFF2-40B4-BE49-F238E27FC236}">
                  <a16:creationId xmlns:a16="http://schemas.microsoft.com/office/drawing/2014/main" id="{6957A080-4C62-44E5-AF0B-9A9F63522196}"/>
                </a:ext>
              </a:extLst>
            </p:cNvPr>
            <p:cNvSpPr/>
            <p:nvPr/>
          </p:nvSpPr>
          <p:spPr bwMode="auto">
            <a:xfrm>
              <a:off x="8396814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7" name="îṡ1îdè">
              <a:extLst>
                <a:ext uri="{FF2B5EF4-FFF2-40B4-BE49-F238E27FC236}">
                  <a16:creationId xmlns:a16="http://schemas.microsoft.com/office/drawing/2014/main" id="{66939D9B-8648-4942-BCF0-3E97B9693752}"/>
                </a:ext>
              </a:extLst>
            </p:cNvPr>
            <p:cNvSpPr/>
            <p:nvPr/>
          </p:nvSpPr>
          <p:spPr bwMode="auto">
            <a:xfrm>
              <a:off x="8396814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8" name="îṥľiḑê">
              <a:extLst>
                <a:ext uri="{FF2B5EF4-FFF2-40B4-BE49-F238E27FC236}">
                  <a16:creationId xmlns:a16="http://schemas.microsoft.com/office/drawing/2014/main" id="{20F1E7AD-C905-4A58-B03A-C563116B76A1}"/>
                </a:ext>
              </a:extLst>
            </p:cNvPr>
            <p:cNvSpPr/>
            <p:nvPr/>
          </p:nvSpPr>
          <p:spPr bwMode="auto">
            <a:xfrm>
              <a:off x="8396814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9" name="íṡḻïḍê">
              <a:extLst>
                <a:ext uri="{FF2B5EF4-FFF2-40B4-BE49-F238E27FC236}">
                  <a16:creationId xmlns:a16="http://schemas.microsoft.com/office/drawing/2014/main" id="{7BE9546B-9B4C-4950-8695-5E9676FBEA14}"/>
                </a:ext>
              </a:extLst>
            </p:cNvPr>
            <p:cNvSpPr/>
            <p:nvPr/>
          </p:nvSpPr>
          <p:spPr bwMode="auto">
            <a:xfrm>
              <a:off x="8485158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0" name="íślïḑé">
              <a:extLst>
                <a:ext uri="{FF2B5EF4-FFF2-40B4-BE49-F238E27FC236}">
                  <a16:creationId xmlns:a16="http://schemas.microsoft.com/office/drawing/2014/main" id="{F9ACC4B9-DB47-49B2-97CD-7991F5813F8A}"/>
                </a:ext>
              </a:extLst>
            </p:cNvPr>
            <p:cNvSpPr/>
            <p:nvPr/>
          </p:nvSpPr>
          <p:spPr bwMode="auto">
            <a:xfrm>
              <a:off x="8485158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1" name="îṥľïdé">
              <a:extLst>
                <a:ext uri="{FF2B5EF4-FFF2-40B4-BE49-F238E27FC236}">
                  <a16:creationId xmlns:a16="http://schemas.microsoft.com/office/drawing/2014/main" id="{A1FDDD45-F870-4EEF-BB57-6E0EA1FE60B6}"/>
                </a:ext>
              </a:extLst>
            </p:cNvPr>
            <p:cNvSpPr/>
            <p:nvPr/>
          </p:nvSpPr>
          <p:spPr bwMode="auto">
            <a:xfrm>
              <a:off x="8485158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2" name="î$ḻîḍè">
              <a:extLst>
                <a:ext uri="{FF2B5EF4-FFF2-40B4-BE49-F238E27FC236}">
                  <a16:creationId xmlns:a16="http://schemas.microsoft.com/office/drawing/2014/main" id="{E7F93D95-C9A9-4CFB-9B78-22D0B37023B8}"/>
                </a:ext>
              </a:extLst>
            </p:cNvPr>
            <p:cNvSpPr/>
            <p:nvPr/>
          </p:nvSpPr>
          <p:spPr bwMode="auto">
            <a:xfrm>
              <a:off x="8573503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3" name="iŝlíďè">
              <a:extLst>
                <a:ext uri="{FF2B5EF4-FFF2-40B4-BE49-F238E27FC236}">
                  <a16:creationId xmlns:a16="http://schemas.microsoft.com/office/drawing/2014/main" id="{292979D9-9158-4F51-85B9-275B4937420D}"/>
                </a:ext>
              </a:extLst>
            </p:cNvPr>
            <p:cNvSpPr/>
            <p:nvPr/>
          </p:nvSpPr>
          <p:spPr bwMode="auto">
            <a:xfrm>
              <a:off x="8573503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4" name="îśḷîḓê">
              <a:extLst>
                <a:ext uri="{FF2B5EF4-FFF2-40B4-BE49-F238E27FC236}">
                  <a16:creationId xmlns:a16="http://schemas.microsoft.com/office/drawing/2014/main" id="{57288FDC-FA47-444F-838A-AE7BA14E9704}"/>
                </a:ext>
              </a:extLst>
            </p:cNvPr>
            <p:cNvSpPr/>
            <p:nvPr/>
          </p:nvSpPr>
          <p:spPr bwMode="auto">
            <a:xfrm>
              <a:off x="8573503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5" name="ïṩļídè">
              <a:extLst>
                <a:ext uri="{FF2B5EF4-FFF2-40B4-BE49-F238E27FC236}">
                  <a16:creationId xmlns:a16="http://schemas.microsoft.com/office/drawing/2014/main" id="{0DD52044-CAB8-4110-ABB0-ED0AE45004AE}"/>
                </a:ext>
              </a:extLst>
            </p:cNvPr>
            <p:cNvSpPr/>
            <p:nvPr/>
          </p:nvSpPr>
          <p:spPr bwMode="auto">
            <a:xfrm>
              <a:off x="5963640" y="3000545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6" name="iṥḷíďè">
              <a:extLst>
                <a:ext uri="{FF2B5EF4-FFF2-40B4-BE49-F238E27FC236}">
                  <a16:creationId xmlns:a16="http://schemas.microsoft.com/office/drawing/2014/main" id="{55CB1C51-7CF4-4816-BDA0-983D7F0C20D3}"/>
                </a:ext>
              </a:extLst>
            </p:cNvPr>
            <p:cNvSpPr/>
            <p:nvPr/>
          </p:nvSpPr>
          <p:spPr bwMode="auto">
            <a:xfrm>
              <a:off x="5974904" y="3444551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7" name="ïŝľïḑè">
              <a:extLst>
                <a:ext uri="{FF2B5EF4-FFF2-40B4-BE49-F238E27FC236}">
                  <a16:creationId xmlns:a16="http://schemas.microsoft.com/office/drawing/2014/main" id="{E94699C8-4BE4-4967-8037-7193DB72347F}"/>
                </a:ext>
              </a:extLst>
            </p:cNvPr>
            <p:cNvSpPr/>
            <p:nvPr/>
          </p:nvSpPr>
          <p:spPr bwMode="auto">
            <a:xfrm>
              <a:off x="6324939" y="3313911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8" name="ïŝḻîḓé">
              <a:extLst>
                <a:ext uri="{FF2B5EF4-FFF2-40B4-BE49-F238E27FC236}">
                  <a16:creationId xmlns:a16="http://schemas.microsoft.com/office/drawing/2014/main" id="{49C45E0A-E45F-4E9C-923A-F5AEAF0645CA}"/>
                </a:ext>
              </a:extLst>
            </p:cNvPr>
            <p:cNvSpPr/>
            <p:nvPr/>
          </p:nvSpPr>
          <p:spPr bwMode="auto">
            <a:xfrm>
              <a:off x="6484958" y="3473930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9" name="îşľïḋè">
              <a:extLst>
                <a:ext uri="{FF2B5EF4-FFF2-40B4-BE49-F238E27FC236}">
                  <a16:creationId xmlns:a16="http://schemas.microsoft.com/office/drawing/2014/main" id="{E2C93590-05E4-4054-ACAC-33801945BC8A}"/>
                </a:ext>
              </a:extLst>
            </p:cNvPr>
            <p:cNvSpPr/>
            <p:nvPr/>
          </p:nvSpPr>
          <p:spPr bwMode="auto">
            <a:xfrm>
              <a:off x="6439479" y="3428451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0" name="isḷídé">
              <a:extLst>
                <a:ext uri="{FF2B5EF4-FFF2-40B4-BE49-F238E27FC236}">
                  <a16:creationId xmlns:a16="http://schemas.microsoft.com/office/drawing/2014/main" id="{7114935D-77BC-4A23-8B53-735C86438702}"/>
                </a:ext>
              </a:extLst>
            </p:cNvPr>
            <p:cNvSpPr/>
            <p:nvPr/>
          </p:nvSpPr>
          <p:spPr bwMode="auto">
            <a:xfrm>
              <a:off x="6536332" y="3523619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1" name="i$1îḍê">
              <a:extLst>
                <a:ext uri="{FF2B5EF4-FFF2-40B4-BE49-F238E27FC236}">
                  <a16:creationId xmlns:a16="http://schemas.microsoft.com/office/drawing/2014/main" id="{0E8C2A73-82FB-4690-A486-611246B6C009}"/>
                </a:ext>
              </a:extLst>
            </p:cNvPr>
            <p:cNvSpPr/>
            <p:nvPr/>
          </p:nvSpPr>
          <p:spPr bwMode="auto">
            <a:xfrm>
              <a:off x="6554018" y="3540463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2" name="íşḷïḍe">
              <a:extLst>
                <a:ext uri="{FF2B5EF4-FFF2-40B4-BE49-F238E27FC236}">
                  <a16:creationId xmlns:a16="http://schemas.microsoft.com/office/drawing/2014/main" id="{311C37C0-5D82-4AF4-97E1-8E8FC9B410F6}"/>
                </a:ext>
              </a:extLst>
            </p:cNvPr>
            <p:cNvSpPr/>
            <p:nvPr/>
          </p:nvSpPr>
          <p:spPr bwMode="auto">
            <a:xfrm>
              <a:off x="6545596" y="3532041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3" name="ïşḷiḓe">
              <a:extLst>
                <a:ext uri="{FF2B5EF4-FFF2-40B4-BE49-F238E27FC236}">
                  <a16:creationId xmlns:a16="http://schemas.microsoft.com/office/drawing/2014/main" id="{D010CEA9-AE08-4654-A936-E6D540E3B1CE}"/>
                </a:ext>
              </a:extLst>
            </p:cNvPr>
            <p:cNvSpPr/>
            <p:nvPr/>
          </p:nvSpPr>
          <p:spPr bwMode="auto">
            <a:xfrm>
              <a:off x="6422635" y="3412448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4" name="i$ḷïḓe">
              <a:extLst>
                <a:ext uri="{FF2B5EF4-FFF2-40B4-BE49-F238E27FC236}">
                  <a16:creationId xmlns:a16="http://schemas.microsoft.com/office/drawing/2014/main" id="{1369206E-A34D-4D3F-B7C2-C4DB2746AB55}"/>
                </a:ext>
              </a:extLst>
            </p:cNvPr>
            <p:cNvSpPr/>
            <p:nvPr/>
          </p:nvSpPr>
          <p:spPr bwMode="auto">
            <a:xfrm>
              <a:off x="6380524" y="3370338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5" name="i$ľîḋê">
              <a:extLst>
                <a:ext uri="{FF2B5EF4-FFF2-40B4-BE49-F238E27FC236}">
                  <a16:creationId xmlns:a16="http://schemas.microsoft.com/office/drawing/2014/main" id="{84A596C5-0EAD-4C21-A006-E7D5ED6D62A1}"/>
                </a:ext>
              </a:extLst>
            </p:cNvPr>
            <p:cNvSpPr/>
            <p:nvPr/>
          </p:nvSpPr>
          <p:spPr bwMode="auto">
            <a:xfrm>
              <a:off x="6401579" y="3391394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6" name="îṥļïḑè">
              <a:extLst>
                <a:ext uri="{FF2B5EF4-FFF2-40B4-BE49-F238E27FC236}">
                  <a16:creationId xmlns:a16="http://schemas.microsoft.com/office/drawing/2014/main" id="{BE5790DE-96D3-4DCB-9EB4-210D9EE18F42}"/>
                </a:ext>
              </a:extLst>
            </p:cNvPr>
            <p:cNvSpPr/>
            <p:nvPr/>
          </p:nvSpPr>
          <p:spPr bwMode="auto">
            <a:xfrm>
              <a:off x="7709827" y="226705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7" name="íśliḋê">
              <a:extLst>
                <a:ext uri="{FF2B5EF4-FFF2-40B4-BE49-F238E27FC236}">
                  <a16:creationId xmlns:a16="http://schemas.microsoft.com/office/drawing/2014/main" id="{F0BE3DF9-EF57-4C5E-ADCC-94E3805CCB13}"/>
                </a:ext>
              </a:extLst>
            </p:cNvPr>
            <p:cNvSpPr/>
            <p:nvPr/>
          </p:nvSpPr>
          <p:spPr bwMode="auto">
            <a:xfrm>
              <a:off x="7482755" y="218427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8" name="ïṧļidè">
              <a:extLst>
                <a:ext uri="{FF2B5EF4-FFF2-40B4-BE49-F238E27FC236}">
                  <a16:creationId xmlns:a16="http://schemas.microsoft.com/office/drawing/2014/main" id="{99B149D9-C42C-408D-ACCA-9F438AFFB77C}"/>
                </a:ext>
              </a:extLst>
            </p:cNvPr>
            <p:cNvSpPr/>
            <p:nvPr/>
          </p:nvSpPr>
          <p:spPr bwMode="auto">
            <a:xfrm>
              <a:off x="6958665" y="15033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9" name="îšľîḍê">
              <a:extLst>
                <a:ext uri="{FF2B5EF4-FFF2-40B4-BE49-F238E27FC236}">
                  <a16:creationId xmlns:a16="http://schemas.microsoft.com/office/drawing/2014/main" id="{B1B181B4-629E-4B90-9271-5266D0FD22EC}"/>
                </a:ext>
              </a:extLst>
            </p:cNvPr>
            <p:cNvSpPr/>
            <p:nvPr/>
          </p:nvSpPr>
          <p:spPr bwMode="auto">
            <a:xfrm>
              <a:off x="7231998" y="173570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0" name="ïśľïḑè">
              <a:extLst>
                <a:ext uri="{FF2B5EF4-FFF2-40B4-BE49-F238E27FC236}">
                  <a16:creationId xmlns:a16="http://schemas.microsoft.com/office/drawing/2014/main" id="{EE764945-0C46-405F-893B-43C1A59861C1}"/>
                </a:ext>
              </a:extLst>
            </p:cNvPr>
            <p:cNvSpPr/>
            <p:nvPr/>
          </p:nvSpPr>
          <p:spPr bwMode="auto">
            <a:xfrm>
              <a:off x="7295161" y="180013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1" name="îşḷïḋê">
              <a:extLst>
                <a:ext uri="{FF2B5EF4-FFF2-40B4-BE49-F238E27FC236}">
                  <a16:creationId xmlns:a16="http://schemas.microsoft.com/office/drawing/2014/main" id="{AF7239AD-D4AF-48F8-B65C-67D12B96F891}"/>
                </a:ext>
              </a:extLst>
            </p:cNvPr>
            <p:cNvSpPr/>
            <p:nvPr/>
          </p:nvSpPr>
          <p:spPr bwMode="auto">
            <a:xfrm>
              <a:off x="6938792" y="1861423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2" name="îslíḓè">
              <a:extLst>
                <a:ext uri="{FF2B5EF4-FFF2-40B4-BE49-F238E27FC236}">
                  <a16:creationId xmlns:a16="http://schemas.microsoft.com/office/drawing/2014/main" id="{27E0A046-5098-4BDB-9C30-DA5D2E3F58AB}"/>
                </a:ext>
              </a:extLst>
            </p:cNvPr>
            <p:cNvSpPr/>
            <p:nvPr/>
          </p:nvSpPr>
          <p:spPr bwMode="auto">
            <a:xfrm>
              <a:off x="6904678" y="1827309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3" name="ïS1ïďe">
              <a:extLst>
                <a:ext uri="{FF2B5EF4-FFF2-40B4-BE49-F238E27FC236}">
                  <a16:creationId xmlns:a16="http://schemas.microsoft.com/office/drawing/2014/main" id="{5B0D61BF-268C-4196-A2E0-FF86AD3BE776}"/>
                </a:ext>
              </a:extLst>
            </p:cNvPr>
            <p:cNvSpPr/>
            <p:nvPr/>
          </p:nvSpPr>
          <p:spPr bwMode="auto">
            <a:xfrm>
              <a:off x="7693747" y="1703694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4" name="îṧ1iďè">
              <a:extLst>
                <a:ext uri="{FF2B5EF4-FFF2-40B4-BE49-F238E27FC236}">
                  <a16:creationId xmlns:a16="http://schemas.microsoft.com/office/drawing/2014/main" id="{D717E463-F3E5-4CC9-8230-4250526A916F}"/>
                </a:ext>
              </a:extLst>
            </p:cNvPr>
            <p:cNvSpPr/>
            <p:nvPr/>
          </p:nvSpPr>
          <p:spPr bwMode="auto">
            <a:xfrm>
              <a:off x="8278886" y="208154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5" name="íş1ïďè">
              <a:extLst>
                <a:ext uri="{FF2B5EF4-FFF2-40B4-BE49-F238E27FC236}">
                  <a16:creationId xmlns:a16="http://schemas.microsoft.com/office/drawing/2014/main" id="{6FE687B9-0EB3-4051-B177-408C632B93E3}"/>
                </a:ext>
              </a:extLst>
            </p:cNvPr>
            <p:cNvSpPr/>
            <p:nvPr/>
          </p:nvSpPr>
          <p:spPr bwMode="auto">
            <a:xfrm>
              <a:off x="8765863" y="1571348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6" name="ïṥḷïḑè">
              <a:extLst>
                <a:ext uri="{FF2B5EF4-FFF2-40B4-BE49-F238E27FC236}">
                  <a16:creationId xmlns:a16="http://schemas.microsoft.com/office/drawing/2014/main" id="{BEE78D8F-CCA7-4A55-B977-5391FA01627E}"/>
                </a:ext>
              </a:extLst>
            </p:cNvPr>
            <p:cNvSpPr/>
            <p:nvPr/>
          </p:nvSpPr>
          <p:spPr bwMode="auto">
            <a:xfrm>
              <a:off x="8578756" y="2031654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7" name="işļîḓê">
              <a:extLst>
                <a:ext uri="{FF2B5EF4-FFF2-40B4-BE49-F238E27FC236}">
                  <a16:creationId xmlns:a16="http://schemas.microsoft.com/office/drawing/2014/main" id="{FC05229E-D210-4A12-9423-B7A3BB98B3C4}"/>
                </a:ext>
              </a:extLst>
            </p:cNvPr>
            <p:cNvSpPr/>
            <p:nvPr/>
          </p:nvSpPr>
          <p:spPr bwMode="auto">
            <a:xfrm>
              <a:off x="8639165" y="2092063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8" name="ïs1iḓè">
              <a:extLst>
                <a:ext uri="{FF2B5EF4-FFF2-40B4-BE49-F238E27FC236}">
                  <a16:creationId xmlns:a16="http://schemas.microsoft.com/office/drawing/2014/main" id="{7FD84465-66CE-4BF1-A88F-37536783EA39}"/>
                </a:ext>
              </a:extLst>
            </p:cNvPr>
            <p:cNvSpPr/>
            <p:nvPr/>
          </p:nvSpPr>
          <p:spPr bwMode="auto">
            <a:xfrm>
              <a:off x="9484711" y="112786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9" name="ïşľíḋê">
              <a:extLst>
                <a:ext uri="{FF2B5EF4-FFF2-40B4-BE49-F238E27FC236}">
                  <a16:creationId xmlns:a16="http://schemas.microsoft.com/office/drawing/2014/main" id="{BDEE2489-F6D0-48A2-8B48-6142AB5E9721}"/>
                </a:ext>
              </a:extLst>
            </p:cNvPr>
            <p:cNvSpPr/>
            <p:nvPr/>
          </p:nvSpPr>
          <p:spPr bwMode="auto">
            <a:xfrm>
              <a:off x="9676468" y="149163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0" name="iṩḻíḑe">
              <a:extLst>
                <a:ext uri="{FF2B5EF4-FFF2-40B4-BE49-F238E27FC236}">
                  <a16:creationId xmlns:a16="http://schemas.microsoft.com/office/drawing/2014/main" id="{D182D4E8-1F02-4EAB-9BBD-C3707ED46C79}"/>
                </a:ext>
              </a:extLst>
            </p:cNvPr>
            <p:cNvSpPr/>
            <p:nvPr/>
          </p:nvSpPr>
          <p:spPr bwMode="auto">
            <a:xfrm>
              <a:off x="8930021" y="1306442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1" name="ïŝlïḍè">
              <a:extLst>
                <a:ext uri="{FF2B5EF4-FFF2-40B4-BE49-F238E27FC236}">
                  <a16:creationId xmlns:a16="http://schemas.microsoft.com/office/drawing/2014/main" id="{2776C2EF-931A-4972-85F8-09EDD3D1D218}"/>
                </a:ext>
              </a:extLst>
            </p:cNvPr>
            <p:cNvSpPr/>
            <p:nvPr/>
          </p:nvSpPr>
          <p:spPr bwMode="auto">
            <a:xfrm>
              <a:off x="9000194" y="1330025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2" name="îsļîďê">
              <a:extLst>
                <a:ext uri="{FF2B5EF4-FFF2-40B4-BE49-F238E27FC236}">
                  <a16:creationId xmlns:a16="http://schemas.microsoft.com/office/drawing/2014/main" id="{BA7F275D-3B2C-4E2F-ABAA-C07C8DF9791C}"/>
                </a:ext>
              </a:extLst>
            </p:cNvPr>
            <p:cNvSpPr/>
            <p:nvPr/>
          </p:nvSpPr>
          <p:spPr bwMode="auto">
            <a:xfrm>
              <a:off x="9008247" y="1525016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3" name="íS1idê">
              <a:extLst>
                <a:ext uri="{FF2B5EF4-FFF2-40B4-BE49-F238E27FC236}">
                  <a16:creationId xmlns:a16="http://schemas.microsoft.com/office/drawing/2014/main" id="{60171F36-3A6B-4F51-85DD-05DFC5BB1967}"/>
                </a:ext>
              </a:extLst>
            </p:cNvPr>
            <p:cNvSpPr/>
            <p:nvPr/>
          </p:nvSpPr>
          <p:spPr bwMode="auto">
            <a:xfrm>
              <a:off x="8197203" y="2640891"/>
              <a:ext cx="200484" cy="200483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4" name="íṡlîďê">
              <a:extLst>
                <a:ext uri="{FF2B5EF4-FFF2-40B4-BE49-F238E27FC236}">
                  <a16:creationId xmlns:a16="http://schemas.microsoft.com/office/drawing/2014/main" id="{5109D0EE-E438-4F4F-BBBB-C536CCCBDE62}"/>
                </a:ext>
              </a:extLst>
            </p:cNvPr>
            <p:cNvSpPr/>
            <p:nvPr/>
          </p:nvSpPr>
          <p:spPr bwMode="auto">
            <a:xfrm>
              <a:off x="8279204" y="2368522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5" name="ïṣliḑe">
              <a:extLst>
                <a:ext uri="{FF2B5EF4-FFF2-40B4-BE49-F238E27FC236}">
                  <a16:creationId xmlns:a16="http://schemas.microsoft.com/office/drawing/2014/main" id="{375E9627-0B4A-492D-80E7-86CE8BA1A58D}"/>
                </a:ext>
              </a:extLst>
            </p:cNvPr>
            <p:cNvSpPr/>
            <p:nvPr/>
          </p:nvSpPr>
          <p:spPr bwMode="auto">
            <a:xfrm>
              <a:off x="8416248" y="2455104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6" name="íṣľíďê">
              <a:extLst>
                <a:ext uri="{FF2B5EF4-FFF2-40B4-BE49-F238E27FC236}">
                  <a16:creationId xmlns:a16="http://schemas.microsoft.com/office/drawing/2014/main" id="{C559CE72-F82B-4448-B5CE-0786F3837B20}"/>
                </a:ext>
              </a:extLst>
            </p:cNvPr>
            <p:cNvSpPr/>
            <p:nvPr/>
          </p:nvSpPr>
          <p:spPr bwMode="auto">
            <a:xfrm>
              <a:off x="8416248" y="2433326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7" name="îSḷîḍé">
              <a:extLst>
                <a:ext uri="{FF2B5EF4-FFF2-40B4-BE49-F238E27FC236}">
                  <a16:creationId xmlns:a16="http://schemas.microsoft.com/office/drawing/2014/main" id="{18AB97EE-A53C-4741-AD76-99E4059D8293}"/>
                </a:ext>
              </a:extLst>
            </p:cNvPr>
            <p:cNvSpPr/>
            <p:nvPr/>
          </p:nvSpPr>
          <p:spPr bwMode="auto">
            <a:xfrm>
              <a:off x="8416248" y="2412078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8" name="ïsḻíďe">
              <a:extLst>
                <a:ext uri="{FF2B5EF4-FFF2-40B4-BE49-F238E27FC236}">
                  <a16:creationId xmlns:a16="http://schemas.microsoft.com/office/drawing/2014/main" id="{3285E2B9-14DF-49B5-A22C-A7BE58EBB110}"/>
                </a:ext>
              </a:extLst>
            </p:cNvPr>
            <p:cNvSpPr/>
            <p:nvPr/>
          </p:nvSpPr>
          <p:spPr bwMode="auto">
            <a:xfrm>
              <a:off x="8337102" y="2563464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9" name="îSľide">
              <a:extLst>
                <a:ext uri="{FF2B5EF4-FFF2-40B4-BE49-F238E27FC236}">
                  <a16:creationId xmlns:a16="http://schemas.microsoft.com/office/drawing/2014/main" id="{426948E7-B4C2-470A-AA0E-ACF7E8C51189}"/>
                </a:ext>
              </a:extLst>
            </p:cNvPr>
            <p:cNvSpPr/>
            <p:nvPr/>
          </p:nvSpPr>
          <p:spPr bwMode="auto">
            <a:xfrm>
              <a:off x="8337102" y="2541686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0" name="ïSḻídê">
              <a:extLst>
                <a:ext uri="{FF2B5EF4-FFF2-40B4-BE49-F238E27FC236}">
                  <a16:creationId xmlns:a16="http://schemas.microsoft.com/office/drawing/2014/main" id="{37DDF254-127A-4C28-ADC0-E7B49ED38767}"/>
                </a:ext>
              </a:extLst>
            </p:cNvPr>
            <p:cNvSpPr/>
            <p:nvPr/>
          </p:nvSpPr>
          <p:spPr bwMode="auto">
            <a:xfrm>
              <a:off x="8337102" y="2520439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1" name="iṥľíḍè">
              <a:extLst>
                <a:ext uri="{FF2B5EF4-FFF2-40B4-BE49-F238E27FC236}">
                  <a16:creationId xmlns:a16="http://schemas.microsoft.com/office/drawing/2014/main" id="{06A494C3-C7D2-4E59-9766-B9C897AA59EB}"/>
                </a:ext>
              </a:extLst>
            </p:cNvPr>
            <p:cNvSpPr/>
            <p:nvPr/>
          </p:nvSpPr>
          <p:spPr bwMode="auto">
            <a:xfrm>
              <a:off x="8416248" y="2563464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2" name="îS1iḍe">
              <a:extLst>
                <a:ext uri="{FF2B5EF4-FFF2-40B4-BE49-F238E27FC236}">
                  <a16:creationId xmlns:a16="http://schemas.microsoft.com/office/drawing/2014/main" id="{57ADD0B2-91FA-4AF9-BD59-93E8FD0582BA}"/>
                </a:ext>
              </a:extLst>
            </p:cNvPr>
            <p:cNvSpPr/>
            <p:nvPr/>
          </p:nvSpPr>
          <p:spPr bwMode="auto">
            <a:xfrm>
              <a:off x="8416248" y="2541686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3" name="iṣḻîďê">
              <a:extLst>
                <a:ext uri="{FF2B5EF4-FFF2-40B4-BE49-F238E27FC236}">
                  <a16:creationId xmlns:a16="http://schemas.microsoft.com/office/drawing/2014/main" id="{29B37BF0-4B8E-41F7-B2F6-16CEAD875153}"/>
                </a:ext>
              </a:extLst>
            </p:cNvPr>
            <p:cNvSpPr/>
            <p:nvPr/>
          </p:nvSpPr>
          <p:spPr bwMode="auto">
            <a:xfrm>
              <a:off x="8416248" y="2520439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4" name="ïṥḷiḍé">
              <a:extLst>
                <a:ext uri="{FF2B5EF4-FFF2-40B4-BE49-F238E27FC236}">
                  <a16:creationId xmlns:a16="http://schemas.microsoft.com/office/drawing/2014/main" id="{05B61AE6-D88A-46EF-A278-4D1E2F5BA7E8}"/>
                </a:ext>
              </a:extLst>
            </p:cNvPr>
            <p:cNvSpPr/>
            <p:nvPr/>
          </p:nvSpPr>
          <p:spPr bwMode="auto">
            <a:xfrm>
              <a:off x="8337102" y="2476882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5" name="îsļiḍê">
              <a:extLst>
                <a:ext uri="{FF2B5EF4-FFF2-40B4-BE49-F238E27FC236}">
                  <a16:creationId xmlns:a16="http://schemas.microsoft.com/office/drawing/2014/main" id="{BE23FC33-E801-4D94-9296-C28309944AC5}"/>
                </a:ext>
              </a:extLst>
            </p:cNvPr>
            <p:cNvSpPr/>
            <p:nvPr/>
          </p:nvSpPr>
          <p:spPr bwMode="auto">
            <a:xfrm>
              <a:off x="8337102" y="2498660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6" name="iṡḻïḓê">
              <a:extLst>
                <a:ext uri="{FF2B5EF4-FFF2-40B4-BE49-F238E27FC236}">
                  <a16:creationId xmlns:a16="http://schemas.microsoft.com/office/drawing/2014/main" id="{ED1CFC2F-7145-4945-BEB6-3EF6EDF24182}"/>
                </a:ext>
              </a:extLst>
            </p:cNvPr>
            <p:cNvSpPr/>
            <p:nvPr/>
          </p:nvSpPr>
          <p:spPr bwMode="auto">
            <a:xfrm>
              <a:off x="8337102" y="2397206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7" name="iṩḷîḓê">
              <a:extLst>
                <a:ext uri="{FF2B5EF4-FFF2-40B4-BE49-F238E27FC236}">
                  <a16:creationId xmlns:a16="http://schemas.microsoft.com/office/drawing/2014/main" id="{7923E032-0A0A-4FB1-B29C-018EEB61CA3B}"/>
                </a:ext>
              </a:extLst>
            </p:cNvPr>
            <p:cNvSpPr/>
            <p:nvPr/>
          </p:nvSpPr>
          <p:spPr bwMode="auto">
            <a:xfrm>
              <a:off x="7972072" y="236765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8" name="iṣļídè">
              <a:extLst>
                <a:ext uri="{FF2B5EF4-FFF2-40B4-BE49-F238E27FC236}">
                  <a16:creationId xmlns:a16="http://schemas.microsoft.com/office/drawing/2014/main" id="{FC4EA6FB-A4AF-448E-8A71-CC9FDA5FE7D7}"/>
                </a:ext>
              </a:extLst>
            </p:cNvPr>
            <p:cNvSpPr/>
            <p:nvPr/>
          </p:nvSpPr>
          <p:spPr bwMode="auto">
            <a:xfrm>
              <a:off x="8011140" y="251595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9" name="iśliḍè">
              <a:extLst>
                <a:ext uri="{FF2B5EF4-FFF2-40B4-BE49-F238E27FC236}">
                  <a16:creationId xmlns:a16="http://schemas.microsoft.com/office/drawing/2014/main" id="{E6C7606D-640C-48A4-A64C-28AFB5AF2906}"/>
                </a:ext>
              </a:extLst>
            </p:cNvPr>
            <p:cNvSpPr/>
            <p:nvPr/>
          </p:nvSpPr>
          <p:spPr bwMode="auto">
            <a:xfrm>
              <a:off x="9865371" y="883005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0" name="işlïḓè">
              <a:extLst>
                <a:ext uri="{FF2B5EF4-FFF2-40B4-BE49-F238E27FC236}">
                  <a16:creationId xmlns:a16="http://schemas.microsoft.com/office/drawing/2014/main" id="{D0F88A41-2613-42FD-A0C7-78EEB84CA39E}"/>
                </a:ext>
              </a:extLst>
            </p:cNvPr>
            <p:cNvSpPr/>
            <p:nvPr/>
          </p:nvSpPr>
          <p:spPr bwMode="auto">
            <a:xfrm>
              <a:off x="10078620" y="1470466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1" name="îṡļíďe">
              <a:extLst>
                <a:ext uri="{FF2B5EF4-FFF2-40B4-BE49-F238E27FC236}">
                  <a16:creationId xmlns:a16="http://schemas.microsoft.com/office/drawing/2014/main" id="{A7455319-B676-4CD2-B25A-4FF08BC4AF69}"/>
                </a:ext>
              </a:extLst>
            </p:cNvPr>
            <p:cNvSpPr/>
            <p:nvPr/>
          </p:nvSpPr>
          <p:spPr bwMode="auto">
            <a:xfrm>
              <a:off x="9976351" y="1368197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2" name="i$ḻiḍè">
              <a:extLst>
                <a:ext uri="{FF2B5EF4-FFF2-40B4-BE49-F238E27FC236}">
                  <a16:creationId xmlns:a16="http://schemas.microsoft.com/office/drawing/2014/main" id="{8C2E8046-D966-49D3-815D-7CF3A4FB6393}"/>
                </a:ext>
              </a:extLst>
            </p:cNvPr>
            <p:cNvSpPr/>
            <p:nvPr/>
          </p:nvSpPr>
          <p:spPr bwMode="auto">
            <a:xfrm>
              <a:off x="9232257" y="150775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3" name="iśḷïďé">
              <a:extLst>
                <a:ext uri="{FF2B5EF4-FFF2-40B4-BE49-F238E27FC236}">
                  <a16:creationId xmlns:a16="http://schemas.microsoft.com/office/drawing/2014/main" id="{4240F6F6-5E95-4D56-A054-7C0BCFC0BA95}"/>
                </a:ext>
              </a:extLst>
            </p:cNvPr>
            <p:cNvSpPr/>
            <p:nvPr/>
          </p:nvSpPr>
          <p:spPr bwMode="auto">
            <a:xfrm>
              <a:off x="9166223" y="144494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4" name="iṩ1ide">
              <a:extLst>
                <a:ext uri="{FF2B5EF4-FFF2-40B4-BE49-F238E27FC236}">
                  <a16:creationId xmlns:a16="http://schemas.microsoft.com/office/drawing/2014/main" id="{782F683E-79F3-429B-BD77-DBAD015498C8}"/>
                </a:ext>
              </a:extLst>
            </p:cNvPr>
            <p:cNvSpPr/>
            <p:nvPr/>
          </p:nvSpPr>
          <p:spPr bwMode="auto">
            <a:xfrm>
              <a:off x="9992589" y="499752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5" name="îS1íḓê">
              <a:extLst>
                <a:ext uri="{FF2B5EF4-FFF2-40B4-BE49-F238E27FC236}">
                  <a16:creationId xmlns:a16="http://schemas.microsoft.com/office/drawing/2014/main" id="{FED742D2-F3E1-4E4A-9942-CB04C6B728E5}"/>
                </a:ext>
              </a:extLst>
            </p:cNvPr>
            <p:cNvSpPr/>
            <p:nvPr/>
          </p:nvSpPr>
          <p:spPr bwMode="auto">
            <a:xfrm>
              <a:off x="10035460" y="542623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6" name="îśļíďè">
              <a:extLst>
                <a:ext uri="{FF2B5EF4-FFF2-40B4-BE49-F238E27FC236}">
                  <a16:creationId xmlns:a16="http://schemas.microsoft.com/office/drawing/2014/main" id="{6BBC188E-89C0-4453-9F91-9548A4D18959}"/>
                </a:ext>
              </a:extLst>
            </p:cNvPr>
            <p:cNvSpPr/>
            <p:nvPr/>
          </p:nvSpPr>
          <p:spPr bwMode="auto">
            <a:xfrm>
              <a:off x="10165662" y="575173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7" name="íŝļídê">
              <a:extLst>
                <a:ext uri="{FF2B5EF4-FFF2-40B4-BE49-F238E27FC236}">
                  <a16:creationId xmlns:a16="http://schemas.microsoft.com/office/drawing/2014/main" id="{43195186-85E9-4AE8-AEBD-8BC24B451E5D}"/>
                </a:ext>
              </a:extLst>
            </p:cNvPr>
            <p:cNvSpPr/>
            <p:nvPr/>
          </p:nvSpPr>
          <p:spPr bwMode="auto">
            <a:xfrm>
              <a:off x="9362132" y="1846415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8" name="íSḷïďe">
              <a:extLst>
                <a:ext uri="{FF2B5EF4-FFF2-40B4-BE49-F238E27FC236}">
                  <a16:creationId xmlns:a16="http://schemas.microsoft.com/office/drawing/2014/main" id="{30718709-42D4-4FA2-A51D-200E9BCB9AE6}"/>
                </a:ext>
              </a:extLst>
            </p:cNvPr>
            <p:cNvSpPr/>
            <p:nvPr/>
          </p:nvSpPr>
          <p:spPr bwMode="auto">
            <a:xfrm>
              <a:off x="9293063" y="1777346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9" name="ïśḻîḓè">
              <a:extLst>
                <a:ext uri="{FF2B5EF4-FFF2-40B4-BE49-F238E27FC236}">
                  <a16:creationId xmlns:a16="http://schemas.microsoft.com/office/drawing/2014/main" id="{9CCC753B-B879-4B44-AD64-6F0E9E986B18}"/>
                </a:ext>
              </a:extLst>
            </p:cNvPr>
            <p:cNvSpPr/>
            <p:nvPr/>
          </p:nvSpPr>
          <p:spPr bwMode="auto">
            <a:xfrm>
              <a:off x="8855979" y="1848262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0" name="iṥľíḓê">
              <a:extLst>
                <a:ext uri="{FF2B5EF4-FFF2-40B4-BE49-F238E27FC236}">
                  <a16:creationId xmlns:a16="http://schemas.microsoft.com/office/drawing/2014/main" id="{5AB067AA-2B45-4954-A16F-3BC4B377E173}"/>
                </a:ext>
              </a:extLst>
            </p:cNvPr>
            <p:cNvSpPr/>
            <p:nvPr/>
          </p:nvSpPr>
          <p:spPr bwMode="auto">
            <a:xfrm>
              <a:off x="8657376" y="2343826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1" name="iṣľiḑe">
              <a:extLst>
                <a:ext uri="{FF2B5EF4-FFF2-40B4-BE49-F238E27FC236}">
                  <a16:creationId xmlns:a16="http://schemas.microsoft.com/office/drawing/2014/main" id="{5433022D-57A7-4AFE-B4FA-119AC6DC0D08}"/>
                </a:ext>
              </a:extLst>
            </p:cNvPr>
            <p:cNvSpPr/>
            <p:nvPr/>
          </p:nvSpPr>
          <p:spPr bwMode="auto">
            <a:xfrm>
              <a:off x="10378754" y="73939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2" name="ïŝlíḑè">
              <a:extLst>
                <a:ext uri="{FF2B5EF4-FFF2-40B4-BE49-F238E27FC236}">
                  <a16:creationId xmlns:a16="http://schemas.microsoft.com/office/drawing/2014/main" id="{0ABD96A6-6B55-45A6-8F56-931989FB6151}"/>
                </a:ext>
              </a:extLst>
            </p:cNvPr>
            <p:cNvSpPr/>
            <p:nvPr/>
          </p:nvSpPr>
          <p:spPr bwMode="auto">
            <a:xfrm>
              <a:off x="10630602" y="237812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3" name="iṥlíḓe">
              <a:extLst>
                <a:ext uri="{FF2B5EF4-FFF2-40B4-BE49-F238E27FC236}">
                  <a16:creationId xmlns:a16="http://schemas.microsoft.com/office/drawing/2014/main" id="{ADAFC839-486E-4996-861B-79B1CCA401D5}"/>
                </a:ext>
              </a:extLst>
            </p:cNvPr>
            <p:cNvSpPr/>
            <p:nvPr/>
          </p:nvSpPr>
          <p:spPr bwMode="auto">
            <a:xfrm>
              <a:off x="10691011" y="298221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4" name="íṧ1ïḓé">
              <a:extLst>
                <a:ext uri="{FF2B5EF4-FFF2-40B4-BE49-F238E27FC236}">
                  <a16:creationId xmlns:a16="http://schemas.microsoft.com/office/drawing/2014/main" id="{BD011CD4-3855-4A27-A9C6-BA45F05C527C}"/>
                </a:ext>
              </a:extLst>
            </p:cNvPr>
            <p:cNvSpPr/>
            <p:nvPr/>
          </p:nvSpPr>
          <p:spPr bwMode="auto">
            <a:xfrm>
              <a:off x="10343786" y="59033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5" name="ïSľídè">
              <a:extLst>
                <a:ext uri="{FF2B5EF4-FFF2-40B4-BE49-F238E27FC236}">
                  <a16:creationId xmlns:a16="http://schemas.microsoft.com/office/drawing/2014/main" id="{32F2313C-1383-4AFA-99D0-A9D2966E37F2}"/>
                </a:ext>
              </a:extLst>
            </p:cNvPr>
            <p:cNvSpPr/>
            <p:nvPr/>
          </p:nvSpPr>
          <p:spPr bwMode="auto">
            <a:xfrm>
              <a:off x="10535543" y="95410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6" name="iš1ïḍé">
              <a:extLst>
                <a:ext uri="{FF2B5EF4-FFF2-40B4-BE49-F238E27FC236}">
                  <a16:creationId xmlns:a16="http://schemas.microsoft.com/office/drawing/2014/main" id="{DC52BDE0-DF1E-4D29-966D-1ED16F14DB4D}"/>
                </a:ext>
              </a:extLst>
            </p:cNvPr>
            <p:cNvSpPr/>
            <p:nvPr/>
          </p:nvSpPr>
          <p:spPr bwMode="auto">
            <a:xfrm>
              <a:off x="10388558" y="33795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7" name="í$ľîdè">
              <a:extLst>
                <a:ext uri="{FF2B5EF4-FFF2-40B4-BE49-F238E27FC236}">
                  <a16:creationId xmlns:a16="http://schemas.microsoft.com/office/drawing/2014/main" id="{E61CB8C1-AF97-43CF-9DDB-0C467470607F}"/>
                </a:ext>
              </a:extLst>
            </p:cNvPr>
            <p:cNvSpPr/>
            <p:nvPr/>
          </p:nvSpPr>
          <p:spPr bwMode="auto">
            <a:xfrm>
              <a:off x="10525602" y="42453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8" name="ïṩḷîḍè">
              <a:extLst>
                <a:ext uri="{FF2B5EF4-FFF2-40B4-BE49-F238E27FC236}">
                  <a16:creationId xmlns:a16="http://schemas.microsoft.com/office/drawing/2014/main" id="{B3169ED8-42F8-4619-AA8A-ECFD0ED0DF01}"/>
                </a:ext>
              </a:extLst>
            </p:cNvPr>
            <p:cNvSpPr/>
            <p:nvPr/>
          </p:nvSpPr>
          <p:spPr bwMode="auto">
            <a:xfrm>
              <a:off x="10525602" y="40276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9" name="išḷídê">
              <a:extLst>
                <a:ext uri="{FF2B5EF4-FFF2-40B4-BE49-F238E27FC236}">
                  <a16:creationId xmlns:a16="http://schemas.microsoft.com/office/drawing/2014/main" id="{3CA233F6-AF9B-4B52-A362-414FFBA41586}"/>
                </a:ext>
              </a:extLst>
            </p:cNvPr>
            <p:cNvSpPr/>
            <p:nvPr/>
          </p:nvSpPr>
          <p:spPr bwMode="auto">
            <a:xfrm>
              <a:off x="10525602" y="38151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0" name="ïSḻïḍè">
              <a:extLst>
                <a:ext uri="{FF2B5EF4-FFF2-40B4-BE49-F238E27FC236}">
                  <a16:creationId xmlns:a16="http://schemas.microsoft.com/office/drawing/2014/main" id="{FCED500F-4B38-4A2F-B143-D626E99D0385}"/>
                </a:ext>
              </a:extLst>
            </p:cNvPr>
            <p:cNvSpPr/>
            <p:nvPr/>
          </p:nvSpPr>
          <p:spPr bwMode="auto">
            <a:xfrm>
              <a:off x="10446456" y="53289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1" name="îṩļïḋé">
              <a:extLst>
                <a:ext uri="{FF2B5EF4-FFF2-40B4-BE49-F238E27FC236}">
                  <a16:creationId xmlns:a16="http://schemas.microsoft.com/office/drawing/2014/main" id="{E90B1CAB-6A56-4ECD-903D-848827C328A3}"/>
                </a:ext>
              </a:extLst>
            </p:cNvPr>
            <p:cNvSpPr/>
            <p:nvPr/>
          </p:nvSpPr>
          <p:spPr bwMode="auto">
            <a:xfrm>
              <a:off x="10446456" y="51112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2" name="iś1ïďè">
              <a:extLst>
                <a:ext uri="{FF2B5EF4-FFF2-40B4-BE49-F238E27FC236}">
                  <a16:creationId xmlns:a16="http://schemas.microsoft.com/office/drawing/2014/main" id="{EC85EAF2-4BBC-4A5B-86CD-D1D94E91CCD5}"/>
                </a:ext>
              </a:extLst>
            </p:cNvPr>
            <p:cNvSpPr/>
            <p:nvPr/>
          </p:nvSpPr>
          <p:spPr bwMode="auto">
            <a:xfrm>
              <a:off x="10446456" y="48987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3" name="îŝḷïḋe">
              <a:extLst>
                <a:ext uri="{FF2B5EF4-FFF2-40B4-BE49-F238E27FC236}">
                  <a16:creationId xmlns:a16="http://schemas.microsoft.com/office/drawing/2014/main" id="{058134FC-E841-49A8-8AB4-47290292C231}"/>
                </a:ext>
              </a:extLst>
            </p:cNvPr>
            <p:cNvSpPr/>
            <p:nvPr/>
          </p:nvSpPr>
          <p:spPr bwMode="auto">
            <a:xfrm>
              <a:off x="10525602" y="53289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4" name="ïsļiḋè">
              <a:extLst>
                <a:ext uri="{FF2B5EF4-FFF2-40B4-BE49-F238E27FC236}">
                  <a16:creationId xmlns:a16="http://schemas.microsoft.com/office/drawing/2014/main" id="{2BCEED29-6D49-4401-A968-CC6E92506498}"/>
                </a:ext>
              </a:extLst>
            </p:cNvPr>
            <p:cNvSpPr/>
            <p:nvPr/>
          </p:nvSpPr>
          <p:spPr bwMode="auto">
            <a:xfrm>
              <a:off x="10525602" y="51112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5" name="îṣḷidè">
              <a:extLst>
                <a:ext uri="{FF2B5EF4-FFF2-40B4-BE49-F238E27FC236}">
                  <a16:creationId xmlns:a16="http://schemas.microsoft.com/office/drawing/2014/main" id="{20162013-75B3-4A85-BE41-2F047D5052ED}"/>
                </a:ext>
              </a:extLst>
            </p:cNvPr>
            <p:cNvSpPr/>
            <p:nvPr/>
          </p:nvSpPr>
          <p:spPr bwMode="auto">
            <a:xfrm>
              <a:off x="10525602" y="48987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6" name="îṡḻïďé">
              <a:extLst>
                <a:ext uri="{FF2B5EF4-FFF2-40B4-BE49-F238E27FC236}">
                  <a16:creationId xmlns:a16="http://schemas.microsoft.com/office/drawing/2014/main" id="{F2D612A3-BFBB-4FAF-BC38-CF111F024494}"/>
                </a:ext>
              </a:extLst>
            </p:cNvPr>
            <p:cNvSpPr/>
            <p:nvPr/>
          </p:nvSpPr>
          <p:spPr bwMode="auto">
            <a:xfrm>
              <a:off x="10446456" y="44631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7" name="îşlïḍe">
              <a:extLst>
                <a:ext uri="{FF2B5EF4-FFF2-40B4-BE49-F238E27FC236}">
                  <a16:creationId xmlns:a16="http://schemas.microsoft.com/office/drawing/2014/main" id="{CC94BECC-798F-4790-8CBC-2B77A123B7F8}"/>
                </a:ext>
              </a:extLst>
            </p:cNvPr>
            <p:cNvSpPr/>
            <p:nvPr/>
          </p:nvSpPr>
          <p:spPr bwMode="auto">
            <a:xfrm>
              <a:off x="10446456" y="46809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8" name="i$ḻíḓè">
              <a:extLst>
                <a:ext uri="{FF2B5EF4-FFF2-40B4-BE49-F238E27FC236}">
                  <a16:creationId xmlns:a16="http://schemas.microsoft.com/office/drawing/2014/main" id="{CE55500B-A026-495E-83D5-38064126EE1C}"/>
                </a:ext>
              </a:extLst>
            </p:cNvPr>
            <p:cNvSpPr/>
            <p:nvPr/>
          </p:nvSpPr>
          <p:spPr bwMode="auto">
            <a:xfrm>
              <a:off x="10446456" y="36664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9" name="işḷîde">
              <a:extLst>
                <a:ext uri="{FF2B5EF4-FFF2-40B4-BE49-F238E27FC236}">
                  <a16:creationId xmlns:a16="http://schemas.microsoft.com/office/drawing/2014/main" id="{055015D7-8251-4E60-A933-DF908F045E3C}"/>
                </a:ext>
              </a:extLst>
            </p:cNvPr>
            <p:cNvSpPr/>
            <p:nvPr/>
          </p:nvSpPr>
          <p:spPr bwMode="auto">
            <a:xfrm>
              <a:off x="10135370" y="93739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0" name="ïṩ1ídé">
              <a:extLst>
                <a:ext uri="{FF2B5EF4-FFF2-40B4-BE49-F238E27FC236}">
                  <a16:creationId xmlns:a16="http://schemas.microsoft.com/office/drawing/2014/main" id="{4FEA6D0B-9CFB-45D5-BE23-C19F5B28FE43}"/>
                </a:ext>
              </a:extLst>
            </p:cNvPr>
            <p:cNvSpPr/>
            <p:nvPr/>
          </p:nvSpPr>
          <p:spPr bwMode="auto">
            <a:xfrm>
              <a:off x="10174438" y="242038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1" name="ïslîḋé">
              <a:extLst>
                <a:ext uri="{FF2B5EF4-FFF2-40B4-BE49-F238E27FC236}">
                  <a16:creationId xmlns:a16="http://schemas.microsoft.com/office/drawing/2014/main" id="{DCCBA8D0-CDB5-4F7A-A841-01B527F0AA0D}"/>
                </a:ext>
              </a:extLst>
            </p:cNvPr>
            <p:cNvSpPr/>
            <p:nvPr/>
          </p:nvSpPr>
          <p:spPr bwMode="auto">
            <a:xfrm>
              <a:off x="10860550" y="682846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2" name="îṣḷidè">
              <a:extLst>
                <a:ext uri="{FF2B5EF4-FFF2-40B4-BE49-F238E27FC236}">
                  <a16:creationId xmlns:a16="http://schemas.microsoft.com/office/drawing/2014/main" id="{943EFA1B-78E2-4D7F-B444-BA2E9AEA086E}"/>
                </a:ext>
              </a:extLst>
            </p:cNvPr>
            <p:cNvSpPr/>
            <p:nvPr/>
          </p:nvSpPr>
          <p:spPr bwMode="auto">
            <a:xfrm>
              <a:off x="10794516" y="620034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3" name="iṧḷíde">
              <a:extLst>
                <a:ext uri="{FF2B5EF4-FFF2-40B4-BE49-F238E27FC236}">
                  <a16:creationId xmlns:a16="http://schemas.microsoft.com/office/drawing/2014/main" id="{91DDCDD7-B61B-41E7-9E17-87742D6B21A0}"/>
                </a:ext>
              </a:extLst>
            </p:cNvPr>
            <p:cNvSpPr/>
            <p:nvPr/>
          </p:nvSpPr>
          <p:spPr bwMode="auto">
            <a:xfrm>
              <a:off x="9099546" y="228375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4" name="íṡḻíďe">
              <a:extLst>
                <a:ext uri="{FF2B5EF4-FFF2-40B4-BE49-F238E27FC236}">
                  <a16:creationId xmlns:a16="http://schemas.microsoft.com/office/drawing/2014/main" id="{4733AFC5-EBDE-4BC6-B874-5B32B37EBFD6}"/>
                </a:ext>
              </a:extLst>
            </p:cNvPr>
            <p:cNvSpPr/>
            <p:nvPr/>
          </p:nvSpPr>
          <p:spPr bwMode="auto">
            <a:xfrm>
              <a:off x="9417444" y="2146759"/>
              <a:ext cx="318473" cy="239222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5" name="îšlîdè">
              <a:extLst>
                <a:ext uri="{FF2B5EF4-FFF2-40B4-BE49-F238E27FC236}">
                  <a16:creationId xmlns:a16="http://schemas.microsoft.com/office/drawing/2014/main" id="{1A956896-F407-4867-B238-1DFCDE04AD85}"/>
                </a:ext>
              </a:extLst>
            </p:cNvPr>
            <p:cNvSpPr/>
            <p:nvPr/>
          </p:nvSpPr>
          <p:spPr bwMode="auto">
            <a:xfrm>
              <a:off x="9806274" y="188675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6" name="íṩḷîdè">
              <a:extLst>
                <a:ext uri="{FF2B5EF4-FFF2-40B4-BE49-F238E27FC236}">
                  <a16:creationId xmlns:a16="http://schemas.microsoft.com/office/drawing/2014/main" id="{8A8F0376-A609-418B-91F1-D548CDB50463}"/>
                </a:ext>
              </a:extLst>
            </p:cNvPr>
            <p:cNvSpPr/>
            <p:nvPr/>
          </p:nvSpPr>
          <p:spPr bwMode="auto">
            <a:xfrm>
              <a:off x="9943318" y="197333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7" name="ïṥ1íḑe">
              <a:extLst>
                <a:ext uri="{FF2B5EF4-FFF2-40B4-BE49-F238E27FC236}">
                  <a16:creationId xmlns:a16="http://schemas.microsoft.com/office/drawing/2014/main" id="{9DD37C52-1365-4ECB-AA06-E9F121A38C2F}"/>
                </a:ext>
              </a:extLst>
            </p:cNvPr>
            <p:cNvSpPr/>
            <p:nvPr/>
          </p:nvSpPr>
          <p:spPr bwMode="auto">
            <a:xfrm>
              <a:off x="9943318" y="195156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8" name="îšḻíḑè">
              <a:extLst>
                <a:ext uri="{FF2B5EF4-FFF2-40B4-BE49-F238E27FC236}">
                  <a16:creationId xmlns:a16="http://schemas.microsoft.com/office/drawing/2014/main" id="{6DF884B8-9B3D-489D-A7FB-0FC087D042F4}"/>
                </a:ext>
              </a:extLst>
            </p:cNvPr>
            <p:cNvSpPr/>
            <p:nvPr/>
          </p:nvSpPr>
          <p:spPr bwMode="auto">
            <a:xfrm>
              <a:off x="9943318" y="193031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9" name="îṩľiďê">
              <a:extLst>
                <a:ext uri="{FF2B5EF4-FFF2-40B4-BE49-F238E27FC236}">
                  <a16:creationId xmlns:a16="http://schemas.microsoft.com/office/drawing/2014/main" id="{B567AB40-D4B2-4A41-8EA6-3E5ED78C56E3}"/>
                </a:ext>
              </a:extLst>
            </p:cNvPr>
            <p:cNvSpPr/>
            <p:nvPr/>
          </p:nvSpPr>
          <p:spPr bwMode="auto">
            <a:xfrm>
              <a:off x="9864172" y="208169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0" name="ïṡ1iďè">
              <a:extLst>
                <a:ext uri="{FF2B5EF4-FFF2-40B4-BE49-F238E27FC236}">
                  <a16:creationId xmlns:a16="http://schemas.microsoft.com/office/drawing/2014/main" id="{0FE9EAA9-0E82-4409-A853-B4B3168269DA}"/>
                </a:ext>
              </a:extLst>
            </p:cNvPr>
            <p:cNvSpPr/>
            <p:nvPr/>
          </p:nvSpPr>
          <p:spPr bwMode="auto">
            <a:xfrm>
              <a:off x="9864172" y="205992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1" name="íSļíḓé">
              <a:extLst>
                <a:ext uri="{FF2B5EF4-FFF2-40B4-BE49-F238E27FC236}">
                  <a16:creationId xmlns:a16="http://schemas.microsoft.com/office/drawing/2014/main" id="{EB80D437-5A3E-4942-AB97-D7B8234C9630}"/>
                </a:ext>
              </a:extLst>
            </p:cNvPr>
            <p:cNvSpPr/>
            <p:nvPr/>
          </p:nvSpPr>
          <p:spPr bwMode="auto">
            <a:xfrm>
              <a:off x="9864172" y="203867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2" name="îṩḷíḑè">
              <a:extLst>
                <a:ext uri="{FF2B5EF4-FFF2-40B4-BE49-F238E27FC236}">
                  <a16:creationId xmlns:a16="http://schemas.microsoft.com/office/drawing/2014/main" id="{A96EECF7-240B-4D9F-BCE0-C48E1341E9F2}"/>
                </a:ext>
              </a:extLst>
            </p:cNvPr>
            <p:cNvSpPr/>
            <p:nvPr/>
          </p:nvSpPr>
          <p:spPr bwMode="auto">
            <a:xfrm>
              <a:off x="9943318" y="208169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3" name="išḷîďe">
              <a:extLst>
                <a:ext uri="{FF2B5EF4-FFF2-40B4-BE49-F238E27FC236}">
                  <a16:creationId xmlns:a16="http://schemas.microsoft.com/office/drawing/2014/main" id="{30AB92D2-884F-4553-B870-1AC767E73B2F}"/>
                </a:ext>
              </a:extLst>
            </p:cNvPr>
            <p:cNvSpPr/>
            <p:nvPr/>
          </p:nvSpPr>
          <p:spPr bwMode="auto">
            <a:xfrm>
              <a:off x="9943318" y="205992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4" name="islïdé">
              <a:extLst>
                <a:ext uri="{FF2B5EF4-FFF2-40B4-BE49-F238E27FC236}">
                  <a16:creationId xmlns:a16="http://schemas.microsoft.com/office/drawing/2014/main" id="{D51A6372-9A7F-4B8E-A6B5-94F6E21B91A3}"/>
                </a:ext>
              </a:extLst>
            </p:cNvPr>
            <p:cNvSpPr/>
            <p:nvPr/>
          </p:nvSpPr>
          <p:spPr bwMode="auto">
            <a:xfrm>
              <a:off x="9943318" y="203867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5" name="iṡľiḓé">
              <a:extLst>
                <a:ext uri="{FF2B5EF4-FFF2-40B4-BE49-F238E27FC236}">
                  <a16:creationId xmlns:a16="http://schemas.microsoft.com/office/drawing/2014/main" id="{F93A46D3-E7B5-442A-8460-B480C97C22A8}"/>
                </a:ext>
              </a:extLst>
            </p:cNvPr>
            <p:cNvSpPr/>
            <p:nvPr/>
          </p:nvSpPr>
          <p:spPr bwMode="auto">
            <a:xfrm>
              <a:off x="9864172" y="199511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6" name="iṣļîdé">
              <a:extLst>
                <a:ext uri="{FF2B5EF4-FFF2-40B4-BE49-F238E27FC236}">
                  <a16:creationId xmlns:a16="http://schemas.microsoft.com/office/drawing/2014/main" id="{7B10BD22-BE66-4290-80B7-9284D6E8F39A}"/>
                </a:ext>
              </a:extLst>
            </p:cNvPr>
            <p:cNvSpPr/>
            <p:nvPr/>
          </p:nvSpPr>
          <p:spPr bwMode="auto">
            <a:xfrm>
              <a:off x="9864172" y="201689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7" name="îś1iďe">
              <a:extLst>
                <a:ext uri="{FF2B5EF4-FFF2-40B4-BE49-F238E27FC236}">
                  <a16:creationId xmlns:a16="http://schemas.microsoft.com/office/drawing/2014/main" id="{91E468C7-41C7-4D2C-BD5F-52EA7CBFEAA9}"/>
                </a:ext>
              </a:extLst>
            </p:cNvPr>
            <p:cNvSpPr/>
            <p:nvPr/>
          </p:nvSpPr>
          <p:spPr bwMode="auto">
            <a:xfrm>
              <a:off x="9864172" y="191544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8" name="îsḻïďe">
              <a:extLst>
                <a:ext uri="{FF2B5EF4-FFF2-40B4-BE49-F238E27FC236}">
                  <a16:creationId xmlns:a16="http://schemas.microsoft.com/office/drawing/2014/main" id="{7834434F-2401-441A-BAA7-126361F294B1}"/>
                </a:ext>
              </a:extLst>
            </p:cNvPr>
            <p:cNvSpPr/>
            <p:nvPr/>
          </p:nvSpPr>
          <p:spPr bwMode="auto">
            <a:xfrm>
              <a:off x="10934630" y="51645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9" name="iSľidê">
              <a:extLst>
                <a:ext uri="{FF2B5EF4-FFF2-40B4-BE49-F238E27FC236}">
                  <a16:creationId xmlns:a16="http://schemas.microsoft.com/office/drawing/2014/main" id="{B368D4CB-00E1-4B18-BF02-4E26F8EA481B}"/>
                </a:ext>
              </a:extLst>
            </p:cNvPr>
            <p:cNvSpPr/>
            <p:nvPr/>
          </p:nvSpPr>
          <p:spPr bwMode="auto">
            <a:xfrm>
              <a:off x="11077917" y="494925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0" name="iṩḻïḋè">
              <a:extLst>
                <a:ext uri="{FF2B5EF4-FFF2-40B4-BE49-F238E27FC236}">
                  <a16:creationId xmlns:a16="http://schemas.microsoft.com/office/drawing/2014/main" id="{C38D8FF5-E2C5-486E-AA3B-72E2E6A42921}"/>
                </a:ext>
              </a:extLst>
            </p:cNvPr>
            <p:cNvSpPr/>
            <p:nvPr/>
          </p:nvSpPr>
          <p:spPr bwMode="auto">
            <a:xfrm>
              <a:off x="11120788" y="537796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1" name="iṥḷiḋê">
              <a:extLst>
                <a:ext uri="{FF2B5EF4-FFF2-40B4-BE49-F238E27FC236}">
                  <a16:creationId xmlns:a16="http://schemas.microsoft.com/office/drawing/2014/main" id="{4743D812-1654-4AEC-B355-E191536343A6}"/>
                </a:ext>
              </a:extLst>
            </p:cNvPr>
            <p:cNvSpPr/>
            <p:nvPr/>
          </p:nvSpPr>
          <p:spPr bwMode="auto">
            <a:xfrm>
              <a:off x="11250990" y="570346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2" name="ïṩḷidé">
              <a:extLst>
                <a:ext uri="{FF2B5EF4-FFF2-40B4-BE49-F238E27FC236}">
                  <a16:creationId xmlns:a16="http://schemas.microsoft.com/office/drawing/2014/main" id="{76FC9677-C537-4BD7-9DE4-6AA77A54AA88}"/>
                </a:ext>
              </a:extLst>
            </p:cNvPr>
            <p:cNvSpPr/>
            <p:nvPr/>
          </p:nvSpPr>
          <p:spPr bwMode="auto">
            <a:xfrm>
              <a:off x="10998418" y="90270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3" name="iSliḋê">
              <a:extLst>
                <a:ext uri="{FF2B5EF4-FFF2-40B4-BE49-F238E27FC236}">
                  <a16:creationId xmlns:a16="http://schemas.microsoft.com/office/drawing/2014/main" id="{9C930ED0-F8B0-455B-927E-473D819B9D48}"/>
                </a:ext>
              </a:extLst>
            </p:cNvPr>
            <p:cNvSpPr/>
            <p:nvPr/>
          </p:nvSpPr>
          <p:spPr bwMode="auto">
            <a:xfrm>
              <a:off x="11135462" y="98928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4" name="ïSľíďé">
              <a:extLst>
                <a:ext uri="{FF2B5EF4-FFF2-40B4-BE49-F238E27FC236}">
                  <a16:creationId xmlns:a16="http://schemas.microsoft.com/office/drawing/2014/main" id="{C11F4F8D-7053-4851-B1A8-D9947EAF18CB}"/>
                </a:ext>
              </a:extLst>
            </p:cNvPr>
            <p:cNvSpPr/>
            <p:nvPr/>
          </p:nvSpPr>
          <p:spPr bwMode="auto">
            <a:xfrm>
              <a:off x="11135462" y="96751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5" name="isļîḍé">
              <a:extLst>
                <a:ext uri="{FF2B5EF4-FFF2-40B4-BE49-F238E27FC236}">
                  <a16:creationId xmlns:a16="http://schemas.microsoft.com/office/drawing/2014/main" id="{135F874F-48CB-4E7F-A860-19E6728798A0}"/>
                </a:ext>
              </a:extLst>
            </p:cNvPr>
            <p:cNvSpPr/>
            <p:nvPr/>
          </p:nvSpPr>
          <p:spPr bwMode="auto">
            <a:xfrm>
              <a:off x="11135462" y="94626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6" name="îṧ1îďè">
              <a:extLst>
                <a:ext uri="{FF2B5EF4-FFF2-40B4-BE49-F238E27FC236}">
                  <a16:creationId xmlns:a16="http://schemas.microsoft.com/office/drawing/2014/main" id="{D3C1C843-ED72-4D00-B2DC-8BC450182B14}"/>
                </a:ext>
              </a:extLst>
            </p:cNvPr>
            <p:cNvSpPr/>
            <p:nvPr/>
          </p:nvSpPr>
          <p:spPr bwMode="auto">
            <a:xfrm>
              <a:off x="11056316" y="109764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7" name="íṣḻïdé">
              <a:extLst>
                <a:ext uri="{FF2B5EF4-FFF2-40B4-BE49-F238E27FC236}">
                  <a16:creationId xmlns:a16="http://schemas.microsoft.com/office/drawing/2014/main" id="{D0B712A5-39BA-40E0-9162-B61A8F98C021}"/>
                </a:ext>
              </a:extLst>
            </p:cNvPr>
            <p:cNvSpPr/>
            <p:nvPr/>
          </p:nvSpPr>
          <p:spPr bwMode="auto">
            <a:xfrm>
              <a:off x="11056316" y="107587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8" name="íş1ïdê">
              <a:extLst>
                <a:ext uri="{FF2B5EF4-FFF2-40B4-BE49-F238E27FC236}">
                  <a16:creationId xmlns:a16="http://schemas.microsoft.com/office/drawing/2014/main" id="{3B579C5C-AC8B-4E34-8C12-897B1FE2C1E2}"/>
                </a:ext>
              </a:extLst>
            </p:cNvPr>
            <p:cNvSpPr/>
            <p:nvPr/>
          </p:nvSpPr>
          <p:spPr bwMode="auto">
            <a:xfrm>
              <a:off x="11056316" y="105462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9" name="îslide">
              <a:extLst>
                <a:ext uri="{FF2B5EF4-FFF2-40B4-BE49-F238E27FC236}">
                  <a16:creationId xmlns:a16="http://schemas.microsoft.com/office/drawing/2014/main" id="{76473B59-F342-48A6-A9B2-C22C52D66761}"/>
                </a:ext>
              </a:extLst>
            </p:cNvPr>
            <p:cNvSpPr/>
            <p:nvPr/>
          </p:nvSpPr>
          <p:spPr bwMode="auto">
            <a:xfrm>
              <a:off x="11135462" y="109764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0" name="ïšļïḓe">
              <a:extLst>
                <a:ext uri="{FF2B5EF4-FFF2-40B4-BE49-F238E27FC236}">
                  <a16:creationId xmlns:a16="http://schemas.microsoft.com/office/drawing/2014/main" id="{D7740367-103B-4E86-B8D6-7A1A3B1B6F72}"/>
                </a:ext>
              </a:extLst>
            </p:cNvPr>
            <p:cNvSpPr/>
            <p:nvPr/>
          </p:nvSpPr>
          <p:spPr bwMode="auto">
            <a:xfrm>
              <a:off x="11135462" y="107587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1" name="í$ḻiḍe">
              <a:extLst>
                <a:ext uri="{FF2B5EF4-FFF2-40B4-BE49-F238E27FC236}">
                  <a16:creationId xmlns:a16="http://schemas.microsoft.com/office/drawing/2014/main" id="{8440EE0B-6997-464B-B2F0-015AB96E4436}"/>
                </a:ext>
              </a:extLst>
            </p:cNvPr>
            <p:cNvSpPr/>
            <p:nvPr/>
          </p:nvSpPr>
          <p:spPr bwMode="auto">
            <a:xfrm>
              <a:off x="11135462" y="105462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2" name="îś1îḑé">
              <a:extLst>
                <a:ext uri="{FF2B5EF4-FFF2-40B4-BE49-F238E27FC236}">
                  <a16:creationId xmlns:a16="http://schemas.microsoft.com/office/drawing/2014/main" id="{8C92B830-D4A3-4AC1-88B1-53193CC23A2D}"/>
                </a:ext>
              </a:extLst>
            </p:cNvPr>
            <p:cNvSpPr/>
            <p:nvPr/>
          </p:nvSpPr>
          <p:spPr bwMode="auto">
            <a:xfrm>
              <a:off x="11056316" y="101106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3" name="ïṧḻïde">
              <a:extLst>
                <a:ext uri="{FF2B5EF4-FFF2-40B4-BE49-F238E27FC236}">
                  <a16:creationId xmlns:a16="http://schemas.microsoft.com/office/drawing/2014/main" id="{70ED8BEE-CF05-4E60-8A78-6C3EBB0FD2AF}"/>
                </a:ext>
              </a:extLst>
            </p:cNvPr>
            <p:cNvSpPr/>
            <p:nvPr/>
          </p:nvSpPr>
          <p:spPr bwMode="auto">
            <a:xfrm>
              <a:off x="11056316" y="103284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4" name="îṩ1îdè">
              <a:extLst>
                <a:ext uri="{FF2B5EF4-FFF2-40B4-BE49-F238E27FC236}">
                  <a16:creationId xmlns:a16="http://schemas.microsoft.com/office/drawing/2014/main" id="{50614CE4-FA97-4AB4-92AC-FDE05969FB5B}"/>
                </a:ext>
              </a:extLst>
            </p:cNvPr>
            <p:cNvSpPr/>
            <p:nvPr/>
          </p:nvSpPr>
          <p:spPr bwMode="auto">
            <a:xfrm>
              <a:off x="11056316" y="93139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5" name="íŝḷïḓe">
              <a:extLst>
                <a:ext uri="{FF2B5EF4-FFF2-40B4-BE49-F238E27FC236}">
                  <a16:creationId xmlns:a16="http://schemas.microsoft.com/office/drawing/2014/main" id="{22F37F19-403D-4AE8-836B-F9062DA66665}"/>
                </a:ext>
              </a:extLst>
            </p:cNvPr>
            <p:cNvSpPr/>
            <p:nvPr/>
          </p:nvSpPr>
          <p:spPr bwMode="auto">
            <a:xfrm>
              <a:off x="10520486" y="1155316"/>
              <a:ext cx="447970" cy="4468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6" name="ïṥḻïḓê">
              <a:extLst>
                <a:ext uri="{FF2B5EF4-FFF2-40B4-BE49-F238E27FC236}">
                  <a16:creationId xmlns:a16="http://schemas.microsoft.com/office/drawing/2014/main" id="{75C9BA63-5D7C-4A04-B92F-7292736CB4C2}"/>
                </a:ext>
              </a:extLst>
            </p:cNvPr>
            <p:cNvSpPr/>
            <p:nvPr/>
          </p:nvSpPr>
          <p:spPr bwMode="auto">
            <a:xfrm>
              <a:off x="10735421" y="1355545"/>
              <a:ext cx="76924" cy="76924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7" name="îsļïdé">
              <a:extLst>
                <a:ext uri="{FF2B5EF4-FFF2-40B4-BE49-F238E27FC236}">
                  <a16:creationId xmlns:a16="http://schemas.microsoft.com/office/drawing/2014/main" id="{79C55524-CE16-4C78-B87B-26D78E822D96}"/>
                </a:ext>
              </a:extLst>
            </p:cNvPr>
            <p:cNvSpPr/>
            <p:nvPr/>
          </p:nvSpPr>
          <p:spPr bwMode="auto">
            <a:xfrm>
              <a:off x="10935651" y="1108935"/>
              <a:ext cx="76924" cy="76924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8" name="ïšļîdè">
              <a:extLst>
                <a:ext uri="{FF2B5EF4-FFF2-40B4-BE49-F238E27FC236}">
                  <a16:creationId xmlns:a16="http://schemas.microsoft.com/office/drawing/2014/main" id="{94869437-A96E-4F9E-8346-12C2385F8F8C}"/>
                </a:ext>
              </a:extLst>
            </p:cNvPr>
            <p:cNvSpPr/>
            <p:nvPr/>
          </p:nvSpPr>
          <p:spPr bwMode="auto">
            <a:xfrm>
              <a:off x="10643791" y="1339708"/>
              <a:ext cx="61087" cy="6221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9" name="íSḻíḋè">
              <a:extLst>
                <a:ext uri="{FF2B5EF4-FFF2-40B4-BE49-F238E27FC236}">
                  <a16:creationId xmlns:a16="http://schemas.microsoft.com/office/drawing/2014/main" id="{5A737556-3092-4CEE-AE8A-3220CB87EAEB}"/>
                </a:ext>
              </a:extLst>
            </p:cNvPr>
            <p:cNvSpPr/>
            <p:nvPr/>
          </p:nvSpPr>
          <p:spPr bwMode="auto">
            <a:xfrm>
              <a:off x="10704878" y="1448307"/>
              <a:ext cx="30544" cy="30544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0" name="iṣ1îḓé">
              <a:extLst>
                <a:ext uri="{FF2B5EF4-FFF2-40B4-BE49-F238E27FC236}">
                  <a16:creationId xmlns:a16="http://schemas.microsoft.com/office/drawing/2014/main" id="{2501515B-1013-406E-9D0A-91AA807A0821}"/>
                </a:ext>
              </a:extLst>
            </p:cNvPr>
            <p:cNvSpPr/>
            <p:nvPr/>
          </p:nvSpPr>
          <p:spPr bwMode="auto">
            <a:xfrm>
              <a:off x="10951488" y="1216403"/>
              <a:ext cx="30544" cy="31675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1" name="îšļiḓe">
              <a:extLst>
                <a:ext uri="{FF2B5EF4-FFF2-40B4-BE49-F238E27FC236}">
                  <a16:creationId xmlns:a16="http://schemas.microsoft.com/office/drawing/2014/main" id="{9B02743E-0EFC-43EE-8684-C70D341F45C5}"/>
                </a:ext>
              </a:extLst>
            </p:cNvPr>
            <p:cNvSpPr/>
            <p:nvPr/>
          </p:nvSpPr>
          <p:spPr bwMode="auto">
            <a:xfrm>
              <a:off x="5951154" y="3800489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2" name="î$1iḋê">
              <a:extLst>
                <a:ext uri="{FF2B5EF4-FFF2-40B4-BE49-F238E27FC236}">
                  <a16:creationId xmlns:a16="http://schemas.microsoft.com/office/drawing/2014/main" id="{337B8878-74F0-41F2-8EB1-130A72F64DBC}"/>
                </a:ext>
              </a:extLst>
            </p:cNvPr>
            <p:cNvSpPr/>
            <p:nvPr/>
          </p:nvSpPr>
          <p:spPr bwMode="auto">
            <a:xfrm>
              <a:off x="5882085" y="3731420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3" name="îšľíḓe">
              <a:extLst>
                <a:ext uri="{FF2B5EF4-FFF2-40B4-BE49-F238E27FC236}">
                  <a16:creationId xmlns:a16="http://schemas.microsoft.com/office/drawing/2014/main" id="{D7DED266-235A-4083-A04A-D87CC20057F7}"/>
                </a:ext>
              </a:extLst>
            </p:cNvPr>
            <p:cNvSpPr/>
            <p:nvPr/>
          </p:nvSpPr>
          <p:spPr bwMode="auto">
            <a:xfrm>
              <a:off x="6105438" y="4001553"/>
              <a:ext cx="346999" cy="346201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4" name="îŝļíḑé">
              <a:extLst>
                <a:ext uri="{FF2B5EF4-FFF2-40B4-BE49-F238E27FC236}">
                  <a16:creationId xmlns:a16="http://schemas.microsoft.com/office/drawing/2014/main" id="{0DCD6072-629E-45D5-BE72-4CEE62A42625}"/>
                </a:ext>
              </a:extLst>
            </p:cNvPr>
            <p:cNvSpPr/>
            <p:nvPr/>
          </p:nvSpPr>
          <p:spPr bwMode="auto">
            <a:xfrm>
              <a:off x="6352283" y="370108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5" name="iṩlîḓe">
              <a:extLst>
                <a:ext uri="{FF2B5EF4-FFF2-40B4-BE49-F238E27FC236}">
                  <a16:creationId xmlns:a16="http://schemas.microsoft.com/office/drawing/2014/main" id="{D4FCE1E6-EC5D-490E-83D3-C35940F7DA19}"/>
                </a:ext>
              </a:extLst>
            </p:cNvPr>
            <p:cNvSpPr/>
            <p:nvPr/>
          </p:nvSpPr>
          <p:spPr bwMode="auto">
            <a:xfrm>
              <a:off x="5364349" y="3857225"/>
              <a:ext cx="489925" cy="458391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6" name="ïşľïḋe">
              <a:extLst>
                <a:ext uri="{FF2B5EF4-FFF2-40B4-BE49-F238E27FC236}">
                  <a16:creationId xmlns:a16="http://schemas.microsoft.com/office/drawing/2014/main" id="{9C63394D-E055-4F7A-95E8-5A8D3ECBA566}"/>
                </a:ext>
              </a:extLst>
            </p:cNvPr>
            <p:cNvSpPr/>
            <p:nvPr/>
          </p:nvSpPr>
          <p:spPr bwMode="auto">
            <a:xfrm>
              <a:off x="5216180" y="4449191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7" name="iš1îďê">
              <a:extLst>
                <a:ext uri="{FF2B5EF4-FFF2-40B4-BE49-F238E27FC236}">
                  <a16:creationId xmlns:a16="http://schemas.microsoft.com/office/drawing/2014/main" id="{F5128AE9-000F-4656-BB35-BAD4A8E65A1C}"/>
                </a:ext>
              </a:extLst>
            </p:cNvPr>
            <p:cNvSpPr/>
            <p:nvPr/>
          </p:nvSpPr>
          <p:spPr bwMode="auto">
            <a:xfrm>
              <a:off x="5755546" y="436581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8" name="i$ḷïďè">
              <a:extLst>
                <a:ext uri="{FF2B5EF4-FFF2-40B4-BE49-F238E27FC236}">
                  <a16:creationId xmlns:a16="http://schemas.microsoft.com/office/drawing/2014/main" id="{F5A5E840-A58B-4AAB-9194-AB66D835897F}"/>
                </a:ext>
              </a:extLst>
            </p:cNvPr>
            <p:cNvSpPr/>
            <p:nvPr/>
          </p:nvSpPr>
          <p:spPr bwMode="auto">
            <a:xfrm>
              <a:off x="4813576" y="3009000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9" name="ïṣḻïďe">
              <a:extLst>
                <a:ext uri="{FF2B5EF4-FFF2-40B4-BE49-F238E27FC236}">
                  <a16:creationId xmlns:a16="http://schemas.microsoft.com/office/drawing/2014/main" id="{09AD8D4C-3294-4CF5-AF1F-07FF5A46BC32}"/>
                </a:ext>
              </a:extLst>
            </p:cNvPr>
            <p:cNvSpPr/>
            <p:nvPr/>
          </p:nvSpPr>
          <p:spPr bwMode="auto">
            <a:xfrm>
              <a:off x="5141620" y="3559717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grpSp>
        <p:nvGrpSpPr>
          <p:cNvPr id="7" name="í$ḷiďé">
            <a:extLst>
              <a:ext uri="{FF2B5EF4-FFF2-40B4-BE49-F238E27FC236}">
                <a16:creationId xmlns:a16="http://schemas.microsoft.com/office/drawing/2014/main" id="{7D7E3AF1-2087-442E-BA77-3B9F9E10DB34}"/>
              </a:ext>
            </a:extLst>
          </p:cNvPr>
          <p:cNvGrpSpPr/>
          <p:nvPr/>
        </p:nvGrpSpPr>
        <p:grpSpPr>
          <a:xfrm>
            <a:off x="1545723" y="4237483"/>
            <a:ext cx="1808716" cy="2643944"/>
            <a:chOff x="7663267" y="3500283"/>
            <a:chExt cx="1808716" cy="2643944"/>
          </a:xfrm>
        </p:grpSpPr>
        <p:sp>
          <p:nvSpPr>
            <p:cNvPr id="12" name="iSľïďè">
              <a:extLst>
                <a:ext uri="{FF2B5EF4-FFF2-40B4-BE49-F238E27FC236}">
                  <a16:creationId xmlns:a16="http://schemas.microsoft.com/office/drawing/2014/main" id="{A0076C35-3531-44DC-AFCA-7CD4573F6660}"/>
                </a:ext>
              </a:extLst>
            </p:cNvPr>
            <p:cNvSpPr/>
            <p:nvPr/>
          </p:nvSpPr>
          <p:spPr bwMode="auto">
            <a:xfrm>
              <a:off x="8330106" y="4623202"/>
              <a:ext cx="473924" cy="372448"/>
            </a:xfrm>
            <a:custGeom>
              <a:avLst/>
              <a:gdLst>
                <a:gd name="T0" fmla="*/ 0 w 425"/>
                <a:gd name="T1" fmla="*/ 0 h 334"/>
                <a:gd name="T2" fmla="*/ 213 w 425"/>
                <a:gd name="T3" fmla="*/ 0 h 334"/>
                <a:gd name="T4" fmla="*/ 425 w 425"/>
                <a:gd name="T5" fmla="*/ 0 h 334"/>
                <a:gd name="T6" fmla="*/ 425 w 425"/>
                <a:gd name="T7" fmla="*/ 334 h 334"/>
                <a:gd name="T8" fmla="*/ 213 w 425"/>
                <a:gd name="T9" fmla="*/ 334 h 334"/>
                <a:gd name="T10" fmla="*/ 0 w 425"/>
                <a:gd name="T11" fmla="*/ 334 h 334"/>
                <a:gd name="T12" fmla="*/ 0 w 425"/>
                <a:gd name="T13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334">
                  <a:moveTo>
                    <a:pt x="0" y="0"/>
                  </a:moveTo>
                  <a:lnTo>
                    <a:pt x="213" y="0"/>
                  </a:lnTo>
                  <a:lnTo>
                    <a:pt x="425" y="0"/>
                  </a:lnTo>
                  <a:lnTo>
                    <a:pt x="425" y="334"/>
                  </a:lnTo>
                  <a:lnTo>
                    <a:pt x="213" y="334"/>
                  </a:lnTo>
                  <a:lnTo>
                    <a:pt x="0" y="3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B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/>
            <a:p>
              <a:pPr>
                <a:lnSpc>
                  <a:spcPct val="14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ï$ľïḋè">
              <a:extLst>
                <a:ext uri="{FF2B5EF4-FFF2-40B4-BE49-F238E27FC236}">
                  <a16:creationId xmlns:a16="http://schemas.microsoft.com/office/drawing/2014/main" id="{1D4DC7E1-3536-486F-9467-70B10C93CC4D}"/>
                </a:ext>
              </a:extLst>
            </p:cNvPr>
            <p:cNvSpPr/>
            <p:nvPr/>
          </p:nvSpPr>
          <p:spPr bwMode="auto">
            <a:xfrm>
              <a:off x="8111543" y="3580571"/>
              <a:ext cx="912164" cy="1218820"/>
            </a:xfrm>
            <a:custGeom>
              <a:avLst/>
              <a:gdLst>
                <a:gd name="T0" fmla="*/ 336 w 671"/>
                <a:gd name="T1" fmla="*/ 898 h 898"/>
                <a:gd name="T2" fmla="*/ 0 w 671"/>
                <a:gd name="T3" fmla="*/ 449 h 898"/>
                <a:gd name="T4" fmla="*/ 336 w 671"/>
                <a:gd name="T5" fmla="*/ 0 h 898"/>
                <a:gd name="T6" fmla="*/ 671 w 671"/>
                <a:gd name="T7" fmla="*/ 449 h 898"/>
                <a:gd name="T8" fmla="*/ 336 w 671"/>
                <a:gd name="T9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898">
                  <a:moveTo>
                    <a:pt x="336" y="898"/>
                  </a:moveTo>
                  <a:cubicBezTo>
                    <a:pt x="150" y="896"/>
                    <a:pt x="0" y="696"/>
                    <a:pt x="0" y="449"/>
                  </a:cubicBezTo>
                  <a:cubicBezTo>
                    <a:pt x="0" y="202"/>
                    <a:pt x="150" y="2"/>
                    <a:pt x="336" y="0"/>
                  </a:cubicBezTo>
                  <a:cubicBezTo>
                    <a:pt x="521" y="2"/>
                    <a:pt x="671" y="202"/>
                    <a:pt x="671" y="449"/>
                  </a:cubicBezTo>
                  <a:cubicBezTo>
                    <a:pt x="671" y="696"/>
                    <a:pt x="521" y="896"/>
                    <a:pt x="336" y="898"/>
                  </a:cubicBezTo>
                  <a:close/>
                </a:path>
              </a:pathLst>
            </a:custGeom>
            <a:solidFill>
              <a:srgbClr val="F9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îṣļiḋê">
              <a:extLst>
                <a:ext uri="{FF2B5EF4-FFF2-40B4-BE49-F238E27FC236}">
                  <a16:creationId xmlns:a16="http://schemas.microsoft.com/office/drawing/2014/main" id="{7EA80B7A-4614-4256-AA8E-BF58208AE4D6}"/>
                </a:ext>
              </a:extLst>
            </p:cNvPr>
            <p:cNvSpPr/>
            <p:nvPr/>
          </p:nvSpPr>
          <p:spPr bwMode="auto">
            <a:xfrm>
              <a:off x="8213019" y="4857376"/>
              <a:ext cx="708098" cy="1286850"/>
            </a:xfrm>
            <a:custGeom>
              <a:avLst/>
              <a:gdLst>
                <a:gd name="connsiteX0" fmla="*/ 117087 w 708098"/>
                <a:gd name="connsiteY0" fmla="*/ 0 h 1286850"/>
                <a:gd name="connsiteX1" fmla="*/ 354607 w 708098"/>
                <a:gd name="connsiteY1" fmla="*/ 102591 h 1286850"/>
                <a:gd name="connsiteX2" fmla="*/ 591011 w 708098"/>
                <a:gd name="connsiteY2" fmla="*/ 0 h 1286850"/>
                <a:gd name="connsiteX3" fmla="*/ 708098 w 708098"/>
                <a:gd name="connsiteY3" fmla="*/ 10036 h 1286850"/>
                <a:gd name="connsiteX4" fmla="*/ 400326 w 708098"/>
                <a:gd name="connsiteY4" fmla="*/ 1119576 h 1286850"/>
                <a:gd name="connsiteX5" fmla="*/ 400326 w 708098"/>
                <a:gd name="connsiteY5" fmla="*/ 1286850 h 1286850"/>
                <a:gd name="connsiteX6" fmla="*/ 355549 w 708098"/>
                <a:gd name="connsiteY6" fmla="*/ 1286850 h 1286850"/>
                <a:gd name="connsiteX7" fmla="*/ 354607 w 708098"/>
                <a:gd name="connsiteY7" fmla="*/ 1283497 h 1286850"/>
                <a:gd name="connsiteX8" fmla="*/ 353665 w 708098"/>
                <a:gd name="connsiteY8" fmla="*/ 1286850 h 1286850"/>
                <a:gd name="connsiteX9" fmla="*/ 308887 w 708098"/>
                <a:gd name="connsiteY9" fmla="*/ 1286850 h 1286850"/>
                <a:gd name="connsiteX10" fmla="*/ 308887 w 708098"/>
                <a:gd name="connsiteY10" fmla="*/ 1119576 h 1286850"/>
                <a:gd name="connsiteX11" fmla="*/ 0 w 708098"/>
                <a:gd name="connsiteY11" fmla="*/ 10036 h 128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8098" h="1286850">
                  <a:moveTo>
                    <a:pt x="117087" y="0"/>
                  </a:moveTo>
                  <a:lnTo>
                    <a:pt x="354607" y="102591"/>
                  </a:lnTo>
                  <a:lnTo>
                    <a:pt x="591011" y="0"/>
                  </a:lnTo>
                  <a:lnTo>
                    <a:pt x="708098" y="10036"/>
                  </a:lnTo>
                  <a:lnTo>
                    <a:pt x="400326" y="1119576"/>
                  </a:lnTo>
                  <a:lnTo>
                    <a:pt x="400326" y="1286850"/>
                  </a:lnTo>
                  <a:lnTo>
                    <a:pt x="355549" y="1286850"/>
                  </a:lnTo>
                  <a:lnTo>
                    <a:pt x="354607" y="1283497"/>
                  </a:lnTo>
                  <a:lnTo>
                    <a:pt x="353665" y="1286850"/>
                  </a:lnTo>
                  <a:lnTo>
                    <a:pt x="308887" y="1286850"/>
                  </a:lnTo>
                  <a:lnTo>
                    <a:pt x="308887" y="1119576"/>
                  </a:lnTo>
                  <a:lnTo>
                    <a:pt x="0" y="10036"/>
                  </a:lnTo>
                  <a:close/>
                </a:path>
              </a:pathLst>
            </a:custGeom>
            <a:solidFill>
              <a:srgbClr val="FBFF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isḷïḋè">
              <a:extLst>
                <a:ext uri="{FF2B5EF4-FFF2-40B4-BE49-F238E27FC236}">
                  <a16:creationId xmlns:a16="http://schemas.microsoft.com/office/drawing/2014/main" id="{DAB1D2E0-BE0B-46C5-B66D-E7FA4CA50486}"/>
                </a:ext>
              </a:extLst>
            </p:cNvPr>
            <p:cNvSpPr/>
            <p:nvPr/>
          </p:nvSpPr>
          <p:spPr bwMode="auto">
            <a:xfrm>
              <a:off x="7663267" y="4867414"/>
              <a:ext cx="1808716" cy="1276813"/>
            </a:xfrm>
            <a:custGeom>
              <a:avLst/>
              <a:gdLst>
                <a:gd name="connsiteX0" fmla="*/ 549752 w 1808716"/>
                <a:gd name="connsiteY0" fmla="*/ 0 h 1276813"/>
                <a:gd name="connsiteX1" fmla="*/ 904358 w 1808716"/>
                <a:gd name="connsiteY1" fmla="*/ 1240008 h 1276813"/>
                <a:gd name="connsiteX2" fmla="*/ 1257849 w 1808716"/>
                <a:gd name="connsiteY2" fmla="*/ 0 h 1276813"/>
                <a:gd name="connsiteX3" fmla="*/ 1670442 w 1808716"/>
                <a:gd name="connsiteY3" fmla="*/ 152771 h 1276813"/>
                <a:gd name="connsiteX4" fmla="*/ 1808716 w 1808716"/>
                <a:gd name="connsiteY4" fmla="*/ 958999 h 1276813"/>
                <a:gd name="connsiteX5" fmla="*/ 1719855 w 1808716"/>
                <a:gd name="connsiteY5" fmla="*/ 1276813 h 1276813"/>
                <a:gd name="connsiteX6" fmla="*/ 88861 w 1808716"/>
                <a:gd name="connsiteY6" fmla="*/ 1276813 h 1276813"/>
                <a:gd name="connsiteX7" fmla="*/ 0 w 1808716"/>
                <a:gd name="connsiteY7" fmla="*/ 958999 h 1276813"/>
                <a:gd name="connsiteX8" fmla="*/ 139390 w 1808716"/>
                <a:gd name="connsiteY8" fmla="*/ 152771 h 127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8716" h="1276813">
                  <a:moveTo>
                    <a:pt x="549752" y="0"/>
                  </a:moveTo>
                  <a:lnTo>
                    <a:pt x="904358" y="1240008"/>
                  </a:lnTo>
                  <a:lnTo>
                    <a:pt x="1257849" y="0"/>
                  </a:lnTo>
                  <a:lnTo>
                    <a:pt x="1670442" y="152771"/>
                  </a:lnTo>
                  <a:lnTo>
                    <a:pt x="1808716" y="958999"/>
                  </a:lnTo>
                  <a:lnTo>
                    <a:pt x="1719855" y="1276813"/>
                  </a:lnTo>
                  <a:lnTo>
                    <a:pt x="88861" y="1276813"/>
                  </a:lnTo>
                  <a:lnTo>
                    <a:pt x="0" y="958999"/>
                  </a:lnTo>
                  <a:lnTo>
                    <a:pt x="139390" y="152771"/>
                  </a:lnTo>
                  <a:close/>
                </a:path>
              </a:pathLst>
            </a:custGeom>
            <a:solidFill>
              <a:srgbClr val="3C46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ï$ļïḑe">
              <a:extLst>
                <a:ext uri="{FF2B5EF4-FFF2-40B4-BE49-F238E27FC236}">
                  <a16:creationId xmlns:a16="http://schemas.microsoft.com/office/drawing/2014/main" id="{7F310B93-128F-4856-9091-DE7C93515377}"/>
                </a:ext>
              </a:extLst>
            </p:cNvPr>
            <p:cNvSpPr/>
            <p:nvPr/>
          </p:nvSpPr>
          <p:spPr bwMode="auto">
            <a:xfrm>
              <a:off x="8037946" y="3500283"/>
              <a:ext cx="1060475" cy="822954"/>
            </a:xfrm>
            <a:custGeom>
              <a:avLst/>
              <a:gdLst>
                <a:gd name="T0" fmla="*/ 390 w 780"/>
                <a:gd name="T1" fmla="*/ 2 h 606"/>
                <a:gd name="T2" fmla="*/ 171 w 780"/>
                <a:gd name="T3" fmla="*/ 39 h 606"/>
                <a:gd name="T4" fmla="*/ 33 w 780"/>
                <a:gd name="T5" fmla="*/ 437 h 606"/>
                <a:gd name="T6" fmla="*/ 62 w 780"/>
                <a:gd name="T7" fmla="*/ 606 h 606"/>
                <a:gd name="T8" fmla="*/ 152 w 780"/>
                <a:gd name="T9" fmla="*/ 316 h 606"/>
                <a:gd name="T10" fmla="*/ 166 w 780"/>
                <a:gd name="T11" fmla="*/ 409 h 606"/>
                <a:gd name="T12" fmla="*/ 390 w 780"/>
                <a:gd name="T13" fmla="*/ 287 h 606"/>
                <a:gd name="T14" fmla="*/ 673 w 780"/>
                <a:gd name="T15" fmla="*/ 347 h 606"/>
                <a:gd name="T16" fmla="*/ 717 w 780"/>
                <a:gd name="T17" fmla="*/ 606 h 606"/>
                <a:gd name="T18" fmla="*/ 746 w 780"/>
                <a:gd name="T19" fmla="*/ 437 h 606"/>
                <a:gd name="T20" fmla="*/ 608 w 780"/>
                <a:gd name="T21" fmla="*/ 39 h 606"/>
                <a:gd name="T22" fmla="*/ 390 w 780"/>
                <a:gd name="T23" fmla="*/ 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0" h="606">
                  <a:moveTo>
                    <a:pt x="390" y="2"/>
                  </a:moveTo>
                  <a:cubicBezTo>
                    <a:pt x="292" y="21"/>
                    <a:pt x="235" y="0"/>
                    <a:pt x="171" y="39"/>
                  </a:cubicBezTo>
                  <a:cubicBezTo>
                    <a:pt x="82" y="93"/>
                    <a:pt x="0" y="236"/>
                    <a:pt x="33" y="437"/>
                  </a:cubicBezTo>
                  <a:cubicBezTo>
                    <a:pt x="43" y="493"/>
                    <a:pt x="53" y="550"/>
                    <a:pt x="62" y="606"/>
                  </a:cubicBezTo>
                  <a:cubicBezTo>
                    <a:pt x="80" y="508"/>
                    <a:pt x="73" y="408"/>
                    <a:pt x="152" y="316"/>
                  </a:cubicBezTo>
                  <a:cubicBezTo>
                    <a:pt x="180" y="345"/>
                    <a:pt x="137" y="380"/>
                    <a:pt x="166" y="409"/>
                  </a:cubicBezTo>
                  <a:cubicBezTo>
                    <a:pt x="191" y="339"/>
                    <a:pt x="310" y="298"/>
                    <a:pt x="390" y="287"/>
                  </a:cubicBezTo>
                  <a:cubicBezTo>
                    <a:pt x="473" y="283"/>
                    <a:pt x="620" y="300"/>
                    <a:pt x="673" y="347"/>
                  </a:cubicBezTo>
                  <a:cubicBezTo>
                    <a:pt x="734" y="402"/>
                    <a:pt x="698" y="501"/>
                    <a:pt x="717" y="606"/>
                  </a:cubicBezTo>
                  <a:cubicBezTo>
                    <a:pt x="727" y="550"/>
                    <a:pt x="736" y="493"/>
                    <a:pt x="746" y="437"/>
                  </a:cubicBezTo>
                  <a:cubicBezTo>
                    <a:pt x="780" y="236"/>
                    <a:pt x="697" y="93"/>
                    <a:pt x="608" y="39"/>
                  </a:cubicBezTo>
                  <a:cubicBezTo>
                    <a:pt x="544" y="0"/>
                    <a:pt x="487" y="21"/>
                    <a:pt x="390" y="2"/>
                  </a:cubicBezTo>
                  <a:close/>
                </a:path>
              </a:pathLst>
            </a:custGeom>
            <a:solidFill>
              <a:srgbClr val="3F3E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išḻíḓè">
              <a:extLst>
                <a:ext uri="{FF2B5EF4-FFF2-40B4-BE49-F238E27FC236}">
                  <a16:creationId xmlns:a16="http://schemas.microsoft.com/office/drawing/2014/main" id="{B7813790-248A-45F3-9A77-AD720C635C59}"/>
                </a:ext>
              </a:extLst>
            </p:cNvPr>
            <p:cNvSpPr/>
            <p:nvPr/>
          </p:nvSpPr>
          <p:spPr bwMode="auto">
            <a:xfrm>
              <a:off x="8460575" y="4959967"/>
              <a:ext cx="212987" cy="1147453"/>
            </a:xfrm>
            <a:custGeom>
              <a:avLst/>
              <a:gdLst>
                <a:gd name="T0" fmla="*/ 96 w 191"/>
                <a:gd name="T1" fmla="*/ 0 h 1029"/>
                <a:gd name="T2" fmla="*/ 0 w 191"/>
                <a:gd name="T3" fmla="*/ 97 h 1029"/>
                <a:gd name="T4" fmla="*/ 51 w 191"/>
                <a:gd name="T5" fmla="*/ 216 h 1029"/>
                <a:gd name="T6" fmla="*/ 12 w 191"/>
                <a:gd name="T7" fmla="*/ 752 h 1029"/>
                <a:gd name="T8" fmla="*/ 96 w 191"/>
                <a:gd name="T9" fmla="*/ 1029 h 1029"/>
                <a:gd name="T10" fmla="*/ 179 w 191"/>
                <a:gd name="T11" fmla="*/ 752 h 1029"/>
                <a:gd name="T12" fmla="*/ 141 w 191"/>
                <a:gd name="T13" fmla="*/ 216 h 1029"/>
                <a:gd name="T14" fmla="*/ 191 w 191"/>
                <a:gd name="T15" fmla="*/ 97 h 1029"/>
                <a:gd name="T16" fmla="*/ 96 w 191"/>
                <a:gd name="T1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29">
                  <a:moveTo>
                    <a:pt x="96" y="0"/>
                  </a:moveTo>
                  <a:lnTo>
                    <a:pt x="0" y="97"/>
                  </a:lnTo>
                  <a:lnTo>
                    <a:pt x="51" y="216"/>
                  </a:lnTo>
                  <a:lnTo>
                    <a:pt x="12" y="752"/>
                  </a:lnTo>
                  <a:lnTo>
                    <a:pt x="96" y="1029"/>
                  </a:lnTo>
                  <a:lnTo>
                    <a:pt x="179" y="752"/>
                  </a:lnTo>
                  <a:lnTo>
                    <a:pt x="141" y="216"/>
                  </a:lnTo>
                  <a:lnTo>
                    <a:pt x="191" y="97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EE62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CFA7C3F-B62C-4037-9EC9-3E87F0A6D245}"/>
              </a:ext>
            </a:extLst>
          </p:cNvPr>
          <p:cNvCxnSpPr>
            <a:cxnSpLocks/>
          </p:cNvCxnSpPr>
          <p:nvPr/>
        </p:nvCxnSpPr>
        <p:spPr>
          <a:xfrm>
            <a:off x="4943573" y="3609898"/>
            <a:ext cx="12319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ïṧļíḓè">
            <a:extLst>
              <a:ext uri="{FF2B5EF4-FFF2-40B4-BE49-F238E27FC236}">
                <a16:creationId xmlns:a16="http://schemas.microsoft.com/office/drawing/2014/main" id="{F39F88FF-616C-4E0A-901D-E7CDBBAB1E59}"/>
              </a:ext>
            </a:extLst>
          </p:cNvPr>
          <p:cNvGrpSpPr/>
          <p:nvPr/>
        </p:nvGrpSpPr>
        <p:grpSpPr>
          <a:xfrm>
            <a:off x="4862027" y="3195127"/>
            <a:ext cx="5827903" cy="1625924"/>
            <a:chOff x="6447684" y="4054511"/>
            <a:chExt cx="5827903" cy="1625924"/>
          </a:xfrm>
        </p:grpSpPr>
        <p:sp>
          <p:nvSpPr>
            <p:cNvPr id="10" name="ïśḻïḓ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6501371" y="4573096"/>
              <a:ext cx="5774216" cy="1107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en-US" altLang="zh-CN" sz="14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í$1íḍè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6447684" y="4054511"/>
              <a:ext cx="5774216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2400" b="1" dirty="0">
                  <a:latin typeface=""/>
                  <a:ea typeface="微软雅黑" panose="020B0503020204020204" pitchFamily="34" charset="-122"/>
                  <a:sym typeface=""/>
                </a:rPr>
                <a:t>趋势因素影响，是如何影响？影响是否相同呢？ </a:t>
              </a:r>
              <a:endParaRPr lang="en-US" altLang="zh-CN" sz="2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sp>
        <p:nvSpPr>
          <p:cNvPr id="441" name="í$1íḍè">
            <a:extLst>
              <a:ext uri="{FF2B5EF4-FFF2-40B4-BE49-F238E27FC236}">
                <a16:creationId xmlns:a16="http://schemas.microsoft.com/office/drawing/2014/main" id="{88654F95-0AEB-4064-BF0C-D41C2EAC2FA5}"/>
              </a:ext>
            </a:extLst>
          </p:cNvPr>
          <p:cNvSpPr txBox="1"/>
          <p:nvPr/>
        </p:nvSpPr>
        <p:spPr bwMode="auto">
          <a:xfrm>
            <a:off x="4866552" y="4551813"/>
            <a:ext cx="577421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2400" dirty="0">
                <a:latin typeface=""/>
                <a:ea typeface="微软雅黑" panose="020B0503020204020204" pitchFamily="34" charset="-122"/>
                <a:sym typeface=""/>
              </a:rPr>
              <a:t>以男</a:t>
            </a:r>
            <a:r>
              <a:rPr lang="en-US" altLang="zh-CN" sz="2400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sz="2400" dirty="0">
                <a:latin typeface=""/>
                <a:ea typeface="微软雅黑" panose="020B0503020204020204" pitchFamily="34" charset="-122"/>
                <a:sym typeface=""/>
              </a:rPr>
              <a:t>为例，进行分析；</a:t>
            </a:r>
            <a:endParaRPr lang="en-US" altLang="zh-CN" sz="2400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11B7334-4A7E-44EA-B9D1-8FB280859883}"/>
              </a:ext>
            </a:extLst>
          </p:cNvPr>
          <p:cNvSpPr txBox="1"/>
          <p:nvPr/>
        </p:nvSpPr>
        <p:spPr>
          <a:xfrm>
            <a:off x="9516866" y="135736"/>
            <a:ext cx="2778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趋势因素是否影响相同</a:t>
            </a:r>
          </a:p>
        </p:txBody>
      </p:sp>
    </p:spTree>
    <p:extLst>
      <p:ext uri="{BB962C8B-B14F-4D97-AF65-F5344CB8AC3E}">
        <p14:creationId xmlns:p14="http://schemas.microsoft.com/office/powerpoint/2010/main" val="2549648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3168651" cy="1028699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结构变化拆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7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3A2270E-1A55-47A2-967B-A06739165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2" y="3821922"/>
            <a:ext cx="10850563" cy="2418541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1EC86C1E-C753-4DE8-B185-9C710896FA01}"/>
              </a:ext>
            </a:extLst>
          </p:cNvPr>
          <p:cNvSpPr txBox="1"/>
          <p:nvPr/>
        </p:nvSpPr>
        <p:spPr>
          <a:xfrm>
            <a:off x="7476526" y="58492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趋势因素对男</a:t>
            </a:r>
            <a:r>
              <a:rPr lang="en-US" altLang="zh-CN" dirty="0"/>
              <a:t>T</a:t>
            </a:r>
            <a:r>
              <a:rPr lang="zh-CN" altLang="en-US" dirty="0"/>
              <a:t>不同结构影响是不同的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74DD3942-4704-4165-B353-BAF1B4D85CFD}"/>
              </a:ext>
            </a:extLst>
          </p:cNvPr>
          <p:cNvGrpSpPr/>
          <p:nvPr/>
        </p:nvGrpSpPr>
        <p:grpSpPr>
          <a:xfrm>
            <a:off x="669923" y="1042049"/>
            <a:ext cx="10850562" cy="2779873"/>
            <a:chOff x="669923" y="1042049"/>
            <a:chExt cx="10850562" cy="2779873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16964161-4FCB-4749-ABCC-0CC0C72C4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9923" y="1042049"/>
              <a:ext cx="10850562" cy="2779873"/>
            </a:xfrm>
            <a:prstGeom prst="rect">
              <a:avLst/>
            </a:prstGeom>
          </p:spPr>
        </p:pic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DDC88585-F7DA-45F3-A0DA-F3AD75486DFF}"/>
                </a:ext>
              </a:extLst>
            </p:cNvPr>
            <p:cNvSpPr/>
            <p:nvPr/>
          </p:nvSpPr>
          <p:spPr>
            <a:xfrm>
              <a:off x="9670211" y="1371600"/>
              <a:ext cx="681487" cy="2362532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61147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3168651" cy="1028699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分析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8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2AB9D4E2-75B4-4717-BD2C-B44A91349A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8212000"/>
              </p:ext>
            </p:extLst>
          </p:nvPr>
        </p:nvGraphicFramePr>
        <p:xfrm>
          <a:off x="6505303" y="1371599"/>
          <a:ext cx="5123202" cy="4659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CA0971BC-38A5-415B-B493-961C0828F741}"/>
              </a:ext>
            </a:extLst>
          </p:cNvPr>
          <p:cNvSpPr txBox="1"/>
          <p:nvPr/>
        </p:nvSpPr>
        <p:spPr>
          <a:xfrm>
            <a:off x="7168552" y="584927"/>
            <a:ext cx="4415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具体分析的影响因素，以及男</a:t>
            </a:r>
            <a:r>
              <a:rPr lang="en-US" altLang="zh-CN" dirty="0"/>
              <a:t>T</a:t>
            </a:r>
            <a:r>
              <a:rPr lang="zh-CN" altLang="en-US" dirty="0"/>
              <a:t>影响构成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B37B9C4-485F-47F2-A145-C889D76CB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089" y="1811702"/>
            <a:ext cx="4363154" cy="1416341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3A669AD5-A44B-465E-8B7C-240484F2534B}"/>
              </a:ext>
            </a:extLst>
          </p:cNvPr>
          <p:cNvSpPr txBox="1"/>
          <p:nvPr/>
        </p:nvSpPr>
        <p:spPr>
          <a:xfrm>
            <a:off x="768927" y="3976541"/>
            <a:ext cx="41251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      使用年间结构平均方差，作为结构变化的统一衡量标准；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en-US" dirty="0"/>
              <a:t>得到男</a:t>
            </a:r>
            <a:r>
              <a:rPr lang="en-US" altLang="zh-CN" dirty="0"/>
              <a:t>T</a:t>
            </a:r>
            <a:r>
              <a:rPr lang="zh-CN" altLang="en-US" dirty="0"/>
              <a:t>最重要的影响因素：行政级别；</a:t>
            </a:r>
          </a:p>
        </p:txBody>
      </p:sp>
    </p:spTree>
    <p:extLst>
      <p:ext uri="{BB962C8B-B14F-4D97-AF65-F5344CB8AC3E}">
        <p14:creationId xmlns:p14="http://schemas.microsoft.com/office/powerpoint/2010/main" val="3549813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规模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9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96F54DE-7349-4D97-969B-F9DC5F6474B1}"/>
              </a:ext>
            </a:extLst>
          </p:cNvPr>
          <p:cNvSpPr txBox="1"/>
          <p:nvPr/>
        </p:nvSpPr>
        <p:spPr>
          <a:xfrm>
            <a:off x="7476526" y="58492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建模要考虑到不同的子因素权重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005DCF2B-994D-4C1D-8049-01D9C9BA65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5758" y="1744149"/>
            <a:ext cx="5962405" cy="417612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77B97B5-41E6-41A5-9EC9-8761818E1C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837" y="1888861"/>
            <a:ext cx="5000688" cy="403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42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246cb630-d477-46d4-848c-2f8f5f6f234f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9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18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14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1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25DEA"/>
      </a:accent1>
      <a:accent2>
        <a:srgbClr val="4A2DC7"/>
      </a:accent2>
      <a:accent3>
        <a:srgbClr val="39229D"/>
      </a:accent3>
      <a:accent4>
        <a:srgbClr val="6634BA"/>
      </a:accent4>
      <a:accent5>
        <a:srgbClr val="4821BC"/>
      </a:accent5>
      <a:accent6>
        <a:srgbClr val="CDD1D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5DEA"/>
    </a:accent1>
    <a:accent2>
      <a:srgbClr val="4A2DC7"/>
    </a:accent2>
    <a:accent3>
      <a:srgbClr val="39229D"/>
    </a:accent3>
    <a:accent4>
      <a:srgbClr val="6634BA"/>
    </a:accent4>
    <a:accent5>
      <a:srgbClr val="4821BC"/>
    </a:accent5>
    <a:accent6>
      <a:srgbClr val="CDD1D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5DEA"/>
    </a:accent1>
    <a:accent2>
      <a:srgbClr val="4A2DC7"/>
    </a:accent2>
    <a:accent3>
      <a:srgbClr val="39229D"/>
    </a:accent3>
    <a:accent4>
      <a:srgbClr val="6634BA"/>
    </a:accent4>
    <a:accent5>
      <a:srgbClr val="4821BC"/>
    </a:accent5>
    <a:accent6>
      <a:srgbClr val="CDD1D7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5DEA"/>
    </a:accent1>
    <a:accent2>
      <a:srgbClr val="4A2DC7"/>
    </a:accent2>
    <a:accent3>
      <a:srgbClr val="39229D"/>
    </a:accent3>
    <a:accent4>
      <a:srgbClr val="6634BA"/>
    </a:accent4>
    <a:accent5>
      <a:srgbClr val="4821BC"/>
    </a:accent5>
    <a:accent6>
      <a:srgbClr val="CDD1D7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91263"/>
    </a:accent1>
    <a:accent2>
      <a:srgbClr val="CF3C23"/>
    </a:accent2>
    <a:accent3>
      <a:srgbClr val="FF7F19"/>
    </a:accent3>
    <a:accent4>
      <a:srgbClr val="F34E55"/>
    </a:accent4>
    <a:accent5>
      <a:srgbClr val="F8B843"/>
    </a:accent5>
    <a:accent6>
      <a:srgbClr val="8C97A8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83</TotalTime>
  <Words>1225</Words>
  <Application>Microsoft Office PowerPoint</Application>
  <PresentationFormat>宽屏</PresentationFormat>
  <Paragraphs>196</Paragraphs>
  <Slides>3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8" baseType="lpstr">
      <vt:lpstr>微软雅黑</vt:lpstr>
      <vt:lpstr>Arial</vt:lpstr>
      <vt:lpstr>Calibri</vt:lpstr>
      <vt:lpstr>Wingdings</vt:lpstr>
      <vt:lpstr>主题5</vt:lpstr>
      <vt:lpstr>think-cell Slide</vt:lpstr>
      <vt:lpstr>20夏品类结构预估</vt:lpstr>
      <vt:lpstr>重点结论</vt:lpstr>
      <vt:lpstr>提纲</vt:lpstr>
      <vt:lpstr>项目背景分析</vt:lpstr>
      <vt:lpstr>项目背景介绍——结构预测</vt:lpstr>
      <vt:lpstr>PowerPoint 演示文稿</vt:lpstr>
      <vt:lpstr>结构变化拆解</vt:lpstr>
      <vt:lpstr>影响因素分析</vt:lpstr>
      <vt:lpstr>影响因素规模变化</vt:lpstr>
      <vt:lpstr>影响因素拆解</vt:lpstr>
      <vt:lpstr>影响因素拆解</vt:lpstr>
      <vt:lpstr>模型原理</vt:lpstr>
      <vt:lpstr>项目背景介绍——思路汇总</vt:lpstr>
      <vt:lpstr>影响因素变化</vt:lpstr>
      <vt:lpstr>20结构预估</vt:lpstr>
      <vt:lpstr>整体结构准确率</vt:lpstr>
      <vt:lpstr>模型效果</vt:lpstr>
      <vt:lpstr>20夏品类结构变化</vt:lpstr>
      <vt:lpstr>20夏结构变化原因</vt:lpstr>
      <vt:lpstr>20夏品类结构预估</vt:lpstr>
      <vt:lpstr>Thanks  </vt:lpstr>
      <vt:lpstr>占比变化：南中北</vt:lpstr>
      <vt:lpstr>占比变化：行政级别</vt:lpstr>
      <vt:lpstr>占比变化：业态</vt:lpstr>
      <vt:lpstr>影响因素城市级别</vt:lpstr>
      <vt:lpstr>影响因素面积段</vt:lpstr>
      <vt:lpstr>男T变化分解</vt:lpstr>
      <vt:lpstr>20夏品类结构变化</vt:lpstr>
      <vt:lpstr>20夏结构变化原因</vt:lpstr>
      <vt:lpstr>南中北子渠道规模</vt:lpstr>
      <vt:lpstr>南中北整体规模</vt:lpstr>
      <vt:lpstr>最终结果趋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h</cp:lastModifiedBy>
  <cp:revision>112</cp:revision>
  <cp:lastPrinted>2018-10-30T16:00:00Z</cp:lastPrinted>
  <dcterms:created xsi:type="dcterms:W3CDTF">2018-10-30T16:00:00Z</dcterms:created>
  <dcterms:modified xsi:type="dcterms:W3CDTF">2019-07-22T05:0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